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79" r:id="rId2"/>
  </p:sldMasterIdLst>
  <p:notesMasterIdLst>
    <p:notesMasterId r:id="rId57"/>
  </p:notesMasterIdLst>
  <p:sldIdLst>
    <p:sldId id="267" r:id="rId3"/>
    <p:sldId id="268" r:id="rId4"/>
    <p:sldId id="269" r:id="rId5"/>
    <p:sldId id="322" r:id="rId6"/>
    <p:sldId id="262" r:id="rId7"/>
    <p:sldId id="270" r:id="rId8"/>
    <p:sldId id="271" r:id="rId9"/>
    <p:sldId id="272" r:id="rId10"/>
    <p:sldId id="273" r:id="rId11"/>
    <p:sldId id="274" r:id="rId12"/>
    <p:sldId id="276" r:id="rId13"/>
    <p:sldId id="279" r:id="rId14"/>
    <p:sldId id="324" r:id="rId15"/>
    <p:sldId id="278" r:id="rId16"/>
    <p:sldId id="280" r:id="rId17"/>
    <p:sldId id="281" r:id="rId18"/>
    <p:sldId id="282" r:id="rId19"/>
    <p:sldId id="284" r:id="rId20"/>
    <p:sldId id="285" r:id="rId21"/>
    <p:sldId id="286" r:id="rId22"/>
    <p:sldId id="287" r:id="rId23"/>
    <p:sldId id="288" r:id="rId24"/>
    <p:sldId id="289" r:id="rId25"/>
    <p:sldId id="290" r:id="rId26"/>
    <p:sldId id="291" r:id="rId27"/>
    <p:sldId id="294" r:id="rId28"/>
    <p:sldId id="293" r:id="rId29"/>
    <p:sldId id="292" r:id="rId30"/>
    <p:sldId id="295" r:id="rId31"/>
    <p:sldId id="309" r:id="rId32"/>
    <p:sldId id="296" r:id="rId33"/>
    <p:sldId id="297" r:id="rId34"/>
    <p:sldId id="299" r:id="rId35"/>
    <p:sldId id="300" r:id="rId36"/>
    <p:sldId id="318" r:id="rId37"/>
    <p:sldId id="301" r:id="rId38"/>
    <p:sldId id="308" r:id="rId39"/>
    <p:sldId id="306" r:id="rId40"/>
    <p:sldId id="307" r:id="rId41"/>
    <p:sldId id="323" r:id="rId42"/>
    <p:sldId id="302" r:id="rId43"/>
    <p:sldId id="303" r:id="rId44"/>
    <p:sldId id="304" r:id="rId45"/>
    <p:sldId id="305" r:id="rId46"/>
    <p:sldId id="310" r:id="rId47"/>
    <p:sldId id="311" r:id="rId48"/>
    <p:sldId id="321" r:id="rId49"/>
    <p:sldId id="312" r:id="rId50"/>
    <p:sldId id="319" r:id="rId51"/>
    <p:sldId id="313" r:id="rId52"/>
    <p:sldId id="314" r:id="rId53"/>
    <p:sldId id="315" r:id="rId54"/>
    <p:sldId id="316" r:id="rId55"/>
    <p:sldId id="260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6E6"/>
    <a:srgbClr val="FCFD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26" autoAdjust="0"/>
    <p:restoredTop sz="95385" autoAdjust="0"/>
  </p:normalViewPr>
  <p:slideViewPr>
    <p:cSldViewPr snapToGrid="0">
      <p:cViewPr varScale="1">
        <p:scale>
          <a:sx n="106" d="100"/>
          <a:sy n="106" d="100"/>
        </p:scale>
        <p:origin x="75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presProps" Target="presProps.xml"/><Relationship Id="rId5" Type="http://schemas.openxmlformats.org/officeDocument/2006/relationships/slide" Target="slides/slide3.xml"/><Relationship Id="rId61" Type="http://schemas.openxmlformats.org/officeDocument/2006/relationships/tableStyles" Target="tableStyle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Ökkeş Emin Balçiçek" userId="a5be381e-ec08-42cf-a986-ed0795c086e7" providerId="ADAL" clId="{550C6EBD-5DAD-41FB-8C59-064ABB0A51A7}"/>
    <pc:docChg chg="undo custSel addSld delSld modSld">
      <pc:chgData name="Ökkeş Emin Balçiçek" userId="a5be381e-ec08-42cf-a986-ed0795c086e7" providerId="ADAL" clId="{550C6EBD-5DAD-41FB-8C59-064ABB0A51A7}" dt="2020-10-28T13:59:03.170" v="126" actId="47"/>
      <pc:docMkLst>
        <pc:docMk/>
      </pc:docMkLst>
      <pc:sldChg chg="modSp mod">
        <pc:chgData name="Ökkeş Emin Balçiçek" userId="a5be381e-ec08-42cf-a986-ed0795c086e7" providerId="ADAL" clId="{550C6EBD-5DAD-41FB-8C59-064ABB0A51A7}" dt="2020-10-28T13:22:47.052" v="91" actId="20577"/>
        <pc:sldMkLst>
          <pc:docMk/>
          <pc:sldMk cId="3167184399" sldId="267"/>
        </pc:sldMkLst>
        <pc:spChg chg="mod">
          <ac:chgData name="Ökkeş Emin Balçiçek" userId="a5be381e-ec08-42cf-a986-ed0795c086e7" providerId="ADAL" clId="{550C6EBD-5DAD-41FB-8C59-064ABB0A51A7}" dt="2020-10-28T13:22:47.052" v="91" actId="20577"/>
          <ac:spMkLst>
            <pc:docMk/>
            <pc:sldMk cId="3167184399" sldId="267"/>
            <ac:spMk id="209" creationId="{A07C3C41-1C2B-4313-8CC3-D1273E772D3C}"/>
          </ac:spMkLst>
        </pc:spChg>
      </pc:sldChg>
      <pc:sldChg chg="modSp mod">
        <pc:chgData name="Ökkeş Emin Balçiçek" userId="a5be381e-ec08-42cf-a986-ed0795c086e7" providerId="ADAL" clId="{550C6EBD-5DAD-41FB-8C59-064ABB0A51A7}" dt="2020-10-28T13:23:35.220" v="99" actId="20577"/>
        <pc:sldMkLst>
          <pc:docMk/>
          <pc:sldMk cId="2730224378" sldId="293"/>
        </pc:sldMkLst>
        <pc:spChg chg="mod">
          <ac:chgData name="Ökkeş Emin Balçiçek" userId="a5be381e-ec08-42cf-a986-ed0795c086e7" providerId="ADAL" clId="{550C6EBD-5DAD-41FB-8C59-064ABB0A51A7}" dt="2020-10-28T13:23:35.220" v="99" actId="20577"/>
          <ac:spMkLst>
            <pc:docMk/>
            <pc:sldMk cId="2730224378" sldId="293"/>
            <ac:spMk id="22" creationId="{00000000-0000-0000-0000-000000000000}"/>
          </ac:spMkLst>
        </pc:spChg>
      </pc:sldChg>
      <pc:sldChg chg="addSp delSp modSp mod">
        <pc:chgData name="Ökkeş Emin Balçiçek" userId="a5be381e-ec08-42cf-a986-ed0795c086e7" providerId="ADAL" clId="{550C6EBD-5DAD-41FB-8C59-064ABB0A51A7}" dt="2020-10-28T13:28:54.555" v="123" actId="1076"/>
        <pc:sldMkLst>
          <pc:docMk/>
          <pc:sldMk cId="2883715321" sldId="299"/>
        </pc:sldMkLst>
        <pc:spChg chg="add del mod">
          <ac:chgData name="Ökkeş Emin Balçiçek" userId="a5be381e-ec08-42cf-a986-ed0795c086e7" providerId="ADAL" clId="{550C6EBD-5DAD-41FB-8C59-064ABB0A51A7}" dt="2020-10-28T13:27:49.634" v="111" actId="478"/>
          <ac:spMkLst>
            <pc:docMk/>
            <pc:sldMk cId="2883715321" sldId="299"/>
            <ac:spMk id="9" creationId="{A28DBBB8-64C5-4AF6-8800-382088395F45}"/>
          </ac:spMkLst>
        </pc:spChg>
        <pc:picChg chg="mod">
          <ac:chgData name="Ökkeş Emin Balçiçek" userId="a5be381e-ec08-42cf-a986-ed0795c086e7" providerId="ADAL" clId="{550C6EBD-5DAD-41FB-8C59-064ABB0A51A7}" dt="2020-10-28T13:26:27.214" v="104" actId="1440"/>
          <ac:picMkLst>
            <pc:docMk/>
            <pc:sldMk cId="2883715321" sldId="299"/>
            <ac:picMk id="4" creationId="{00000000-0000-0000-0000-000000000000}"/>
          </ac:picMkLst>
        </pc:picChg>
        <pc:picChg chg="add del mod">
          <ac:chgData name="Ökkeş Emin Balçiçek" userId="a5be381e-ec08-42cf-a986-ed0795c086e7" providerId="ADAL" clId="{550C6EBD-5DAD-41FB-8C59-064ABB0A51A7}" dt="2020-10-28T13:27:49.634" v="111" actId="478"/>
          <ac:picMkLst>
            <pc:docMk/>
            <pc:sldMk cId="2883715321" sldId="299"/>
            <ac:picMk id="8" creationId="{2C0F71CD-F5C7-4652-9E59-08E6D2579AE2}"/>
          </ac:picMkLst>
        </pc:picChg>
        <pc:picChg chg="add mod">
          <ac:chgData name="Ökkeş Emin Balçiçek" userId="a5be381e-ec08-42cf-a986-ed0795c086e7" providerId="ADAL" clId="{550C6EBD-5DAD-41FB-8C59-064ABB0A51A7}" dt="2020-10-28T13:28:54.555" v="123" actId="1076"/>
          <ac:picMkLst>
            <pc:docMk/>
            <pc:sldMk cId="2883715321" sldId="299"/>
            <ac:picMk id="11" creationId="{A409BE09-08D0-4A71-955A-38A102C6E2ED}"/>
          </ac:picMkLst>
        </pc:picChg>
      </pc:sldChg>
      <pc:sldChg chg="mod modShow">
        <pc:chgData name="Ökkeş Emin Balçiçek" userId="a5be381e-ec08-42cf-a986-ed0795c086e7" providerId="ADAL" clId="{550C6EBD-5DAD-41FB-8C59-064ABB0A51A7}" dt="2020-10-28T13:30:40.191" v="125" actId="729"/>
        <pc:sldMkLst>
          <pc:docMk/>
          <pc:sldMk cId="3773014122" sldId="312"/>
        </pc:sldMkLst>
      </pc:sldChg>
      <pc:sldChg chg="del">
        <pc:chgData name="Ökkeş Emin Balçiçek" userId="a5be381e-ec08-42cf-a986-ed0795c086e7" providerId="ADAL" clId="{550C6EBD-5DAD-41FB-8C59-064ABB0A51A7}" dt="2020-10-28T13:59:03.170" v="126" actId="47"/>
        <pc:sldMkLst>
          <pc:docMk/>
          <pc:sldMk cId="537127177" sldId="317"/>
        </pc:sldMkLst>
      </pc:sldChg>
      <pc:sldChg chg="modSp mod">
        <pc:chgData name="Ökkeş Emin Balçiçek" userId="a5be381e-ec08-42cf-a986-ed0795c086e7" providerId="ADAL" clId="{550C6EBD-5DAD-41FB-8C59-064ABB0A51A7}" dt="2020-10-28T12:54:23.279" v="0" actId="20577"/>
        <pc:sldMkLst>
          <pc:docMk/>
          <pc:sldMk cId="2343059561" sldId="318"/>
        </pc:sldMkLst>
        <pc:spChg chg="mod">
          <ac:chgData name="Ökkeş Emin Balçiçek" userId="a5be381e-ec08-42cf-a986-ed0795c086e7" providerId="ADAL" clId="{550C6EBD-5DAD-41FB-8C59-064ABB0A51A7}" dt="2020-10-28T12:54:23.279" v="0" actId="20577"/>
          <ac:spMkLst>
            <pc:docMk/>
            <pc:sldMk cId="2343059561" sldId="318"/>
            <ac:spMk id="2" creationId="{00000000-0000-0000-0000-000000000000}"/>
          </ac:spMkLst>
        </pc:spChg>
      </pc:sldChg>
      <pc:sldChg chg="addSp delSp modSp add mod modShow">
        <pc:chgData name="Ökkeş Emin Balçiçek" userId="a5be381e-ec08-42cf-a986-ed0795c086e7" providerId="ADAL" clId="{550C6EBD-5DAD-41FB-8C59-064ABB0A51A7}" dt="2020-10-28T13:30:35.005" v="124" actId="729"/>
        <pc:sldMkLst>
          <pc:docMk/>
          <pc:sldMk cId="2262466276" sldId="319"/>
        </pc:sldMkLst>
        <pc:spChg chg="mod">
          <ac:chgData name="Ökkeş Emin Balçiçek" userId="a5be381e-ec08-42cf-a986-ed0795c086e7" providerId="ADAL" clId="{550C6EBD-5DAD-41FB-8C59-064ABB0A51A7}" dt="2020-10-28T13:09:12.983" v="55" actId="20577"/>
          <ac:spMkLst>
            <pc:docMk/>
            <pc:sldMk cId="2262466276" sldId="319"/>
            <ac:spMk id="2" creationId="{00000000-0000-0000-0000-000000000000}"/>
          </ac:spMkLst>
        </pc:spChg>
        <pc:spChg chg="del mod">
          <ac:chgData name="Ökkeş Emin Balçiçek" userId="a5be381e-ec08-42cf-a986-ed0795c086e7" providerId="ADAL" clId="{550C6EBD-5DAD-41FB-8C59-064ABB0A51A7}" dt="2020-10-28T12:59:56.941" v="3" actId="478"/>
          <ac:spMkLst>
            <pc:docMk/>
            <pc:sldMk cId="2262466276" sldId="319"/>
            <ac:spMk id="5" creationId="{00000000-0000-0000-0000-000000000000}"/>
          </ac:spMkLst>
        </pc:spChg>
        <pc:spChg chg="del mod">
          <ac:chgData name="Ökkeş Emin Balçiçek" userId="a5be381e-ec08-42cf-a986-ed0795c086e7" providerId="ADAL" clId="{550C6EBD-5DAD-41FB-8C59-064ABB0A51A7}" dt="2020-10-28T13:00:05.221" v="7" actId="478"/>
          <ac:spMkLst>
            <pc:docMk/>
            <pc:sldMk cId="2262466276" sldId="319"/>
            <ac:spMk id="6" creationId="{00000000-0000-0000-0000-000000000000}"/>
          </ac:spMkLst>
        </pc:spChg>
        <pc:graphicFrameChg chg="del">
          <ac:chgData name="Ökkeş Emin Balçiçek" userId="a5be381e-ec08-42cf-a986-ed0795c086e7" providerId="ADAL" clId="{550C6EBD-5DAD-41FB-8C59-064ABB0A51A7}" dt="2020-10-28T13:00:01.507" v="5" actId="478"/>
          <ac:graphicFrameMkLst>
            <pc:docMk/>
            <pc:sldMk cId="2262466276" sldId="319"/>
            <ac:graphicFrameMk id="3" creationId="{00000000-0000-0000-0000-000000000000}"/>
          </ac:graphicFrameMkLst>
        </pc:graphicFrameChg>
        <pc:picChg chg="del">
          <ac:chgData name="Ökkeş Emin Balçiçek" userId="a5be381e-ec08-42cf-a986-ed0795c086e7" providerId="ADAL" clId="{550C6EBD-5DAD-41FB-8C59-064ABB0A51A7}" dt="2020-10-28T12:59:57.757" v="4" actId="478"/>
          <ac:picMkLst>
            <pc:docMk/>
            <pc:sldMk cId="2262466276" sldId="319"/>
            <ac:picMk id="4" creationId="{00000000-0000-0000-0000-000000000000}"/>
          </ac:picMkLst>
        </pc:picChg>
        <pc:picChg chg="add mod">
          <ac:chgData name="Ökkeş Emin Balçiçek" userId="a5be381e-ec08-42cf-a986-ed0795c086e7" providerId="ADAL" clId="{550C6EBD-5DAD-41FB-8C59-064ABB0A51A7}" dt="2020-10-28T13:00:13.209" v="11" actId="14100"/>
          <ac:picMkLst>
            <pc:docMk/>
            <pc:sldMk cId="2262466276" sldId="319"/>
            <ac:picMk id="8" creationId="{366CAB8F-F4E2-4CC2-B6A6-01AEF666BD76}"/>
          </ac:picMkLst>
        </pc:picChg>
      </pc:sldChg>
      <pc:sldChg chg="addSp delSp modSp add mod">
        <pc:chgData name="Ökkeş Emin Balçiçek" userId="a5be381e-ec08-42cf-a986-ed0795c086e7" providerId="ADAL" clId="{550C6EBD-5DAD-41FB-8C59-064ABB0A51A7}" dt="2020-10-28T13:12:44.635" v="87" actId="1076"/>
        <pc:sldMkLst>
          <pc:docMk/>
          <pc:sldMk cId="1506894361" sldId="320"/>
        </pc:sldMkLst>
        <pc:spChg chg="del">
          <ac:chgData name="Ökkeş Emin Balçiçek" userId="a5be381e-ec08-42cf-a986-ed0795c086e7" providerId="ADAL" clId="{550C6EBD-5DAD-41FB-8C59-064ABB0A51A7}" dt="2020-10-28T13:10:40.642" v="57" actId="478"/>
          <ac:spMkLst>
            <pc:docMk/>
            <pc:sldMk cId="1506894361" sldId="320"/>
            <ac:spMk id="8" creationId="{00000000-0000-0000-0000-000000000000}"/>
          </ac:spMkLst>
        </pc:spChg>
        <pc:spChg chg="del">
          <ac:chgData name="Ökkeş Emin Balçiçek" userId="a5be381e-ec08-42cf-a986-ed0795c086e7" providerId="ADAL" clId="{550C6EBD-5DAD-41FB-8C59-064ABB0A51A7}" dt="2020-10-28T13:10:46.610" v="61" actId="478"/>
          <ac:spMkLst>
            <pc:docMk/>
            <pc:sldMk cId="1506894361" sldId="320"/>
            <ac:spMk id="9" creationId="{00000000-0000-0000-0000-000000000000}"/>
          </ac:spMkLst>
        </pc:spChg>
        <pc:graphicFrameChg chg="add mod">
          <ac:chgData name="Ökkeş Emin Balçiçek" userId="a5be381e-ec08-42cf-a986-ed0795c086e7" providerId="ADAL" clId="{550C6EBD-5DAD-41FB-8C59-064ABB0A51A7}" dt="2020-10-28T13:12:44.635" v="87" actId="1076"/>
          <ac:graphicFrameMkLst>
            <pc:docMk/>
            <pc:sldMk cId="1506894361" sldId="320"/>
            <ac:graphicFrameMk id="3" creationId="{73C14A18-A1D5-4FFF-81F3-D789648B5C20}"/>
          </ac:graphicFrameMkLst>
        </pc:graphicFrameChg>
        <pc:picChg chg="del">
          <ac:chgData name="Ökkeş Emin Balçiçek" userId="a5be381e-ec08-42cf-a986-ed0795c086e7" providerId="ADAL" clId="{550C6EBD-5DAD-41FB-8C59-064ABB0A51A7}" dt="2020-10-28T13:10:47.892" v="62" actId="478"/>
          <ac:picMkLst>
            <pc:docMk/>
            <pc:sldMk cId="1506894361" sldId="320"/>
            <ac:picMk id="4" creationId="{00000000-0000-0000-0000-000000000000}"/>
          </ac:picMkLst>
        </pc:picChg>
        <pc:picChg chg="del">
          <ac:chgData name="Ökkeş Emin Balçiçek" userId="a5be381e-ec08-42cf-a986-ed0795c086e7" providerId="ADAL" clId="{550C6EBD-5DAD-41FB-8C59-064ABB0A51A7}" dt="2020-10-28T13:10:41.627" v="58" actId="478"/>
          <ac:picMkLst>
            <pc:docMk/>
            <pc:sldMk cId="1506894361" sldId="320"/>
            <ac:picMk id="5" creationId="{00000000-0000-0000-0000-000000000000}"/>
          </ac:picMkLst>
        </pc:picChg>
        <pc:picChg chg="del">
          <ac:chgData name="Ökkeş Emin Balçiçek" userId="a5be381e-ec08-42cf-a986-ed0795c086e7" providerId="ADAL" clId="{550C6EBD-5DAD-41FB-8C59-064ABB0A51A7}" dt="2020-10-28T13:10:45.809" v="60" actId="478"/>
          <ac:picMkLst>
            <pc:docMk/>
            <pc:sldMk cId="1506894361" sldId="320"/>
            <ac:picMk id="6" creationId="{00000000-0000-0000-0000-000000000000}"/>
          </ac:picMkLst>
        </pc:picChg>
        <pc:picChg chg="del">
          <ac:chgData name="Ökkeş Emin Balçiçek" userId="a5be381e-ec08-42cf-a986-ed0795c086e7" providerId="ADAL" clId="{550C6EBD-5DAD-41FB-8C59-064ABB0A51A7}" dt="2020-10-28T13:10:43.722" v="59" actId="478"/>
          <ac:picMkLst>
            <pc:docMk/>
            <pc:sldMk cId="1506894361" sldId="320"/>
            <ac:picMk id="7" creationId="{00000000-0000-0000-0000-000000000000}"/>
          </ac:picMkLst>
        </pc:picChg>
      </pc:sldChg>
      <pc:sldChg chg="addSp delSp modSp add mod">
        <pc:chgData name="Ökkeş Emin Balçiçek" userId="a5be381e-ec08-42cf-a986-ed0795c086e7" providerId="ADAL" clId="{550C6EBD-5DAD-41FB-8C59-064ABB0A51A7}" dt="2020-10-28T13:12:29.661" v="82" actId="1076"/>
        <pc:sldMkLst>
          <pc:docMk/>
          <pc:sldMk cId="644140367" sldId="321"/>
        </pc:sldMkLst>
        <pc:graphicFrameChg chg="del">
          <ac:chgData name="Ökkeş Emin Balçiçek" userId="a5be381e-ec08-42cf-a986-ed0795c086e7" providerId="ADAL" clId="{550C6EBD-5DAD-41FB-8C59-064ABB0A51A7}" dt="2020-10-28T13:11:45.276" v="70" actId="478"/>
          <ac:graphicFrameMkLst>
            <pc:docMk/>
            <pc:sldMk cId="644140367" sldId="321"/>
            <ac:graphicFrameMk id="3" creationId="{73C14A18-A1D5-4FFF-81F3-D789648B5C20}"/>
          </ac:graphicFrameMkLst>
        </pc:graphicFrameChg>
        <pc:graphicFrameChg chg="add mod">
          <ac:chgData name="Ökkeş Emin Balçiçek" userId="a5be381e-ec08-42cf-a986-ed0795c086e7" providerId="ADAL" clId="{550C6EBD-5DAD-41FB-8C59-064ABB0A51A7}" dt="2020-10-28T13:12:29.661" v="82" actId="1076"/>
          <ac:graphicFrameMkLst>
            <pc:docMk/>
            <pc:sldMk cId="644140367" sldId="321"/>
            <ac:graphicFrameMk id="5" creationId="{40BFB025-E7B1-4AFF-B276-9DE38091AF10}"/>
          </ac:graphicFrameMkLst>
        </pc:graphicFrameChg>
      </pc:sldChg>
    </pc:docChg>
  </pc:docChgLst>
  <pc:docChgLst>
    <pc:chgData name="Ökkeş Emin Balçiçek" userId="a5be381e-ec08-42cf-a986-ed0795c086e7" providerId="ADAL" clId="{39E2EDD5-0C39-B84D-8B3B-3EB2C7E4CC60}"/>
    <pc:docChg chg="custSel modSld modShowInfo">
      <pc:chgData name="Ökkeş Emin Balçiçek" userId="a5be381e-ec08-42cf-a986-ed0795c086e7" providerId="ADAL" clId="{39E2EDD5-0C39-B84D-8B3B-3EB2C7E4CC60}" dt="2021-10-07T11:31:02.223" v="74"/>
      <pc:docMkLst>
        <pc:docMk/>
      </pc:docMkLst>
      <pc:sldChg chg="modTransition">
        <pc:chgData name="Ökkeş Emin Balçiçek" userId="a5be381e-ec08-42cf-a986-ed0795c086e7" providerId="ADAL" clId="{39E2EDD5-0C39-B84D-8B3B-3EB2C7E4CC60}" dt="2021-10-07T11:31:02.223" v="74"/>
        <pc:sldMkLst>
          <pc:docMk/>
          <pc:sldMk cId="3167184399" sldId="267"/>
        </pc:sldMkLst>
      </pc:sldChg>
      <pc:sldChg chg="delSp modSp mod">
        <pc:chgData name="Ökkeş Emin Balçiçek" userId="a5be381e-ec08-42cf-a986-ed0795c086e7" providerId="ADAL" clId="{39E2EDD5-0C39-B84D-8B3B-3EB2C7E4CC60}" dt="2021-10-07T11:00:21.352" v="72" actId="20577"/>
        <pc:sldMkLst>
          <pc:docMk/>
          <pc:sldMk cId="4229515445" sldId="273"/>
        </pc:sldMkLst>
        <pc:spChg chg="mod">
          <ac:chgData name="Ökkeş Emin Balçiçek" userId="a5be381e-ec08-42cf-a986-ed0795c086e7" providerId="ADAL" clId="{39E2EDD5-0C39-B84D-8B3B-3EB2C7E4CC60}" dt="2021-10-07T11:00:21.352" v="72" actId="20577"/>
          <ac:spMkLst>
            <pc:docMk/>
            <pc:sldMk cId="4229515445" sldId="273"/>
            <ac:spMk id="4" creationId="{00000000-0000-0000-0000-000000000000}"/>
          </ac:spMkLst>
        </pc:spChg>
        <pc:picChg chg="del">
          <ac:chgData name="Ökkeş Emin Balçiçek" userId="a5be381e-ec08-42cf-a986-ed0795c086e7" providerId="ADAL" clId="{39E2EDD5-0C39-B84D-8B3B-3EB2C7E4CC60}" dt="2021-10-07T11:00:16.741" v="60" actId="478"/>
          <ac:picMkLst>
            <pc:docMk/>
            <pc:sldMk cId="4229515445" sldId="273"/>
            <ac:picMk id="5" creationId="{00000000-0000-0000-0000-000000000000}"/>
          </ac:picMkLst>
        </pc:picChg>
        <pc:picChg chg="del">
          <ac:chgData name="Ökkeş Emin Balçiçek" userId="a5be381e-ec08-42cf-a986-ed0795c086e7" providerId="ADAL" clId="{39E2EDD5-0C39-B84D-8B3B-3EB2C7E4CC60}" dt="2021-10-07T11:00:13.396" v="58" actId="478"/>
          <ac:picMkLst>
            <pc:docMk/>
            <pc:sldMk cId="4229515445" sldId="273"/>
            <ac:picMk id="6" creationId="{00000000-0000-0000-0000-000000000000}"/>
          </ac:picMkLst>
        </pc:picChg>
        <pc:picChg chg="del">
          <ac:chgData name="Ökkeş Emin Balçiçek" userId="a5be381e-ec08-42cf-a986-ed0795c086e7" providerId="ADAL" clId="{39E2EDD5-0C39-B84D-8B3B-3EB2C7E4CC60}" dt="2021-10-07T11:00:14.911" v="59" actId="478"/>
          <ac:picMkLst>
            <pc:docMk/>
            <pc:sldMk cId="4229515445" sldId="273"/>
            <ac:picMk id="7" creationId="{00000000-0000-0000-0000-000000000000}"/>
          </ac:picMkLst>
        </pc:picChg>
        <pc:picChg chg="del">
          <ac:chgData name="Ökkeş Emin Balçiçek" userId="a5be381e-ec08-42cf-a986-ed0795c086e7" providerId="ADAL" clId="{39E2EDD5-0C39-B84D-8B3B-3EB2C7E4CC60}" dt="2021-10-07T11:00:11.348" v="57" actId="478"/>
          <ac:picMkLst>
            <pc:docMk/>
            <pc:sldMk cId="4229515445" sldId="273"/>
            <ac:picMk id="8" creationId="{00000000-0000-0000-0000-000000000000}"/>
          </ac:picMkLst>
        </pc:picChg>
      </pc:sldChg>
    </pc:docChg>
  </pc:docChgLst>
  <pc:docChgLst>
    <pc:chgData name="Ökkeş Emin Balçiçek" userId="a5be381e-ec08-42cf-a986-ed0795c086e7" providerId="ADAL" clId="{2A9B936F-7A87-394E-8593-4EB1DA021CE3}"/>
    <pc:docChg chg="sldOrd">
      <pc:chgData name="Ökkeş Emin Balçiçek" userId="a5be381e-ec08-42cf-a986-ed0795c086e7" providerId="ADAL" clId="{2A9B936F-7A87-394E-8593-4EB1DA021CE3}" dt="2021-04-14T08:29:04.900" v="1" actId="20578"/>
      <pc:docMkLst>
        <pc:docMk/>
      </pc:docMkLst>
      <pc:sldChg chg="ord">
        <pc:chgData name="Ökkeş Emin Balçiçek" userId="a5be381e-ec08-42cf-a986-ed0795c086e7" providerId="ADAL" clId="{2A9B936F-7A87-394E-8593-4EB1DA021CE3}" dt="2021-04-14T08:29:04.900" v="1" actId="20578"/>
        <pc:sldMkLst>
          <pc:docMk/>
          <pc:sldMk cId="1951253022" sldId="3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502537976948939E-2"/>
          <c:y val="4.8809639518870913E-2"/>
          <c:w val="0.90527735049180147"/>
          <c:h val="0.871816154207152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ned</c:v>
                </c:pt>
              </c:strCache>
            </c:strRef>
          </c:tx>
          <c:spPr>
            <a:solidFill>
              <a:srgbClr val="0EBEA9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7.3498662497961421E-3"/>
                  <c:y val="1.55979579834173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48A-43DF-A295-7A1A0ACBA1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January 2018</c:v>
                </c:pt>
                <c:pt idx="1">
                  <c:v>February 2018</c:v>
                </c:pt>
                <c:pt idx="2">
                  <c:v>March 2018</c:v>
                </c:pt>
                <c:pt idx="3">
                  <c:v>April 2018</c:v>
                </c:pt>
                <c:pt idx="4">
                  <c:v>May 2018</c:v>
                </c:pt>
                <c:pt idx="5">
                  <c:v>June 2018</c:v>
                </c:pt>
                <c:pt idx="6">
                  <c:v>July 2018</c:v>
                </c:pt>
                <c:pt idx="7">
                  <c:v>August 2018</c:v>
                </c:pt>
                <c:pt idx="8">
                  <c:v>September 2018</c:v>
                </c:pt>
                <c:pt idx="9">
                  <c:v>October 2018</c:v>
                </c:pt>
                <c:pt idx="10">
                  <c:v>November 2018</c:v>
                </c:pt>
                <c:pt idx="11">
                  <c:v>December 2018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87</c:v>
                </c:pt>
                <c:pt idx="1">
                  <c:v>497</c:v>
                </c:pt>
                <c:pt idx="2">
                  <c:v>510</c:v>
                </c:pt>
                <c:pt idx="3">
                  <c:v>382</c:v>
                </c:pt>
                <c:pt idx="4">
                  <c:v>538</c:v>
                </c:pt>
                <c:pt idx="5">
                  <c:v>359</c:v>
                </c:pt>
                <c:pt idx="6">
                  <c:v>710</c:v>
                </c:pt>
                <c:pt idx="7">
                  <c:v>493</c:v>
                </c:pt>
                <c:pt idx="8">
                  <c:v>536</c:v>
                </c:pt>
                <c:pt idx="9">
                  <c:v>471</c:v>
                </c:pt>
                <c:pt idx="10">
                  <c:v>470</c:v>
                </c:pt>
                <c:pt idx="11">
                  <c:v>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8A-43DF-A295-7A1A0ACBA1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lved</c:v>
                </c:pt>
              </c:strCache>
            </c:strRef>
          </c:tx>
          <c:spPr>
            <a:solidFill>
              <a:srgbClr val="F5C24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2.939946499918457E-3"/>
                  <c:y val="4.456559423833539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48A-43DF-A295-7A1A0ACBA1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January 2018</c:v>
                </c:pt>
                <c:pt idx="1">
                  <c:v>February 2018</c:v>
                </c:pt>
                <c:pt idx="2">
                  <c:v>March 2018</c:v>
                </c:pt>
                <c:pt idx="3">
                  <c:v>April 2018</c:v>
                </c:pt>
                <c:pt idx="4">
                  <c:v>May 2018</c:v>
                </c:pt>
                <c:pt idx="5">
                  <c:v>June 2018</c:v>
                </c:pt>
                <c:pt idx="6">
                  <c:v>July 2018</c:v>
                </c:pt>
                <c:pt idx="7">
                  <c:v>August 2018</c:v>
                </c:pt>
                <c:pt idx="8">
                  <c:v>September 2018</c:v>
                </c:pt>
                <c:pt idx="9">
                  <c:v>October 2018</c:v>
                </c:pt>
                <c:pt idx="10">
                  <c:v>November 2018</c:v>
                </c:pt>
                <c:pt idx="11">
                  <c:v>December 2018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68</c:v>
                </c:pt>
                <c:pt idx="1">
                  <c:v>498</c:v>
                </c:pt>
                <c:pt idx="2">
                  <c:v>558</c:v>
                </c:pt>
                <c:pt idx="3">
                  <c:v>875</c:v>
                </c:pt>
                <c:pt idx="4">
                  <c:v>556</c:v>
                </c:pt>
                <c:pt idx="5">
                  <c:v>402</c:v>
                </c:pt>
                <c:pt idx="6">
                  <c:v>675</c:v>
                </c:pt>
                <c:pt idx="7">
                  <c:v>498</c:v>
                </c:pt>
                <c:pt idx="8">
                  <c:v>593</c:v>
                </c:pt>
                <c:pt idx="9">
                  <c:v>613</c:v>
                </c:pt>
                <c:pt idx="10">
                  <c:v>554</c:v>
                </c:pt>
                <c:pt idx="11">
                  <c:v>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48A-43DF-A295-7A1A0ACBA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axId val="487043232"/>
        <c:axId val="48704486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Opened (Cumulative)</c:v>
                </c:pt>
              </c:strCache>
            </c:strRef>
          </c:tx>
          <c:spPr>
            <a:ln w="38100" cap="rnd" cmpd="sng">
              <a:solidFill>
                <a:schemeClr val="bg1">
                  <a:lumMod val="65000"/>
                  <a:alpha val="8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D48A-43DF-A295-7A1A0ACBA156}"/>
              </c:ext>
            </c:extLst>
          </c:dPt>
          <c:dLbls>
            <c:dLbl>
              <c:idx val="0"/>
              <c:layout>
                <c:manualLayout>
                  <c:x val="-5.8798929998369137E-2"/>
                  <c:y val="-7.13049507813367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8A-43DF-A295-7A1A0ACBA156}"/>
                </c:ext>
              </c:extLst>
            </c:dLbl>
            <c:dLbl>
              <c:idx val="1"/>
              <c:layout>
                <c:manualLayout>
                  <c:x val="5.1449063748573054E-2"/>
                  <c:y val="-1.33696782715006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48A-43DF-A295-7A1A0ACBA156}"/>
                </c:ext>
              </c:extLst>
            </c:dLbl>
            <c:dLbl>
              <c:idx val="2"/>
              <c:layout>
                <c:manualLayout>
                  <c:x val="-2.1860430617622106E-2"/>
                  <c:y val="-3.37656445970700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48A-43DF-A295-7A1A0ACBA156}"/>
                </c:ext>
              </c:extLst>
            </c:dLbl>
            <c:dLbl>
              <c:idx val="3"/>
              <c:layout>
                <c:manualLayout>
                  <c:x val="-1.7885806868963541E-2"/>
                  <c:y val="-3.9097062165028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8A-43DF-A295-7A1A0ACBA156}"/>
                </c:ext>
              </c:extLst>
            </c:dLbl>
            <c:dLbl>
              <c:idx val="4"/>
              <c:layout>
                <c:manualLayout>
                  <c:x val="-2.5835054366280814E-2"/>
                  <c:y val="-1.77713918931947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48A-43DF-A295-7A1A0ACBA1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January 2018</c:v>
                </c:pt>
                <c:pt idx="1">
                  <c:v>February 2018</c:v>
                </c:pt>
                <c:pt idx="2">
                  <c:v>March 2018</c:v>
                </c:pt>
                <c:pt idx="3">
                  <c:v>April 2018</c:v>
                </c:pt>
                <c:pt idx="4">
                  <c:v>May 2018</c:v>
                </c:pt>
                <c:pt idx="5">
                  <c:v>June 2018</c:v>
                </c:pt>
                <c:pt idx="6">
                  <c:v>July 2018</c:v>
                </c:pt>
                <c:pt idx="7">
                  <c:v>August 2018</c:v>
                </c:pt>
                <c:pt idx="8">
                  <c:v>September 2018</c:v>
                </c:pt>
                <c:pt idx="9">
                  <c:v>October 2018</c:v>
                </c:pt>
                <c:pt idx="10">
                  <c:v>November 2018</c:v>
                </c:pt>
                <c:pt idx="11">
                  <c:v>December 2018</c:v>
                </c:pt>
              </c:strCache>
            </c:strRef>
          </c:cat>
          <c:val>
            <c:numRef>
              <c:f>Sheet1!$D$2:$D$13</c:f>
              <c:numCache>
                <c:formatCode>#,##0</c:formatCode>
                <c:ptCount val="12"/>
                <c:pt idx="0">
                  <c:v>687</c:v>
                </c:pt>
                <c:pt idx="1">
                  <c:v>1184</c:v>
                </c:pt>
                <c:pt idx="2">
                  <c:v>1694</c:v>
                </c:pt>
                <c:pt idx="3">
                  <c:v>2076</c:v>
                </c:pt>
                <c:pt idx="4">
                  <c:v>2614</c:v>
                </c:pt>
                <c:pt idx="5">
                  <c:v>2973</c:v>
                </c:pt>
                <c:pt idx="6">
                  <c:v>3683</c:v>
                </c:pt>
                <c:pt idx="7">
                  <c:v>4176</c:v>
                </c:pt>
                <c:pt idx="8">
                  <c:v>4712</c:v>
                </c:pt>
                <c:pt idx="9">
                  <c:v>5183</c:v>
                </c:pt>
                <c:pt idx="10">
                  <c:v>5653</c:v>
                </c:pt>
                <c:pt idx="11">
                  <c:v>6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D48A-43DF-A295-7A1A0ACBA1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lved (Cumulative)</c:v>
                </c:pt>
              </c:strCache>
            </c:strRef>
          </c:tx>
          <c:spPr>
            <a:ln w="38100" cap="rnd">
              <a:solidFill>
                <a:srgbClr val="FFC000">
                  <a:alpha val="65000"/>
                </a:srgb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3248379296618958E-2"/>
                  <c:y val="-9.61574632281211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48A-43DF-A295-7A1A0ACBA156}"/>
                </c:ext>
              </c:extLst>
            </c:dLbl>
            <c:dLbl>
              <c:idx val="1"/>
              <c:layout>
                <c:manualLayout>
                  <c:x val="-8.8198394997554257E-3"/>
                  <c:y val="-8.2446349340920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48A-43DF-A295-7A1A0ACBA156}"/>
                </c:ext>
              </c:extLst>
            </c:dLbl>
            <c:dLbl>
              <c:idx val="2"/>
              <c:layout>
                <c:manualLayout>
                  <c:x val="-2.6787658197190083E-2"/>
                  <c:y val="-4.37455171223118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48A-43DF-A295-7A1A0ACBA156}"/>
                </c:ext>
              </c:extLst>
            </c:dLbl>
            <c:dLbl>
              <c:idx val="3"/>
              <c:layout>
                <c:manualLayout>
                  <c:x val="-1.5898494994634405E-2"/>
                  <c:y val="-4.087420135434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48A-43DF-A295-7A1A0ACBA156}"/>
                </c:ext>
              </c:extLst>
            </c:dLbl>
            <c:dLbl>
              <c:idx val="4"/>
              <c:layout>
                <c:manualLayout>
                  <c:x val="-2.3847742491951388E-2"/>
                  <c:y val="-2.48799486504726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48A-43DF-A295-7A1A0ACBA1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FFD659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January 2018</c:v>
                </c:pt>
                <c:pt idx="1">
                  <c:v>February 2018</c:v>
                </c:pt>
                <c:pt idx="2">
                  <c:v>March 2018</c:v>
                </c:pt>
                <c:pt idx="3">
                  <c:v>April 2018</c:v>
                </c:pt>
                <c:pt idx="4">
                  <c:v>May 2018</c:v>
                </c:pt>
                <c:pt idx="5">
                  <c:v>June 2018</c:v>
                </c:pt>
                <c:pt idx="6">
                  <c:v>July 2018</c:v>
                </c:pt>
                <c:pt idx="7">
                  <c:v>August 2018</c:v>
                </c:pt>
                <c:pt idx="8">
                  <c:v>September 2018</c:v>
                </c:pt>
                <c:pt idx="9">
                  <c:v>October 2018</c:v>
                </c:pt>
                <c:pt idx="10">
                  <c:v>November 2018</c:v>
                </c:pt>
                <c:pt idx="11">
                  <c:v>December 2018</c:v>
                </c:pt>
              </c:strCache>
            </c:strRef>
          </c:cat>
          <c:val>
            <c:numRef>
              <c:f>Sheet1!$E$2:$E$13</c:f>
              <c:numCache>
                <c:formatCode>#,##0</c:formatCode>
                <c:ptCount val="12"/>
                <c:pt idx="0">
                  <c:v>668</c:v>
                </c:pt>
                <c:pt idx="1">
                  <c:v>1166</c:v>
                </c:pt>
                <c:pt idx="2">
                  <c:v>1724</c:v>
                </c:pt>
                <c:pt idx="3">
                  <c:v>2599</c:v>
                </c:pt>
                <c:pt idx="4">
                  <c:v>3155</c:v>
                </c:pt>
                <c:pt idx="5">
                  <c:v>3557</c:v>
                </c:pt>
                <c:pt idx="6">
                  <c:v>4232</c:v>
                </c:pt>
                <c:pt idx="7">
                  <c:v>4730</c:v>
                </c:pt>
                <c:pt idx="8">
                  <c:v>5323</c:v>
                </c:pt>
                <c:pt idx="9">
                  <c:v>5936</c:v>
                </c:pt>
                <c:pt idx="10">
                  <c:v>6490</c:v>
                </c:pt>
                <c:pt idx="11">
                  <c:v>7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D48A-43DF-A295-7A1A0ACBA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7043232"/>
        <c:axId val="487044864"/>
      </c:lineChart>
      <c:catAx>
        <c:axId val="487043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rgbClr val="E7E6E6">
                <a:lumMod val="50000"/>
                <a:alpha val="50000"/>
              </a:srgb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tr-TR"/>
          </a:p>
        </c:txPr>
        <c:crossAx val="487044864"/>
        <c:crosses val="autoZero"/>
        <c:auto val="0"/>
        <c:lblAlgn val="ctr"/>
        <c:lblOffset val="100"/>
        <c:noMultiLvlLbl val="0"/>
      </c:catAx>
      <c:valAx>
        <c:axId val="48704486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rgbClr val="E7E6E6">
                  <a:lumMod val="50000"/>
                  <a:alpha val="30000"/>
                </a:srgbClr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6350">
            <a:solidFill>
              <a:srgbClr val="E7E6E6">
                <a:lumMod val="50000"/>
                <a:alpha val="50000"/>
              </a:srgb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tr-TR"/>
          </a:p>
        </c:txPr>
        <c:crossAx val="487043232"/>
        <c:crosses val="autoZero"/>
        <c:crossBetween val="between"/>
      </c:valAx>
      <c:spPr>
        <a:noFill/>
        <a:ln w="12700"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tr-TR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tr-TR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tr-TR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tr-TR"/>
          </a:p>
        </c:txPr>
      </c:legendEntry>
      <c:layout>
        <c:manualLayout>
          <c:xMode val="edge"/>
          <c:yMode val="edge"/>
          <c:x val="0.18097870559444781"/>
          <c:y val="5.6732384535017291E-2"/>
          <c:w val="0.62590622249224837"/>
          <c:h val="7.64665211464870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56ECFF-F0B3-493D-9AED-673929C52A45}" type="doc">
      <dgm:prSet loTypeId="urn:microsoft.com/office/officeart/2005/8/layout/process3" loCatId="process" qsTypeId="urn:microsoft.com/office/officeart/2005/8/quickstyle/3d5" qsCatId="3D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D0E1B28D-EB50-4F59-A0A6-A217B856EA53}">
      <dgm:prSet phldrT="[Text]"/>
      <dgm:spPr/>
      <dgm:t>
        <a:bodyPr/>
        <a:lstStyle/>
        <a:p>
          <a:r>
            <a:rPr lang="tr-TR" dirty="0"/>
            <a:t>Save</a:t>
          </a:r>
        </a:p>
      </dgm:t>
    </dgm:pt>
    <dgm:pt modelId="{6FD14B67-2B8C-4F7F-8C60-772B8DA8E15A}" type="parTrans" cxnId="{2173F9D6-D60F-4603-9BDD-8694E3C8AF7A}">
      <dgm:prSet/>
      <dgm:spPr/>
      <dgm:t>
        <a:bodyPr/>
        <a:lstStyle/>
        <a:p>
          <a:endParaRPr lang="tr-TR"/>
        </a:p>
      </dgm:t>
    </dgm:pt>
    <dgm:pt modelId="{02A6AAEE-5EB9-4A4F-B899-90B2BE6DDAF7}" type="sibTrans" cxnId="{2173F9D6-D60F-4603-9BDD-8694E3C8AF7A}">
      <dgm:prSet/>
      <dgm:spPr/>
      <dgm:t>
        <a:bodyPr/>
        <a:lstStyle/>
        <a:p>
          <a:endParaRPr lang="tr-TR"/>
        </a:p>
      </dgm:t>
    </dgm:pt>
    <dgm:pt modelId="{8561D35F-D067-4325-BBD4-3E543885DD5C}">
      <dgm:prSet phldrT="[Text]"/>
      <dgm:spPr/>
      <dgm:t>
        <a:bodyPr/>
        <a:lstStyle/>
        <a:p>
          <a:r>
            <a:rPr lang="tr-TR" dirty="0"/>
            <a:t>SaveCommand</a:t>
          </a:r>
        </a:p>
      </dgm:t>
    </dgm:pt>
    <dgm:pt modelId="{4721CCDD-B3CF-4697-96F6-210F3E7A7F2B}" type="parTrans" cxnId="{76CB2BC6-059F-4081-8C25-8B9DF21151A3}">
      <dgm:prSet/>
      <dgm:spPr/>
      <dgm:t>
        <a:bodyPr/>
        <a:lstStyle/>
        <a:p>
          <a:endParaRPr lang="tr-TR"/>
        </a:p>
      </dgm:t>
    </dgm:pt>
    <dgm:pt modelId="{9E5B3A16-5E3C-4A5F-833E-A563E8706E85}" type="sibTrans" cxnId="{76CB2BC6-059F-4081-8C25-8B9DF21151A3}">
      <dgm:prSet/>
      <dgm:spPr/>
      <dgm:t>
        <a:bodyPr/>
        <a:lstStyle/>
        <a:p>
          <a:endParaRPr lang="tr-TR"/>
        </a:p>
      </dgm:t>
    </dgm:pt>
    <dgm:pt modelId="{9E45DBFE-6F14-470D-BF8A-74B7358C7529}">
      <dgm:prSet phldrT="[Text]"/>
      <dgm:spPr/>
      <dgm:t>
        <a:bodyPr/>
        <a:lstStyle/>
        <a:p>
          <a:r>
            <a:rPr lang="tr-TR" dirty="0"/>
            <a:t>Delete</a:t>
          </a:r>
        </a:p>
      </dgm:t>
    </dgm:pt>
    <dgm:pt modelId="{794815B9-0343-48B1-A7EC-BC340CD5E41C}" type="parTrans" cxnId="{AC6A83E3-A71F-4DD9-820E-E2CFDDD29198}">
      <dgm:prSet/>
      <dgm:spPr/>
      <dgm:t>
        <a:bodyPr/>
        <a:lstStyle/>
        <a:p>
          <a:endParaRPr lang="tr-TR"/>
        </a:p>
      </dgm:t>
    </dgm:pt>
    <dgm:pt modelId="{B04578DC-72A3-409E-AD71-FF0BBE7DDBB1}" type="sibTrans" cxnId="{AC6A83E3-A71F-4DD9-820E-E2CFDDD29198}">
      <dgm:prSet/>
      <dgm:spPr/>
      <dgm:t>
        <a:bodyPr/>
        <a:lstStyle/>
        <a:p>
          <a:endParaRPr lang="tr-TR"/>
        </a:p>
      </dgm:t>
    </dgm:pt>
    <dgm:pt modelId="{15053CCB-21F5-4F1E-83D5-3C8C35533985}">
      <dgm:prSet phldrT="[Text]"/>
      <dgm:spPr/>
      <dgm:t>
        <a:bodyPr/>
        <a:lstStyle/>
        <a:p>
          <a:r>
            <a:rPr lang="tr-TR" dirty="0"/>
            <a:t>DeleteCommand</a:t>
          </a:r>
        </a:p>
      </dgm:t>
    </dgm:pt>
    <dgm:pt modelId="{A9A4CED2-0E72-4E0C-ADA6-EC464FB22FD8}" type="parTrans" cxnId="{B53916AA-C352-43A9-864F-1C84B066880C}">
      <dgm:prSet/>
      <dgm:spPr/>
      <dgm:t>
        <a:bodyPr/>
        <a:lstStyle/>
        <a:p>
          <a:endParaRPr lang="tr-TR"/>
        </a:p>
      </dgm:t>
    </dgm:pt>
    <dgm:pt modelId="{44EA4518-ED65-49F1-AF0E-A449C911C309}" type="sibTrans" cxnId="{B53916AA-C352-43A9-864F-1C84B066880C}">
      <dgm:prSet/>
      <dgm:spPr/>
      <dgm:t>
        <a:bodyPr/>
        <a:lstStyle/>
        <a:p>
          <a:endParaRPr lang="tr-TR"/>
        </a:p>
      </dgm:t>
    </dgm:pt>
    <dgm:pt modelId="{D952FF60-5C82-47CA-BDAD-A7ABAF307E2A}">
      <dgm:prSet phldrT="[Text]"/>
      <dgm:spPr/>
      <dgm:t>
        <a:bodyPr/>
        <a:lstStyle/>
        <a:p>
          <a:r>
            <a:rPr lang="tr-TR" dirty="0"/>
            <a:t>Close</a:t>
          </a:r>
        </a:p>
      </dgm:t>
    </dgm:pt>
    <dgm:pt modelId="{EFD7D039-9AF9-43ED-B860-06B0D268304B}" type="parTrans" cxnId="{521A97D3-D65B-41AD-8480-7CA29BAC2510}">
      <dgm:prSet/>
      <dgm:spPr/>
      <dgm:t>
        <a:bodyPr/>
        <a:lstStyle/>
        <a:p>
          <a:endParaRPr lang="tr-TR"/>
        </a:p>
      </dgm:t>
    </dgm:pt>
    <dgm:pt modelId="{CA3DF288-00B0-47EC-925E-DCBAAA582B65}" type="sibTrans" cxnId="{521A97D3-D65B-41AD-8480-7CA29BAC2510}">
      <dgm:prSet/>
      <dgm:spPr/>
      <dgm:t>
        <a:bodyPr/>
        <a:lstStyle/>
        <a:p>
          <a:endParaRPr lang="tr-TR"/>
        </a:p>
      </dgm:t>
    </dgm:pt>
    <dgm:pt modelId="{26C0D5EB-FB64-4D06-AE4A-A42A8417EB3E}">
      <dgm:prSet phldrT="[Text]"/>
      <dgm:spPr/>
      <dgm:t>
        <a:bodyPr/>
        <a:lstStyle/>
        <a:p>
          <a:r>
            <a:rPr lang="tr-TR" dirty="0"/>
            <a:t>CloseCommand</a:t>
          </a:r>
        </a:p>
      </dgm:t>
    </dgm:pt>
    <dgm:pt modelId="{039DEBCB-5491-4C22-AC78-F0D4FE48DD6C}" type="parTrans" cxnId="{D3A78BB5-EEA8-4754-9E1E-F3C168166FE4}">
      <dgm:prSet/>
      <dgm:spPr/>
      <dgm:t>
        <a:bodyPr/>
        <a:lstStyle/>
        <a:p>
          <a:endParaRPr lang="tr-TR"/>
        </a:p>
      </dgm:t>
    </dgm:pt>
    <dgm:pt modelId="{67E9F18B-4B2E-4CA1-9606-18F4F225BF99}" type="sibTrans" cxnId="{D3A78BB5-EEA8-4754-9E1E-F3C168166FE4}">
      <dgm:prSet/>
      <dgm:spPr/>
      <dgm:t>
        <a:bodyPr/>
        <a:lstStyle/>
        <a:p>
          <a:endParaRPr lang="tr-TR"/>
        </a:p>
      </dgm:t>
    </dgm:pt>
    <dgm:pt modelId="{8FFD3448-D77A-4F0B-BBE8-EB0EBAC2AE63}" type="pres">
      <dgm:prSet presAssocID="{2D56ECFF-F0B3-493D-9AED-673929C52A45}" presName="linearFlow" presStyleCnt="0">
        <dgm:presLayoutVars>
          <dgm:dir/>
          <dgm:animLvl val="lvl"/>
          <dgm:resizeHandles val="exact"/>
        </dgm:presLayoutVars>
      </dgm:prSet>
      <dgm:spPr/>
    </dgm:pt>
    <dgm:pt modelId="{AEAFBADE-915C-4EDB-B354-5FD6FDBE7653}" type="pres">
      <dgm:prSet presAssocID="{D0E1B28D-EB50-4F59-A0A6-A217B856EA53}" presName="composite" presStyleCnt="0"/>
      <dgm:spPr/>
    </dgm:pt>
    <dgm:pt modelId="{A88DB03B-0A0A-4D02-9B54-9C4647486A29}" type="pres">
      <dgm:prSet presAssocID="{D0E1B28D-EB50-4F59-A0A6-A217B856EA53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0D630C2-9732-4939-8B56-7D1D618AFE67}" type="pres">
      <dgm:prSet presAssocID="{D0E1B28D-EB50-4F59-A0A6-A217B856EA53}" presName="parSh" presStyleLbl="node1" presStyleIdx="0" presStyleCnt="3"/>
      <dgm:spPr/>
    </dgm:pt>
    <dgm:pt modelId="{7D20E137-5B8F-49AC-B32F-E0793CE294F1}" type="pres">
      <dgm:prSet presAssocID="{D0E1B28D-EB50-4F59-A0A6-A217B856EA53}" presName="desTx" presStyleLbl="fgAcc1" presStyleIdx="0" presStyleCnt="3">
        <dgm:presLayoutVars>
          <dgm:bulletEnabled val="1"/>
        </dgm:presLayoutVars>
      </dgm:prSet>
      <dgm:spPr/>
    </dgm:pt>
    <dgm:pt modelId="{B59CD46F-B050-4150-83B9-DF826AA88A49}" type="pres">
      <dgm:prSet presAssocID="{02A6AAEE-5EB9-4A4F-B899-90B2BE6DDAF7}" presName="sibTrans" presStyleLbl="sibTrans2D1" presStyleIdx="0" presStyleCnt="2"/>
      <dgm:spPr/>
    </dgm:pt>
    <dgm:pt modelId="{9A31EA6F-D23A-457C-AEBF-AD7AEA8DA7BA}" type="pres">
      <dgm:prSet presAssocID="{02A6AAEE-5EB9-4A4F-B899-90B2BE6DDAF7}" presName="connTx" presStyleLbl="sibTrans2D1" presStyleIdx="0" presStyleCnt="2"/>
      <dgm:spPr/>
    </dgm:pt>
    <dgm:pt modelId="{E086FF47-96F9-4D3E-BF9C-8A78DA37BDCE}" type="pres">
      <dgm:prSet presAssocID="{9E45DBFE-6F14-470D-BF8A-74B7358C7529}" presName="composite" presStyleCnt="0"/>
      <dgm:spPr/>
    </dgm:pt>
    <dgm:pt modelId="{B100F378-377D-4ECD-8FD5-738AFD243E11}" type="pres">
      <dgm:prSet presAssocID="{9E45DBFE-6F14-470D-BF8A-74B7358C7529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011EEB97-53CD-4A28-92BD-B039B4D92B4E}" type="pres">
      <dgm:prSet presAssocID="{9E45DBFE-6F14-470D-BF8A-74B7358C7529}" presName="parSh" presStyleLbl="node1" presStyleIdx="1" presStyleCnt="3"/>
      <dgm:spPr/>
    </dgm:pt>
    <dgm:pt modelId="{0B37A743-14F3-47E0-87BA-15536EF001D9}" type="pres">
      <dgm:prSet presAssocID="{9E45DBFE-6F14-470D-BF8A-74B7358C7529}" presName="desTx" presStyleLbl="fgAcc1" presStyleIdx="1" presStyleCnt="3">
        <dgm:presLayoutVars>
          <dgm:bulletEnabled val="1"/>
        </dgm:presLayoutVars>
      </dgm:prSet>
      <dgm:spPr/>
    </dgm:pt>
    <dgm:pt modelId="{50497CCD-54D9-4C81-BA09-3A036D3464FA}" type="pres">
      <dgm:prSet presAssocID="{B04578DC-72A3-409E-AD71-FF0BBE7DDBB1}" presName="sibTrans" presStyleLbl="sibTrans2D1" presStyleIdx="1" presStyleCnt="2"/>
      <dgm:spPr/>
    </dgm:pt>
    <dgm:pt modelId="{19840DD2-FE9A-40DB-85C9-6B9AB82C0B9C}" type="pres">
      <dgm:prSet presAssocID="{B04578DC-72A3-409E-AD71-FF0BBE7DDBB1}" presName="connTx" presStyleLbl="sibTrans2D1" presStyleIdx="1" presStyleCnt="2"/>
      <dgm:spPr/>
    </dgm:pt>
    <dgm:pt modelId="{A18B59CD-DEA8-4D84-B13A-87B6AAD41D23}" type="pres">
      <dgm:prSet presAssocID="{D952FF60-5C82-47CA-BDAD-A7ABAF307E2A}" presName="composite" presStyleCnt="0"/>
      <dgm:spPr/>
    </dgm:pt>
    <dgm:pt modelId="{371A157C-5A8C-4DC6-90D7-45C0C8A96C6C}" type="pres">
      <dgm:prSet presAssocID="{D952FF60-5C82-47CA-BDAD-A7ABAF307E2A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DA4A4633-9A69-477E-AC5C-85D95173F674}" type="pres">
      <dgm:prSet presAssocID="{D952FF60-5C82-47CA-BDAD-A7ABAF307E2A}" presName="parSh" presStyleLbl="node1" presStyleIdx="2" presStyleCnt="3"/>
      <dgm:spPr/>
    </dgm:pt>
    <dgm:pt modelId="{B7C86353-D11E-4DA1-A222-7D130F13E8C7}" type="pres">
      <dgm:prSet presAssocID="{D952FF60-5C82-47CA-BDAD-A7ABAF307E2A}" presName="desTx" presStyleLbl="fgAcc1" presStyleIdx="2" presStyleCnt="3">
        <dgm:presLayoutVars>
          <dgm:bulletEnabled val="1"/>
        </dgm:presLayoutVars>
      </dgm:prSet>
      <dgm:spPr/>
    </dgm:pt>
  </dgm:ptLst>
  <dgm:cxnLst>
    <dgm:cxn modelId="{B3208515-29F8-4BC4-9BD3-A04F329302D0}" type="presOf" srcId="{15053CCB-21F5-4F1E-83D5-3C8C35533985}" destId="{0B37A743-14F3-47E0-87BA-15536EF001D9}" srcOrd="0" destOrd="0" presId="urn:microsoft.com/office/officeart/2005/8/layout/process3"/>
    <dgm:cxn modelId="{DC813D2E-0B34-4B52-9B4C-D04A556534D7}" type="presOf" srcId="{02A6AAEE-5EB9-4A4F-B899-90B2BE6DDAF7}" destId="{B59CD46F-B050-4150-83B9-DF826AA88A49}" srcOrd="0" destOrd="0" presId="urn:microsoft.com/office/officeart/2005/8/layout/process3"/>
    <dgm:cxn modelId="{EE0AB52F-177C-4EB3-A7E0-A67CB4CAD80E}" type="presOf" srcId="{D952FF60-5C82-47CA-BDAD-A7ABAF307E2A}" destId="{DA4A4633-9A69-477E-AC5C-85D95173F674}" srcOrd="1" destOrd="0" presId="urn:microsoft.com/office/officeart/2005/8/layout/process3"/>
    <dgm:cxn modelId="{28CA3B31-B7F7-4B09-88AF-80AC3E3944F5}" type="presOf" srcId="{26C0D5EB-FB64-4D06-AE4A-A42A8417EB3E}" destId="{B7C86353-D11E-4DA1-A222-7D130F13E8C7}" srcOrd="0" destOrd="0" presId="urn:microsoft.com/office/officeart/2005/8/layout/process3"/>
    <dgm:cxn modelId="{2D994A75-CA7B-424D-8D27-05CE7A48CC2D}" type="presOf" srcId="{9E45DBFE-6F14-470D-BF8A-74B7358C7529}" destId="{B100F378-377D-4ECD-8FD5-738AFD243E11}" srcOrd="0" destOrd="0" presId="urn:microsoft.com/office/officeart/2005/8/layout/process3"/>
    <dgm:cxn modelId="{BE71187B-780B-4F8B-B79A-B6CBA2CC8325}" type="presOf" srcId="{D0E1B28D-EB50-4F59-A0A6-A217B856EA53}" destId="{A88DB03B-0A0A-4D02-9B54-9C4647486A29}" srcOrd="0" destOrd="0" presId="urn:microsoft.com/office/officeart/2005/8/layout/process3"/>
    <dgm:cxn modelId="{B53916AA-C352-43A9-864F-1C84B066880C}" srcId="{9E45DBFE-6F14-470D-BF8A-74B7358C7529}" destId="{15053CCB-21F5-4F1E-83D5-3C8C35533985}" srcOrd="0" destOrd="0" parTransId="{A9A4CED2-0E72-4E0C-ADA6-EC464FB22FD8}" sibTransId="{44EA4518-ED65-49F1-AF0E-A449C911C309}"/>
    <dgm:cxn modelId="{D3A78BB5-EEA8-4754-9E1E-F3C168166FE4}" srcId="{D952FF60-5C82-47CA-BDAD-A7ABAF307E2A}" destId="{26C0D5EB-FB64-4D06-AE4A-A42A8417EB3E}" srcOrd="0" destOrd="0" parTransId="{039DEBCB-5491-4C22-AC78-F0D4FE48DD6C}" sibTransId="{67E9F18B-4B2E-4CA1-9606-18F4F225BF99}"/>
    <dgm:cxn modelId="{76CB2BC6-059F-4081-8C25-8B9DF21151A3}" srcId="{D0E1B28D-EB50-4F59-A0A6-A217B856EA53}" destId="{8561D35F-D067-4325-BBD4-3E543885DD5C}" srcOrd="0" destOrd="0" parTransId="{4721CCDD-B3CF-4697-96F6-210F3E7A7F2B}" sibTransId="{9E5B3A16-5E3C-4A5F-833E-A563E8706E85}"/>
    <dgm:cxn modelId="{ABC42CC7-9DE5-46EF-B815-AB52150D58EC}" type="presOf" srcId="{02A6AAEE-5EB9-4A4F-B899-90B2BE6DDAF7}" destId="{9A31EA6F-D23A-457C-AEBF-AD7AEA8DA7BA}" srcOrd="1" destOrd="0" presId="urn:microsoft.com/office/officeart/2005/8/layout/process3"/>
    <dgm:cxn modelId="{521A97D3-D65B-41AD-8480-7CA29BAC2510}" srcId="{2D56ECFF-F0B3-493D-9AED-673929C52A45}" destId="{D952FF60-5C82-47CA-BDAD-A7ABAF307E2A}" srcOrd="2" destOrd="0" parTransId="{EFD7D039-9AF9-43ED-B860-06B0D268304B}" sibTransId="{CA3DF288-00B0-47EC-925E-DCBAAA582B65}"/>
    <dgm:cxn modelId="{2173F9D6-D60F-4603-9BDD-8694E3C8AF7A}" srcId="{2D56ECFF-F0B3-493D-9AED-673929C52A45}" destId="{D0E1B28D-EB50-4F59-A0A6-A217B856EA53}" srcOrd="0" destOrd="0" parTransId="{6FD14B67-2B8C-4F7F-8C60-772B8DA8E15A}" sibTransId="{02A6AAEE-5EB9-4A4F-B899-90B2BE6DDAF7}"/>
    <dgm:cxn modelId="{978D1FD8-1C82-4600-A6E4-76D3006FFDC9}" type="presOf" srcId="{8561D35F-D067-4325-BBD4-3E543885DD5C}" destId="{7D20E137-5B8F-49AC-B32F-E0793CE294F1}" srcOrd="0" destOrd="0" presId="urn:microsoft.com/office/officeart/2005/8/layout/process3"/>
    <dgm:cxn modelId="{48D6D4D8-C8C4-4E75-81D7-70363868A891}" type="presOf" srcId="{B04578DC-72A3-409E-AD71-FF0BBE7DDBB1}" destId="{50497CCD-54D9-4C81-BA09-3A036D3464FA}" srcOrd="0" destOrd="0" presId="urn:microsoft.com/office/officeart/2005/8/layout/process3"/>
    <dgm:cxn modelId="{F69E62DE-CA39-4B95-8F3D-334A9DA40B98}" type="presOf" srcId="{D0E1B28D-EB50-4F59-A0A6-A217B856EA53}" destId="{90D630C2-9732-4939-8B56-7D1D618AFE67}" srcOrd="1" destOrd="0" presId="urn:microsoft.com/office/officeart/2005/8/layout/process3"/>
    <dgm:cxn modelId="{AC6A83E3-A71F-4DD9-820E-E2CFDDD29198}" srcId="{2D56ECFF-F0B3-493D-9AED-673929C52A45}" destId="{9E45DBFE-6F14-470D-BF8A-74B7358C7529}" srcOrd="1" destOrd="0" parTransId="{794815B9-0343-48B1-A7EC-BC340CD5E41C}" sibTransId="{B04578DC-72A3-409E-AD71-FF0BBE7DDBB1}"/>
    <dgm:cxn modelId="{51DE94EC-8862-4DF2-9981-0AC466EA987D}" type="presOf" srcId="{D952FF60-5C82-47CA-BDAD-A7ABAF307E2A}" destId="{371A157C-5A8C-4DC6-90D7-45C0C8A96C6C}" srcOrd="0" destOrd="0" presId="urn:microsoft.com/office/officeart/2005/8/layout/process3"/>
    <dgm:cxn modelId="{F4A794EE-1A18-47CC-AA37-F07CBF4523D9}" type="presOf" srcId="{2D56ECFF-F0B3-493D-9AED-673929C52A45}" destId="{8FFD3448-D77A-4F0B-BBE8-EB0EBAC2AE63}" srcOrd="0" destOrd="0" presId="urn:microsoft.com/office/officeart/2005/8/layout/process3"/>
    <dgm:cxn modelId="{84EBC3F4-0243-4F75-A55F-C1751BE82072}" type="presOf" srcId="{B04578DC-72A3-409E-AD71-FF0BBE7DDBB1}" destId="{19840DD2-FE9A-40DB-85C9-6B9AB82C0B9C}" srcOrd="1" destOrd="0" presId="urn:microsoft.com/office/officeart/2005/8/layout/process3"/>
    <dgm:cxn modelId="{294FEDF9-094D-4A13-BFEB-E60ABC66186A}" type="presOf" srcId="{9E45DBFE-6F14-470D-BF8A-74B7358C7529}" destId="{011EEB97-53CD-4A28-92BD-B039B4D92B4E}" srcOrd="1" destOrd="0" presId="urn:microsoft.com/office/officeart/2005/8/layout/process3"/>
    <dgm:cxn modelId="{66EC3F72-F7D4-44A7-BBE9-AA72661FC8EC}" type="presParOf" srcId="{8FFD3448-D77A-4F0B-BBE8-EB0EBAC2AE63}" destId="{AEAFBADE-915C-4EDB-B354-5FD6FDBE7653}" srcOrd="0" destOrd="0" presId="urn:microsoft.com/office/officeart/2005/8/layout/process3"/>
    <dgm:cxn modelId="{645CCF82-AE57-4016-AEDC-F3D98AB4C15E}" type="presParOf" srcId="{AEAFBADE-915C-4EDB-B354-5FD6FDBE7653}" destId="{A88DB03B-0A0A-4D02-9B54-9C4647486A29}" srcOrd="0" destOrd="0" presId="urn:microsoft.com/office/officeart/2005/8/layout/process3"/>
    <dgm:cxn modelId="{0E67D87F-84F4-4457-96E0-8BACA5005454}" type="presParOf" srcId="{AEAFBADE-915C-4EDB-B354-5FD6FDBE7653}" destId="{90D630C2-9732-4939-8B56-7D1D618AFE67}" srcOrd="1" destOrd="0" presId="urn:microsoft.com/office/officeart/2005/8/layout/process3"/>
    <dgm:cxn modelId="{0C1EBDF4-4BE5-497F-A4E2-D3651FACE176}" type="presParOf" srcId="{AEAFBADE-915C-4EDB-B354-5FD6FDBE7653}" destId="{7D20E137-5B8F-49AC-B32F-E0793CE294F1}" srcOrd="2" destOrd="0" presId="urn:microsoft.com/office/officeart/2005/8/layout/process3"/>
    <dgm:cxn modelId="{E9664BD4-287C-479B-96CC-81A96838436D}" type="presParOf" srcId="{8FFD3448-D77A-4F0B-BBE8-EB0EBAC2AE63}" destId="{B59CD46F-B050-4150-83B9-DF826AA88A49}" srcOrd="1" destOrd="0" presId="urn:microsoft.com/office/officeart/2005/8/layout/process3"/>
    <dgm:cxn modelId="{7D171142-70E0-4057-A9E7-8D73089D6719}" type="presParOf" srcId="{B59CD46F-B050-4150-83B9-DF826AA88A49}" destId="{9A31EA6F-D23A-457C-AEBF-AD7AEA8DA7BA}" srcOrd="0" destOrd="0" presId="urn:microsoft.com/office/officeart/2005/8/layout/process3"/>
    <dgm:cxn modelId="{C67ED573-8685-45F4-86C2-B3B5D765D3F9}" type="presParOf" srcId="{8FFD3448-D77A-4F0B-BBE8-EB0EBAC2AE63}" destId="{E086FF47-96F9-4D3E-BF9C-8A78DA37BDCE}" srcOrd="2" destOrd="0" presId="urn:microsoft.com/office/officeart/2005/8/layout/process3"/>
    <dgm:cxn modelId="{1E2D5DC3-B27F-4834-9A8C-C10AF6ED12FC}" type="presParOf" srcId="{E086FF47-96F9-4D3E-BF9C-8A78DA37BDCE}" destId="{B100F378-377D-4ECD-8FD5-738AFD243E11}" srcOrd="0" destOrd="0" presId="urn:microsoft.com/office/officeart/2005/8/layout/process3"/>
    <dgm:cxn modelId="{7E8F0CBB-A242-4864-9D0C-9B0C7E5FDF50}" type="presParOf" srcId="{E086FF47-96F9-4D3E-BF9C-8A78DA37BDCE}" destId="{011EEB97-53CD-4A28-92BD-B039B4D92B4E}" srcOrd="1" destOrd="0" presId="urn:microsoft.com/office/officeart/2005/8/layout/process3"/>
    <dgm:cxn modelId="{8A534A36-88E7-4DD7-81F7-381EE5D4B142}" type="presParOf" srcId="{E086FF47-96F9-4D3E-BF9C-8A78DA37BDCE}" destId="{0B37A743-14F3-47E0-87BA-15536EF001D9}" srcOrd="2" destOrd="0" presId="urn:microsoft.com/office/officeart/2005/8/layout/process3"/>
    <dgm:cxn modelId="{3F334CA5-CDF6-46F2-A665-1EB0DF389BA0}" type="presParOf" srcId="{8FFD3448-D77A-4F0B-BBE8-EB0EBAC2AE63}" destId="{50497CCD-54D9-4C81-BA09-3A036D3464FA}" srcOrd="3" destOrd="0" presId="urn:microsoft.com/office/officeart/2005/8/layout/process3"/>
    <dgm:cxn modelId="{B7C635DF-FEA6-47F6-B196-769D51D31DA4}" type="presParOf" srcId="{50497CCD-54D9-4C81-BA09-3A036D3464FA}" destId="{19840DD2-FE9A-40DB-85C9-6B9AB82C0B9C}" srcOrd="0" destOrd="0" presId="urn:microsoft.com/office/officeart/2005/8/layout/process3"/>
    <dgm:cxn modelId="{C6080115-2498-4551-B729-EEE0AC09DE6F}" type="presParOf" srcId="{8FFD3448-D77A-4F0B-BBE8-EB0EBAC2AE63}" destId="{A18B59CD-DEA8-4D84-B13A-87B6AAD41D23}" srcOrd="4" destOrd="0" presId="urn:microsoft.com/office/officeart/2005/8/layout/process3"/>
    <dgm:cxn modelId="{886BAA34-0C5D-42F4-B19A-6562E566121E}" type="presParOf" srcId="{A18B59CD-DEA8-4D84-B13A-87B6AAD41D23}" destId="{371A157C-5A8C-4DC6-90D7-45C0C8A96C6C}" srcOrd="0" destOrd="0" presId="urn:microsoft.com/office/officeart/2005/8/layout/process3"/>
    <dgm:cxn modelId="{1034257F-863B-40D3-A4FC-234F6C99F225}" type="presParOf" srcId="{A18B59CD-DEA8-4D84-B13A-87B6AAD41D23}" destId="{DA4A4633-9A69-477E-AC5C-85D95173F674}" srcOrd="1" destOrd="0" presId="urn:microsoft.com/office/officeart/2005/8/layout/process3"/>
    <dgm:cxn modelId="{93FBF37E-6D05-4EC1-B497-0487B0A67154}" type="presParOf" srcId="{A18B59CD-DEA8-4D84-B13A-87B6AAD41D23}" destId="{B7C86353-D11E-4DA1-A222-7D130F13E8C7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0C547F-41EF-42BA-B20F-7D18E4E7F8C5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19CD37FB-4D68-4B38-BDC6-E4CA5FF881E0}">
      <dgm:prSet phldrT="[Text]" custT="1"/>
      <dgm:spPr/>
      <dgm:t>
        <a:bodyPr/>
        <a:lstStyle/>
        <a:p>
          <a:r>
            <a:rPr lang="en-US" sz="900" dirty="0"/>
            <a:t>Internal Money Transfer</a:t>
          </a:r>
          <a:endParaRPr lang="tr-TR" sz="900" dirty="0"/>
        </a:p>
      </dgm:t>
    </dgm:pt>
    <dgm:pt modelId="{8A7AC742-CE22-4F0B-8A14-8054A4F68720}" type="parTrans" cxnId="{F4187EAC-40E7-4A95-8516-3A80BFD98A0F}">
      <dgm:prSet/>
      <dgm:spPr/>
      <dgm:t>
        <a:bodyPr/>
        <a:lstStyle/>
        <a:p>
          <a:endParaRPr lang="tr-TR"/>
        </a:p>
      </dgm:t>
    </dgm:pt>
    <dgm:pt modelId="{DA5A1D75-FE5C-41BF-8D68-2E9FD5A86EF4}" type="sibTrans" cxnId="{F4187EAC-40E7-4A95-8516-3A80BFD98A0F}">
      <dgm:prSet/>
      <dgm:spPr/>
      <dgm:t>
        <a:bodyPr/>
        <a:lstStyle/>
        <a:p>
          <a:endParaRPr lang="tr-TR"/>
        </a:p>
      </dgm:t>
    </dgm:pt>
    <dgm:pt modelId="{EBB5C12B-0036-4AB3-BC45-A0B7199AF62B}">
      <dgm:prSet phldrT="[Text]" custT="1"/>
      <dgm:spPr/>
      <dgm:t>
        <a:bodyPr/>
        <a:lstStyle/>
        <a:p>
          <a:r>
            <a:rPr lang="en-US" sz="900" dirty="0" err="1"/>
            <a:t>Deposite</a:t>
          </a:r>
          <a:endParaRPr lang="tr-TR" sz="900" dirty="0"/>
        </a:p>
      </dgm:t>
    </dgm:pt>
    <dgm:pt modelId="{37A91023-DCEA-43F4-9E8A-4079B27F9940}" type="parTrans" cxnId="{25BD467E-61CF-4DBC-AAAE-AE6DE03A68B8}">
      <dgm:prSet/>
      <dgm:spPr/>
      <dgm:t>
        <a:bodyPr/>
        <a:lstStyle/>
        <a:p>
          <a:endParaRPr lang="tr-TR"/>
        </a:p>
      </dgm:t>
    </dgm:pt>
    <dgm:pt modelId="{73E50295-41CC-4A6B-B580-0609E1440F27}" type="sibTrans" cxnId="{25BD467E-61CF-4DBC-AAAE-AE6DE03A68B8}">
      <dgm:prSet/>
      <dgm:spPr/>
      <dgm:t>
        <a:bodyPr/>
        <a:lstStyle/>
        <a:p>
          <a:endParaRPr lang="tr-TR"/>
        </a:p>
      </dgm:t>
    </dgm:pt>
    <dgm:pt modelId="{8053ECF2-9E5B-4BE6-8AF1-58181FF01C63}">
      <dgm:prSet phldrT="[Text]" custT="1"/>
      <dgm:spPr/>
      <dgm:t>
        <a:bodyPr/>
        <a:lstStyle/>
        <a:p>
          <a:r>
            <a:rPr lang="en-US" sz="900" dirty="0"/>
            <a:t>Internet Branch Change Password</a:t>
          </a:r>
          <a:endParaRPr lang="tr-TR" sz="900" dirty="0"/>
        </a:p>
      </dgm:t>
    </dgm:pt>
    <dgm:pt modelId="{0957371E-787E-4C10-99CC-A3420A9E2035}" type="parTrans" cxnId="{4BE69909-977F-433D-A091-6C313C8AB156}">
      <dgm:prSet/>
      <dgm:spPr/>
      <dgm:t>
        <a:bodyPr/>
        <a:lstStyle/>
        <a:p>
          <a:endParaRPr lang="tr-TR"/>
        </a:p>
      </dgm:t>
    </dgm:pt>
    <dgm:pt modelId="{2C67CE42-DE75-4D45-8F53-020D16DCC9AA}" type="sibTrans" cxnId="{4BE69909-977F-433D-A091-6C313C8AB156}">
      <dgm:prSet/>
      <dgm:spPr/>
      <dgm:t>
        <a:bodyPr/>
        <a:lstStyle/>
        <a:p>
          <a:endParaRPr lang="tr-TR"/>
        </a:p>
      </dgm:t>
    </dgm:pt>
    <dgm:pt modelId="{FA9D58F0-7178-4B82-A68F-41F173FEABD6}">
      <dgm:prSet phldrT="[Text]"/>
      <dgm:spPr/>
      <dgm:t>
        <a:bodyPr/>
        <a:lstStyle/>
        <a:p>
          <a:r>
            <a:rPr lang="en-US" b="1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rPr>
            <a:t>Business Service Pool</a:t>
          </a:r>
          <a:endParaRPr lang="tr-TR" b="1" dirty="0">
            <a:solidFill>
              <a:schemeClr val="tx1">
                <a:lumMod val="50000"/>
              </a:schemeClr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5F8090E-B852-45FD-99E3-C1475F91BF96}" type="parTrans" cxnId="{C9E8A12C-D3EC-4AEC-87FA-F72166DCFE8C}">
      <dgm:prSet/>
      <dgm:spPr/>
      <dgm:t>
        <a:bodyPr/>
        <a:lstStyle/>
        <a:p>
          <a:endParaRPr lang="tr-TR"/>
        </a:p>
      </dgm:t>
    </dgm:pt>
    <dgm:pt modelId="{37CC2E68-A2A1-4F00-B995-5E9450B73977}" type="sibTrans" cxnId="{C9E8A12C-D3EC-4AEC-87FA-F72166DCFE8C}">
      <dgm:prSet/>
      <dgm:spPr/>
      <dgm:t>
        <a:bodyPr/>
        <a:lstStyle/>
        <a:p>
          <a:endParaRPr lang="tr-TR"/>
        </a:p>
      </dgm:t>
    </dgm:pt>
    <dgm:pt modelId="{79DCAB3E-927A-4592-91F8-E47019C22330}" type="pres">
      <dgm:prSet presAssocID="{9C0C547F-41EF-42BA-B20F-7D18E4E7F8C5}" presName="Name0" presStyleCnt="0">
        <dgm:presLayoutVars>
          <dgm:chMax val="4"/>
          <dgm:resizeHandles val="exact"/>
        </dgm:presLayoutVars>
      </dgm:prSet>
      <dgm:spPr/>
    </dgm:pt>
    <dgm:pt modelId="{3B15DC4B-23C5-48D6-8E95-09BD878FBE51}" type="pres">
      <dgm:prSet presAssocID="{9C0C547F-41EF-42BA-B20F-7D18E4E7F8C5}" presName="ellipse" presStyleLbl="trBgShp" presStyleIdx="0" presStyleCnt="1"/>
      <dgm:spPr/>
    </dgm:pt>
    <dgm:pt modelId="{F3979588-1AEC-440D-9614-78EB8E494305}" type="pres">
      <dgm:prSet presAssocID="{9C0C547F-41EF-42BA-B20F-7D18E4E7F8C5}" presName="arrow1" presStyleLbl="fgShp" presStyleIdx="0" presStyleCnt="1"/>
      <dgm:spPr/>
    </dgm:pt>
    <dgm:pt modelId="{C510C534-8E8A-4AFF-BC03-3A8A72C69A3F}" type="pres">
      <dgm:prSet presAssocID="{9C0C547F-41EF-42BA-B20F-7D18E4E7F8C5}" presName="rectangle" presStyleLbl="revTx" presStyleIdx="0" presStyleCnt="1">
        <dgm:presLayoutVars>
          <dgm:bulletEnabled val="1"/>
        </dgm:presLayoutVars>
      </dgm:prSet>
      <dgm:spPr/>
    </dgm:pt>
    <dgm:pt modelId="{EC946288-25CC-4E4A-B085-FA0264E95E27}" type="pres">
      <dgm:prSet presAssocID="{EBB5C12B-0036-4AB3-BC45-A0B7199AF62B}" presName="item1" presStyleLbl="node1" presStyleIdx="0" presStyleCnt="3" custScaleX="132187" custScaleY="112169">
        <dgm:presLayoutVars>
          <dgm:bulletEnabled val="1"/>
        </dgm:presLayoutVars>
      </dgm:prSet>
      <dgm:spPr/>
    </dgm:pt>
    <dgm:pt modelId="{594B5E29-670F-4E3C-A1F6-D7434573E3AC}" type="pres">
      <dgm:prSet presAssocID="{8053ECF2-9E5B-4BE6-8AF1-58181FF01C63}" presName="item2" presStyleLbl="node1" presStyleIdx="1" presStyleCnt="3" custScaleX="122486">
        <dgm:presLayoutVars>
          <dgm:bulletEnabled val="1"/>
        </dgm:presLayoutVars>
      </dgm:prSet>
      <dgm:spPr/>
    </dgm:pt>
    <dgm:pt modelId="{EE5A92B3-9C5A-4CFE-8648-2C41ECB51369}" type="pres">
      <dgm:prSet presAssocID="{FA9D58F0-7178-4B82-A68F-41F173FEABD6}" presName="item3" presStyleLbl="node1" presStyleIdx="2" presStyleCnt="3" custScaleX="137559">
        <dgm:presLayoutVars>
          <dgm:bulletEnabled val="1"/>
        </dgm:presLayoutVars>
      </dgm:prSet>
      <dgm:spPr/>
    </dgm:pt>
    <dgm:pt modelId="{FEF80105-D55B-4BA5-87BA-A6AF61F7E631}" type="pres">
      <dgm:prSet presAssocID="{9C0C547F-41EF-42BA-B20F-7D18E4E7F8C5}" presName="funnel" presStyleLbl="trAlignAcc1" presStyleIdx="0" presStyleCnt="1" custScaleX="120217" custScaleY="89103"/>
      <dgm:spPr/>
    </dgm:pt>
  </dgm:ptLst>
  <dgm:cxnLst>
    <dgm:cxn modelId="{4CFBF700-D4B2-4162-8CDE-83651FDA6CCA}" type="presOf" srcId="{8053ECF2-9E5B-4BE6-8AF1-58181FF01C63}" destId="{EC946288-25CC-4E4A-B085-FA0264E95E27}" srcOrd="0" destOrd="0" presId="urn:microsoft.com/office/officeart/2005/8/layout/funnel1"/>
    <dgm:cxn modelId="{4BE69909-977F-433D-A091-6C313C8AB156}" srcId="{9C0C547F-41EF-42BA-B20F-7D18E4E7F8C5}" destId="{8053ECF2-9E5B-4BE6-8AF1-58181FF01C63}" srcOrd="2" destOrd="0" parTransId="{0957371E-787E-4C10-99CC-A3420A9E2035}" sibTransId="{2C67CE42-DE75-4D45-8F53-020D16DCC9AA}"/>
    <dgm:cxn modelId="{C9E8A12C-D3EC-4AEC-87FA-F72166DCFE8C}" srcId="{9C0C547F-41EF-42BA-B20F-7D18E4E7F8C5}" destId="{FA9D58F0-7178-4B82-A68F-41F173FEABD6}" srcOrd="3" destOrd="0" parTransId="{25F8090E-B852-45FD-99E3-C1475F91BF96}" sibTransId="{37CC2E68-A2A1-4F00-B995-5E9450B73977}"/>
    <dgm:cxn modelId="{2D7E1877-889C-4FAF-940B-B0ABACEDEC06}" type="presOf" srcId="{9C0C547F-41EF-42BA-B20F-7D18E4E7F8C5}" destId="{79DCAB3E-927A-4592-91F8-E47019C22330}" srcOrd="0" destOrd="0" presId="urn:microsoft.com/office/officeart/2005/8/layout/funnel1"/>
    <dgm:cxn modelId="{25BD467E-61CF-4DBC-AAAE-AE6DE03A68B8}" srcId="{9C0C547F-41EF-42BA-B20F-7D18E4E7F8C5}" destId="{EBB5C12B-0036-4AB3-BC45-A0B7199AF62B}" srcOrd="1" destOrd="0" parTransId="{37A91023-DCEA-43F4-9E8A-4079B27F9940}" sibTransId="{73E50295-41CC-4A6B-B580-0609E1440F27}"/>
    <dgm:cxn modelId="{8124C698-5834-4D6B-B9B2-7600475F53D7}" type="presOf" srcId="{19CD37FB-4D68-4B38-BDC6-E4CA5FF881E0}" destId="{EE5A92B3-9C5A-4CFE-8648-2C41ECB51369}" srcOrd="0" destOrd="0" presId="urn:microsoft.com/office/officeart/2005/8/layout/funnel1"/>
    <dgm:cxn modelId="{F4187EAC-40E7-4A95-8516-3A80BFD98A0F}" srcId="{9C0C547F-41EF-42BA-B20F-7D18E4E7F8C5}" destId="{19CD37FB-4D68-4B38-BDC6-E4CA5FF881E0}" srcOrd="0" destOrd="0" parTransId="{8A7AC742-CE22-4F0B-8A14-8054A4F68720}" sibTransId="{DA5A1D75-FE5C-41BF-8D68-2E9FD5A86EF4}"/>
    <dgm:cxn modelId="{897366B4-33C1-4A01-9E4E-AE9BCCF25FD4}" type="presOf" srcId="{EBB5C12B-0036-4AB3-BC45-A0B7199AF62B}" destId="{594B5E29-670F-4E3C-A1F6-D7434573E3AC}" srcOrd="0" destOrd="0" presId="urn:microsoft.com/office/officeart/2005/8/layout/funnel1"/>
    <dgm:cxn modelId="{9A2AECDB-D6DC-416C-93D2-87B7CDBE4721}" type="presOf" srcId="{FA9D58F0-7178-4B82-A68F-41F173FEABD6}" destId="{C510C534-8E8A-4AFF-BC03-3A8A72C69A3F}" srcOrd="0" destOrd="0" presId="urn:microsoft.com/office/officeart/2005/8/layout/funnel1"/>
    <dgm:cxn modelId="{10F6DCFE-372A-4FF3-95A1-4970B698BBB9}" type="presParOf" srcId="{79DCAB3E-927A-4592-91F8-E47019C22330}" destId="{3B15DC4B-23C5-48D6-8E95-09BD878FBE51}" srcOrd="0" destOrd="0" presId="urn:microsoft.com/office/officeart/2005/8/layout/funnel1"/>
    <dgm:cxn modelId="{1FB22A2E-E29E-4293-89E9-65F1B22C97CB}" type="presParOf" srcId="{79DCAB3E-927A-4592-91F8-E47019C22330}" destId="{F3979588-1AEC-440D-9614-78EB8E494305}" srcOrd="1" destOrd="0" presId="urn:microsoft.com/office/officeart/2005/8/layout/funnel1"/>
    <dgm:cxn modelId="{35AA42AD-6F1E-46C5-8E42-310AE2EAE834}" type="presParOf" srcId="{79DCAB3E-927A-4592-91F8-E47019C22330}" destId="{C510C534-8E8A-4AFF-BC03-3A8A72C69A3F}" srcOrd="2" destOrd="0" presId="urn:microsoft.com/office/officeart/2005/8/layout/funnel1"/>
    <dgm:cxn modelId="{33F4F41C-8E7B-4B16-90A4-DFE2607FFB47}" type="presParOf" srcId="{79DCAB3E-927A-4592-91F8-E47019C22330}" destId="{EC946288-25CC-4E4A-B085-FA0264E95E27}" srcOrd="3" destOrd="0" presId="urn:microsoft.com/office/officeart/2005/8/layout/funnel1"/>
    <dgm:cxn modelId="{1473A044-6F5A-47EA-B4B0-D86D319262CA}" type="presParOf" srcId="{79DCAB3E-927A-4592-91F8-E47019C22330}" destId="{594B5E29-670F-4E3C-A1F6-D7434573E3AC}" srcOrd="4" destOrd="0" presId="urn:microsoft.com/office/officeart/2005/8/layout/funnel1"/>
    <dgm:cxn modelId="{720523A5-7904-45D6-9E10-2F541EF55BB6}" type="presParOf" srcId="{79DCAB3E-927A-4592-91F8-E47019C22330}" destId="{EE5A92B3-9C5A-4CFE-8648-2C41ECB51369}" srcOrd="5" destOrd="0" presId="urn:microsoft.com/office/officeart/2005/8/layout/funnel1"/>
    <dgm:cxn modelId="{8668867D-CA61-4472-956B-2AED50817BCD}" type="presParOf" srcId="{79DCAB3E-927A-4592-91F8-E47019C22330}" destId="{FEF80105-D55B-4BA5-87BA-A6AF61F7E631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9D1D081-DC88-4B7B-A70D-22B21FB5A89F}" type="doc">
      <dgm:prSet loTypeId="urn:microsoft.com/office/officeart/2005/8/layout/radial4" loCatId="relationship" qsTypeId="urn:microsoft.com/office/officeart/2005/8/quickstyle/3d6" qsCatId="3D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8B1A0BB0-0E30-4A63-9F7B-788705B5C289}">
      <dgm:prSet phldrT="[Text]"/>
      <dgm:spPr/>
      <dgm:t>
        <a:bodyPr/>
        <a:lstStyle/>
        <a:p>
          <a:r>
            <a:rPr lang="tr-TR" dirty="0"/>
            <a:t>Deployment Service</a:t>
          </a:r>
        </a:p>
      </dgm:t>
    </dgm:pt>
    <dgm:pt modelId="{BD28A6D8-83C4-4E6F-8EF2-256E6889C9FA}" type="parTrans" cxnId="{7BC5A76B-2BE3-4CBE-9E5E-33A53D451BBB}">
      <dgm:prSet/>
      <dgm:spPr/>
      <dgm:t>
        <a:bodyPr/>
        <a:lstStyle/>
        <a:p>
          <a:endParaRPr lang="tr-TR"/>
        </a:p>
      </dgm:t>
    </dgm:pt>
    <dgm:pt modelId="{43FB0A43-C593-40E1-A184-8858735A8261}" type="sibTrans" cxnId="{7BC5A76B-2BE3-4CBE-9E5E-33A53D451BBB}">
      <dgm:prSet/>
      <dgm:spPr/>
      <dgm:t>
        <a:bodyPr/>
        <a:lstStyle/>
        <a:p>
          <a:endParaRPr lang="tr-TR"/>
        </a:p>
      </dgm:t>
    </dgm:pt>
    <dgm:pt modelId="{45FA49A1-5CDE-4718-A4F3-158E474755B4}">
      <dgm:prSet phldrT="[Text]"/>
      <dgm:spPr/>
      <dgm:t>
        <a:bodyPr/>
        <a:lstStyle/>
        <a:p>
          <a:r>
            <a:rPr lang="tr-TR" dirty="0"/>
            <a:t>Operations Center</a:t>
          </a:r>
        </a:p>
      </dgm:t>
    </dgm:pt>
    <dgm:pt modelId="{9AC109CC-B5DB-4A0F-8B14-AF2B5EE61C20}" type="parTrans" cxnId="{FC012239-BA4B-4F0E-A4AC-EC1164E53EE6}">
      <dgm:prSet/>
      <dgm:spPr/>
      <dgm:t>
        <a:bodyPr/>
        <a:lstStyle/>
        <a:p>
          <a:endParaRPr lang="tr-TR"/>
        </a:p>
      </dgm:t>
    </dgm:pt>
    <dgm:pt modelId="{FC2C9F59-1ECF-43C6-8836-DCDD3B0A86CD}" type="sibTrans" cxnId="{FC012239-BA4B-4F0E-A4AC-EC1164E53EE6}">
      <dgm:prSet/>
      <dgm:spPr/>
      <dgm:t>
        <a:bodyPr/>
        <a:lstStyle/>
        <a:p>
          <a:endParaRPr lang="tr-TR"/>
        </a:p>
      </dgm:t>
    </dgm:pt>
    <dgm:pt modelId="{B406EA0D-EBAD-43E6-8E92-35BA6A585C51}">
      <dgm:prSet phldrT="[Text]"/>
      <dgm:spPr/>
      <dgm:t>
        <a:bodyPr/>
        <a:lstStyle/>
        <a:p>
          <a:r>
            <a:rPr lang="tr-TR" dirty="0"/>
            <a:t>General Management</a:t>
          </a:r>
        </a:p>
      </dgm:t>
    </dgm:pt>
    <dgm:pt modelId="{02B838E7-3851-4CD4-BFA9-BA2B97EEA74D}" type="parTrans" cxnId="{D8DE1A04-4E76-4922-9789-D40E2B0C5D72}">
      <dgm:prSet/>
      <dgm:spPr/>
      <dgm:t>
        <a:bodyPr/>
        <a:lstStyle/>
        <a:p>
          <a:endParaRPr lang="tr-TR"/>
        </a:p>
      </dgm:t>
    </dgm:pt>
    <dgm:pt modelId="{6BE6527D-8B1B-40D5-8EC2-4796769A4EEF}" type="sibTrans" cxnId="{D8DE1A04-4E76-4922-9789-D40E2B0C5D72}">
      <dgm:prSet/>
      <dgm:spPr/>
      <dgm:t>
        <a:bodyPr/>
        <a:lstStyle/>
        <a:p>
          <a:endParaRPr lang="tr-TR"/>
        </a:p>
      </dgm:t>
    </dgm:pt>
    <dgm:pt modelId="{E33B3DCD-815E-4A76-88CD-11A10F99CA24}">
      <dgm:prSet phldrT="[Text]"/>
      <dgm:spPr/>
      <dgm:t>
        <a:bodyPr/>
        <a:lstStyle/>
        <a:p>
          <a:r>
            <a:rPr lang="tr-TR" dirty="0"/>
            <a:t>Branches</a:t>
          </a:r>
        </a:p>
      </dgm:t>
    </dgm:pt>
    <dgm:pt modelId="{97A95972-4048-4D15-BC4C-17D859C4D5B1}" type="parTrans" cxnId="{E092D900-3293-4460-8C68-4AF7B2E120E4}">
      <dgm:prSet/>
      <dgm:spPr/>
      <dgm:t>
        <a:bodyPr/>
        <a:lstStyle/>
        <a:p>
          <a:endParaRPr lang="tr-TR"/>
        </a:p>
      </dgm:t>
    </dgm:pt>
    <dgm:pt modelId="{285E8F26-8D66-4150-87F6-27C9060EE9F6}" type="sibTrans" cxnId="{E092D900-3293-4460-8C68-4AF7B2E120E4}">
      <dgm:prSet/>
      <dgm:spPr/>
      <dgm:t>
        <a:bodyPr/>
        <a:lstStyle/>
        <a:p>
          <a:endParaRPr lang="tr-TR"/>
        </a:p>
      </dgm:t>
    </dgm:pt>
    <dgm:pt modelId="{8A1ECA38-CE78-453D-BE00-51B895424C98}" type="pres">
      <dgm:prSet presAssocID="{09D1D081-DC88-4B7B-A70D-22B21FB5A89F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BCB5094-43BF-42FD-885C-AEF6EE0EA5D0}" type="pres">
      <dgm:prSet presAssocID="{8B1A0BB0-0E30-4A63-9F7B-788705B5C289}" presName="centerShape" presStyleLbl="node0" presStyleIdx="0" presStyleCnt="1"/>
      <dgm:spPr/>
    </dgm:pt>
    <dgm:pt modelId="{659FE4F2-E3E0-484E-A961-FA97BAF76E4E}" type="pres">
      <dgm:prSet presAssocID="{9AC109CC-B5DB-4A0F-8B14-AF2B5EE61C20}" presName="parTrans" presStyleLbl="bgSibTrans2D1" presStyleIdx="0" presStyleCnt="3" custAng="17120723" custFlipHor="1" custScaleX="42074" custLinFactNeighborX="27882" custLinFactNeighborY="54311"/>
      <dgm:spPr/>
    </dgm:pt>
    <dgm:pt modelId="{86BC75B3-E8AE-4CD8-AAA1-7935A58FA57D}" type="pres">
      <dgm:prSet presAssocID="{45FA49A1-5CDE-4718-A4F3-158E474755B4}" presName="node" presStyleLbl="node1" presStyleIdx="0" presStyleCnt="3" custRadScaleRad="110776" custRadScaleInc="1803">
        <dgm:presLayoutVars>
          <dgm:bulletEnabled val="1"/>
        </dgm:presLayoutVars>
      </dgm:prSet>
      <dgm:spPr/>
    </dgm:pt>
    <dgm:pt modelId="{C44C703F-DC70-465C-94BA-75F715DE66BC}" type="pres">
      <dgm:prSet presAssocID="{02B838E7-3851-4CD4-BFA9-BA2B97EEA74D}" presName="parTrans" presStyleLbl="bgSibTrans2D1" presStyleIdx="1" presStyleCnt="3" custAng="10800000" custScaleX="50916" custLinFactNeighborY="71582"/>
      <dgm:spPr/>
    </dgm:pt>
    <dgm:pt modelId="{008E1C7F-ED5E-4B6E-8260-79407609227D}" type="pres">
      <dgm:prSet presAssocID="{B406EA0D-EBAD-43E6-8E92-35BA6A585C51}" presName="node" presStyleLbl="node1" presStyleIdx="1" presStyleCnt="3">
        <dgm:presLayoutVars>
          <dgm:bulletEnabled val="1"/>
        </dgm:presLayoutVars>
      </dgm:prSet>
      <dgm:spPr/>
    </dgm:pt>
    <dgm:pt modelId="{69D4ACA7-778A-4BC9-AE42-FD98ACB7E1E4}" type="pres">
      <dgm:prSet presAssocID="{97A95972-4048-4D15-BC4C-17D859C4D5B1}" presName="parTrans" presStyleLbl="bgSibTrans2D1" presStyleIdx="2" presStyleCnt="3" custAng="10712037" custScaleX="40931" custLinFactNeighborX="-27895" custLinFactNeighborY="48854" custRadScaleRad="180006" custRadScaleInc="-2147483648"/>
      <dgm:spPr/>
    </dgm:pt>
    <dgm:pt modelId="{FC5129FB-3A97-47D0-8BDD-BD68C1BE9D2F}" type="pres">
      <dgm:prSet presAssocID="{E33B3DCD-815E-4A76-88CD-11A10F99CA24}" presName="node" presStyleLbl="node1" presStyleIdx="2" presStyleCnt="3" custRadScaleRad="109521" custRadScaleInc="273">
        <dgm:presLayoutVars>
          <dgm:bulletEnabled val="1"/>
        </dgm:presLayoutVars>
      </dgm:prSet>
      <dgm:spPr/>
    </dgm:pt>
  </dgm:ptLst>
  <dgm:cxnLst>
    <dgm:cxn modelId="{E092D900-3293-4460-8C68-4AF7B2E120E4}" srcId="{8B1A0BB0-0E30-4A63-9F7B-788705B5C289}" destId="{E33B3DCD-815E-4A76-88CD-11A10F99CA24}" srcOrd="2" destOrd="0" parTransId="{97A95972-4048-4D15-BC4C-17D859C4D5B1}" sibTransId="{285E8F26-8D66-4150-87F6-27C9060EE9F6}"/>
    <dgm:cxn modelId="{D8DE1A04-4E76-4922-9789-D40E2B0C5D72}" srcId="{8B1A0BB0-0E30-4A63-9F7B-788705B5C289}" destId="{B406EA0D-EBAD-43E6-8E92-35BA6A585C51}" srcOrd="1" destOrd="0" parTransId="{02B838E7-3851-4CD4-BFA9-BA2B97EEA74D}" sibTransId="{6BE6527D-8B1B-40D5-8EC2-4796769A4EEF}"/>
    <dgm:cxn modelId="{7D35342C-195E-4903-9540-2D10D387FD11}" type="presOf" srcId="{8B1A0BB0-0E30-4A63-9F7B-788705B5C289}" destId="{FBCB5094-43BF-42FD-885C-AEF6EE0EA5D0}" srcOrd="0" destOrd="0" presId="urn:microsoft.com/office/officeart/2005/8/layout/radial4"/>
    <dgm:cxn modelId="{87C23636-1155-468D-80BF-408B98782403}" type="presOf" srcId="{E33B3DCD-815E-4A76-88CD-11A10F99CA24}" destId="{FC5129FB-3A97-47D0-8BDD-BD68C1BE9D2F}" srcOrd="0" destOrd="0" presId="urn:microsoft.com/office/officeart/2005/8/layout/radial4"/>
    <dgm:cxn modelId="{FC012239-BA4B-4F0E-A4AC-EC1164E53EE6}" srcId="{8B1A0BB0-0E30-4A63-9F7B-788705B5C289}" destId="{45FA49A1-5CDE-4718-A4F3-158E474755B4}" srcOrd="0" destOrd="0" parTransId="{9AC109CC-B5DB-4A0F-8B14-AF2B5EE61C20}" sibTransId="{FC2C9F59-1ECF-43C6-8836-DCDD3B0A86CD}"/>
    <dgm:cxn modelId="{D263595E-D66C-4E5B-A33C-59ACAD2BAE46}" type="presOf" srcId="{45FA49A1-5CDE-4718-A4F3-158E474755B4}" destId="{86BC75B3-E8AE-4CD8-AAA1-7935A58FA57D}" srcOrd="0" destOrd="0" presId="urn:microsoft.com/office/officeart/2005/8/layout/radial4"/>
    <dgm:cxn modelId="{FA7F9449-7396-4004-B811-B23C14844280}" type="presOf" srcId="{B406EA0D-EBAD-43E6-8E92-35BA6A585C51}" destId="{008E1C7F-ED5E-4B6E-8260-79407609227D}" srcOrd="0" destOrd="0" presId="urn:microsoft.com/office/officeart/2005/8/layout/radial4"/>
    <dgm:cxn modelId="{7BC5A76B-2BE3-4CBE-9E5E-33A53D451BBB}" srcId="{09D1D081-DC88-4B7B-A70D-22B21FB5A89F}" destId="{8B1A0BB0-0E30-4A63-9F7B-788705B5C289}" srcOrd="0" destOrd="0" parTransId="{BD28A6D8-83C4-4E6F-8EF2-256E6889C9FA}" sibTransId="{43FB0A43-C593-40E1-A184-8858735A8261}"/>
    <dgm:cxn modelId="{7220C07E-9AE5-4BCF-9D41-AAC367A31C6A}" type="presOf" srcId="{09D1D081-DC88-4B7B-A70D-22B21FB5A89F}" destId="{8A1ECA38-CE78-453D-BE00-51B895424C98}" srcOrd="0" destOrd="0" presId="urn:microsoft.com/office/officeart/2005/8/layout/radial4"/>
    <dgm:cxn modelId="{6BCD12A5-1AE9-4919-AC64-B2E2B9B93D38}" type="presOf" srcId="{97A95972-4048-4D15-BC4C-17D859C4D5B1}" destId="{69D4ACA7-778A-4BC9-AE42-FD98ACB7E1E4}" srcOrd="0" destOrd="0" presId="urn:microsoft.com/office/officeart/2005/8/layout/radial4"/>
    <dgm:cxn modelId="{C6A2A8BB-82A7-4388-833F-156EE7EC47F0}" type="presOf" srcId="{9AC109CC-B5DB-4A0F-8B14-AF2B5EE61C20}" destId="{659FE4F2-E3E0-484E-A961-FA97BAF76E4E}" srcOrd="0" destOrd="0" presId="urn:microsoft.com/office/officeart/2005/8/layout/radial4"/>
    <dgm:cxn modelId="{030B14C6-4B88-4861-9107-77430283C96D}" type="presOf" srcId="{02B838E7-3851-4CD4-BFA9-BA2B97EEA74D}" destId="{C44C703F-DC70-465C-94BA-75F715DE66BC}" srcOrd="0" destOrd="0" presId="urn:microsoft.com/office/officeart/2005/8/layout/radial4"/>
    <dgm:cxn modelId="{838991FE-7559-45B0-BA1C-CA6051152C0D}" type="presParOf" srcId="{8A1ECA38-CE78-453D-BE00-51B895424C98}" destId="{FBCB5094-43BF-42FD-885C-AEF6EE0EA5D0}" srcOrd="0" destOrd="0" presId="urn:microsoft.com/office/officeart/2005/8/layout/radial4"/>
    <dgm:cxn modelId="{2F33D30E-63AA-4CF4-84AA-F21006D28B1A}" type="presParOf" srcId="{8A1ECA38-CE78-453D-BE00-51B895424C98}" destId="{659FE4F2-E3E0-484E-A961-FA97BAF76E4E}" srcOrd="1" destOrd="0" presId="urn:microsoft.com/office/officeart/2005/8/layout/radial4"/>
    <dgm:cxn modelId="{79CF0FAC-F331-4BE3-9267-14884FF91BE5}" type="presParOf" srcId="{8A1ECA38-CE78-453D-BE00-51B895424C98}" destId="{86BC75B3-E8AE-4CD8-AAA1-7935A58FA57D}" srcOrd="2" destOrd="0" presId="urn:microsoft.com/office/officeart/2005/8/layout/radial4"/>
    <dgm:cxn modelId="{6BF69A04-5552-4AB4-B3C1-114A36ECD19B}" type="presParOf" srcId="{8A1ECA38-CE78-453D-BE00-51B895424C98}" destId="{C44C703F-DC70-465C-94BA-75F715DE66BC}" srcOrd="3" destOrd="0" presId="urn:microsoft.com/office/officeart/2005/8/layout/radial4"/>
    <dgm:cxn modelId="{AD4BEEAB-5E1E-4D26-AD4A-D6C76B078746}" type="presParOf" srcId="{8A1ECA38-CE78-453D-BE00-51B895424C98}" destId="{008E1C7F-ED5E-4B6E-8260-79407609227D}" srcOrd="4" destOrd="0" presId="urn:microsoft.com/office/officeart/2005/8/layout/radial4"/>
    <dgm:cxn modelId="{AA1183C3-7DA1-40F2-9C2B-3B0D20BE7375}" type="presParOf" srcId="{8A1ECA38-CE78-453D-BE00-51B895424C98}" destId="{69D4ACA7-778A-4BC9-AE42-FD98ACB7E1E4}" srcOrd="5" destOrd="0" presId="urn:microsoft.com/office/officeart/2005/8/layout/radial4"/>
    <dgm:cxn modelId="{D688C8B1-976A-45E2-9EE5-CB34EB3B44D4}" type="presParOf" srcId="{8A1ECA38-CE78-453D-BE00-51B895424C98}" destId="{FC5129FB-3A97-47D0-8BDD-BD68C1BE9D2F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CFD3B14-2DDA-4ABD-8642-A30DDD5FA610}" type="doc">
      <dgm:prSet loTypeId="urn:microsoft.com/office/officeart/2005/8/layout/hList6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77DEEBD3-6975-4194-963C-8AB178DEC095}">
      <dgm:prSet phldrT="[Text]"/>
      <dgm:spPr/>
      <dgm:t>
        <a:bodyPr/>
        <a:lstStyle/>
        <a:p>
          <a:r>
            <a:rPr lang="tr-TR" dirty="0"/>
            <a:t>UI</a:t>
          </a:r>
        </a:p>
      </dgm:t>
    </dgm:pt>
    <dgm:pt modelId="{6A927401-9036-4D00-911D-D20848033C3F}" type="parTrans" cxnId="{3311C110-4D83-4C07-AD47-ED850AF111D5}">
      <dgm:prSet/>
      <dgm:spPr/>
      <dgm:t>
        <a:bodyPr/>
        <a:lstStyle/>
        <a:p>
          <a:endParaRPr lang="tr-TR"/>
        </a:p>
      </dgm:t>
    </dgm:pt>
    <dgm:pt modelId="{ED88D276-9D8E-4CD8-9D5C-87EA815E9D9A}" type="sibTrans" cxnId="{3311C110-4D83-4C07-AD47-ED850AF111D5}">
      <dgm:prSet/>
      <dgm:spPr/>
      <dgm:t>
        <a:bodyPr/>
        <a:lstStyle/>
        <a:p>
          <a:endParaRPr lang="tr-TR"/>
        </a:p>
      </dgm:t>
    </dgm:pt>
    <dgm:pt modelId="{8F7EA42C-0B0F-4EBF-ADF0-A358C53FFE2A}">
      <dgm:prSet phldrT="[Text]"/>
      <dgm:spPr/>
      <dgm:t>
        <a:bodyPr/>
        <a:lstStyle/>
        <a:p>
          <a:r>
            <a:rPr lang="tr-TR" dirty="0"/>
            <a:t>UI</a:t>
          </a:r>
        </a:p>
      </dgm:t>
    </dgm:pt>
    <dgm:pt modelId="{48D49F31-C31A-4567-9797-58F5FFF3D03C}" type="parTrans" cxnId="{1DC85E0C-0C31-4E51-AC34-BDA856A3E38B}">
      <dgm:prSet/>
      <dgm:spPr/>
      <dgm:t>
        <a:bodyPr/>
        <a:lstStyle/>
        <a:p>
          <a:endParaRPr lang="tr-TR"/>
        </a:p>
      </dgm:t>
    </dgm:pt>
    <dgm:pt modelId="{97B46701-6CE7-436C-8A25-CFFFE951D36A}" type="sibTrans" cxnId="{1DC85E0C-0C31-4E51-AC34-BDA856A3E38B}">
      <dgm:prSet/>
      <dgm:spPr/>
      <dgm:t>
        <a:bodyPr/>
        <a:lstStyle/>
        <a:p>
          <a:endParaRPr lang="tr-TR"/>
        </a:p>
      </dgm:t>
    </dgm:pt>
    <dgm:pt modelId="{54E94E5E-7F07-488B-B10C-F8ADC2268906}" type="pres">
      <dgm:prSet presAssocID="{2CFD3B14-2DDA-4ABD-8642-A30DDD5FA610}" presName="Name0" presStyleCnt="0">
        <dgm:presLayoutVars>
          <dgm:dir/>
          <dgm:resizeHandles val="exact"/>
        </dgm:presLayoutVars>
      </dgm:prSet>
      <dgm:spPr/>
    </dgm:pt>
    <dgm:pt modelId="{7B757A22-8888-49D9-8ECC-C2A0C5640F4C}" type="pres">
      <dgm:prSet presAssocID="{77DEEBD3-6975-4194-963C-8AB178DEC095}" presName="node" presStyleLbl="node1" presStyleIdx="0" presStyleCnt="2" custLinFactX="-18795" custLinFactNeighborX="-100000">
        <dgm:presLayoutVars>
          <dgm:bulletEnabled val="1"/>
        </dgm:presLayoutVars>
      </dgm:prSet>
      <dgm:spPr/>
    </dgm:pt>
    <dgm:pt modelId="{531EC211-DEA0-4B73-8B52-001B3BBD288F}" type="pres">
      <dgm:prSet presAssocID="{ED88D276-9D8E-4CD8-9D5C-87EA815E9D9A}" presName="sibTrans" presStyleCnt="0"/>
      <dgm:spPr/>
    </dgm:pt>
    <dgm:pt modelId="{07664257-3136-41C8-85B5-248D86E03BA4}" type="pres">
      <dgm:prSet presAssocID="{8F7EA42C-0B0F-4EBF-ADF0-A358C53FFE2A}" presName="node" presStyleLbl="node1" presStyleIdx="1" presStyleCnt="2" custLinFactX="-13167" custLinFactNeighborX="-100000">
        <dgm:presLayoutVars>
          <dgm:bulletEnabled val="1"/>
        </dgm:presLayoutVars>
      </dgm:prSet>
      <dgm:spPr/>
    </dgm:pt>
  </dgm:ptLst>
  <dgm:cxnLst>
    <dgm:cxn modelId="{1DC85E0C-0C31-4E51-AC34-BDA856A3E38B}" srcId="{2CFD3B14-2DDA-4ABD-8642-A30DDD5FA610}" destId="{8F7EA42C-0B0F-4EBF-ADF0-A358C53FFE2A}" srcOrd="1" destOrd="0" parTransId="{48D49F31-C31A-4567-9797-58F5FFF3D03C}" sibTransId="{97B46701-6CE7-436C-8A25-CFFFE951D36A}"/>
    <dgm:cxn modelId="{3311C110-4D83-4C07-AD47-ED850AF111D5}" srcId="{2CFD3B14-2DDA-4ABD-8642-A30DDD5FA610}" destId="{77DEEBD3-6975-4194-963C-8AB178DEC095}" srcOrd="0" destOrd="0" parTransId="{6A927401-9036-4D00-911D-D20848033C3F}" sibTransId="{ED88D276-9D8E-4CD8-9D5C-87EA815E9D9A}"/>
    <dgm:cxn modelId="{AD957D41-62F9-40BC-8FAA-034E2F8E36F7}" type="presOf" srcId="{2CFD3B14-2DDA-4ABD-8642-A30DDD5FA610}" destId="{54E94E5E-7F07-488B-B10C-F8ADC2268906}" srcOrd="0" destOrd="0" presId="urn:microsoft.com/office/officeart/2005/8/layout/hList6"/>
    <dgm:cxn modelId="{6FD1DD8D-6819-4144-A5AC-143C004CD05E}" type="presOf" srcId="{8F7EA42C-0B0F-4EBF-ADF0-A358C53FFE2A}" destId="{07664257-3136-41C8-85B5-248D86E03BA4}" srcOrd="0" destOrd="0" presId="urn:microsoft.com/office/officeart/2005/8/layout/hList6"/>
    <dgm:cxn modelId="{9149A1AE-0278-491F-B80C-5863E43E8B14}" type="presOf" srcId="{77DEEBD3-6975-4194-963C-8AB178DEC095}" destId="{7B757A22-8888-49D9-8ECC-C2A0C5640F4C}" srcOrd="0" destOrd="0" presId="urn:microsoft.com/office/officeart/2005/8/layout/hList6"/>
    <dgm:cxn modelId="{83E0D7B5-70A9-426D-806D-F080B27D927B}" type="presParOf" srcId="{54E94E5E-7F07-488B-B10C-F8ADC2268906}" destId="{7B757A22-8888-49D9-8ECC-C2A0C5640F4C}" srcOrd="0" destOrd="0" presId="urn:microsoft.com/office/officeart/2005/8/layout/hList6"/>
    <dgm:cxn modelId="{F068A7B8-7F0E-4E6D-9C46-4A7F4FBF3F69}" type="presParOf" srcId="{54E94E5E-7F07-488B-B10C-F8ADC2268906}" destId="{531EC211-DEA0-4B73-8B52-001B3BBD288F}" srcOrd="1" destOrd="0" presId="urn:microsoft.com/office/officeart/2005/8/layout/hList6"/>
    <dgm:cxn modelId="{6899142F-15AC-48CD-BF77-1F3286164ACE}" type="presParOf" srcId="{54E94E5E-7F07-488B-B10C-F8ADC2268906}" destId="{07664257-3136-41C8-85B5-248D86E03BA4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E5A0356-BA31-40F0-965F-6726B5B1F33E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108BCECC-BDDE-4589-A877-440365022884}">
      <dgm:prSet phldrT="[Text]"/>
      <dgm:spPr/>
      <dgm:t>
        <a:bodyPr/>
        <a:lstStyle/>
        <a:p>
          <a:endParaRPr lang="tr-TR" dirty="0"/>
        </a:p>
      </dgm:t>
    </dgm:pt>
    <dgm:pt modelId="{CB80A05A-FBF7-479D-9F0C-F9C1DC460BAE}" type="parTrans" cxnId="{E6AA9B5D-8E94-42D7-913B-828EFD4AE1BB}">
      <dgm:prSet/>
      <dgm:spPr/>
      <dgm:t>
        <a:bodyPr/>
        <a:lstStyle/>
        <a:p>
          <a:endParaRPr lang="tr-TR"/>
        </a:p>
      </dgm:t>
    </dgm:pt>
    <dgm:pt modelId="{79175D77-1B13-400C-B360-A8EA3F0EFD4F}" type="sibTrans" cxnId="{E6AA9B5D-8E94-42D7-913B-828EFD4AE1BB}">
      <dgm:prSet/>
      <dgm:spPr/>
      <dgm:t>
        <a:bodyPr/>
        <a:lstStyle/>
        <a:p>
          <a:endParaRPr lang="tr-TR"/>
        </a:p>
      </dgm:t>
    </dgm:pt>
    <dgm:pt modelId="{45855342-E9DF-4171-82DA-9116B5E741C6}">
      <dgm:prSet phldrT="[Text]" custT="1"/>
      <dgm:spPr/>
      <dgm:t>
        <a:bodyPr lIns="0" tIns="0" rIns="0" bIns="0"/>
        <a:lstStyle/>
        <a:p>
          <a:r>
            <a:rPr lang="tr-TR" sz="1050" b="1" dirty="0">
              <a:solidFill>
                <a:schemeClr val="bg1"/>
              </a:solidFill>
            </a:rPr>
            <a:t>Commission Engine</a:t>
          </a:r>
        </a:p>
      </dgm:t>
    </dgm:pt>
    <dgm:pt modelId="{F5493D5F-7F80-4C05-AF3C-BF7F8E42D30D}" type="parTrans" cxnId="{FA8E92DD-5CD8-4581-94F8-57786585B15A}">
      <dgm:prSet/>
      <dgm:spPr/>
      <dgm:t>
        <a:bodyPr/>
        <a:lstStyle/>
        <a:p>
          <a:endParaRPr lang="tr-TR"/>
        </a:p>
      </dgm:t>
    </dgm:pt>
    <dgm:pt modelId="{7F1827F7-9EA3-4C10-8963-145F466FA930}" type="sibTrans" cxnId="{FA8E92DD-5CD8-4581-94F8-57786585B15A}">
      <dgm:prSet/>
      <dgm:spPr/>
      <dgm:t>
        <a:bodyPr/>
        <a:lstStyle/>
        <a:p>
          <a:endParaRPr lang="tr-TR"/>
        </a:p>
      </dgm:t>
    </dgm:pt>
    <dgm:pt modelId="{2A6AF7FB-5886-4C8F-AE97-7A2C12D3A236}">
      <dgm:prSet phldrT="[Text]" custT="1"/>
      <dgm:spPr/>
      <dgm:t>
        <a:bodyPr/>
        <a:lstStyle/>
        <a:p>
          <a:r>
            <a:rPr lang="tr-TR" sz="1050" b="1" dirty="0">
              <a:solidFill>
                <a:schemeClr val="bg1"/>
              </a:solidFill>
            </a:rPr>
            <a:t>Accountin</a:t>
          </a:r>
          <a:r>
            <a:rPr lang="en-US" sz="1050" b="1" dirty="0">
              <a:solidFill>
                <a:schemeClr val="bg1"/>
              </a:solidFill>
            </a:rPr>
            <a:t>g </a:t>
          </a:r>
          <a:r>
            <a:rPr lang="tr-TR" sz="1050" b="1" dirty="0">
              <a:solidFill>
                <a:schemeClr val="bg1"/>
              </a:solidFill>
            </a:rPr>
            <a:t>Engine</a:t>
          </a:r>
        </a:p>
      </dgm:t>
    </dgm:pt>
    <dgm:pt modelId="{4EAA01F9-9B9A-4980-9DB0-BFBC95205931}" type="parTrans" cxnId="{9E9EFDED-25EE-41B6-BF5B-2B1A42F1A52D}">
      <dgm:prSet/>
      <dgm:spPr/>
      <dgm:t>
        <a:bodyPr/>
        <a:lstStyle/>
        <a:p>
          <a:endParaRPr lang="tr-TR"/>
        </a:p>
      </dgm:t>
    </dgm:pt>
    <dgm:pt modelId="{093B60B4-1F9C-4005-9B92-2EB937D12545}" type="sibTrans" cxnId="{9E9EFDED-25EE-41B6-BF5B-2B1A42F1A52D}">
      <dgm:prSet/>
      <dgm:spPr/>
      <dgm:t>
        <a:bodyPr/>
        <a:lstStyle/>
        <a:p>
          <a:endParaRPr lang="tr-TR"/>
        </a:p>
      </dgm:t>
    </dgm:pt>
    <dgm:pt modelId="{C896EF8A-5CED-4E9F-B6B3-8E3689D702EC}">
      <dgm:prSet phldrT="[Text]" custT="1"/>
      <dgm:spPr/>
      <dgm:t>
        <a:bodyPr/>
        <a:lstStyle/>
        <a:p>
          <a:r>
            <a:rPr lang="en-US" sz="1050" b="1" dirty="0">
              <a:solidFill>
                <a:schemeClr val="bg1"/>
              </a:solidFill>
            </a:rPr>
            <a:t>Slip Engine</a:t>
          </a:r>
          <a:endParaRPr lang="tr-TR" sz="1050" b="1" dirty="0">
            <a:solidFill>
              <a:schemeClr val="bg1"/>
            </a:solidFill>
          </a:endParaRPr>
        </a:p>
      </dgm:t>
    </dgm:pt>
    <dgm:pt modelId="{9E10397D-65B8-4F7E-9E94-A0BBE4B3A7C2}" type="parTrans" cxnId="{3C575DF8-0549-4BBC-8B61-98941C444706}">
      <dgm:prSet/>
      <dgm:spPr/>
      <dgm:t>
        <a:bodyPr/>
        <a:lstStyle/>
        <a:p>
          <a:endParaRPr lang="tr-TR"/>
        </a:p>
      </dgm:t>
    </dgm:pt>
    <dgm:pt modelId="{1A78D1EB-69CE-43CD-8520-B0C42FDE8EE4}" type="sibTrans" cxnId="{3C575DF8-0549-4BBC-8B61-98941C444706}">
      <dgm:prSet/>
      <dgm:spPr/>
      <dgm:t>
        <a:bodyPr/>
        <a:lstStyle/>
        <a:p>
          <a:endParaRPr lang="tr-TR"/>
        </a:p>
      </dgm:t>
    </dgm:pt>
    <dgm:pt modelId="{8F61D726-213A-41C1-ADF9-E076C8A5FFA3}">
      <dgm:prSet phldrT="[Text]" custT="1"/>
      <dgm:spPr/>
      <dgm:t>
        <a:bodyPr/>
        <a:lstStyle/>
        <a:p>
          <a:r>
            <a:rPr lang="tr-TR" sz="1050" b="1" dirty="0">
              <a:solidFill>
                <a:schemeClr val="bg1"/>
              </a:solidFill>
            </a:rPr>
            <a:t>Transaction Cancellation Engine</a:t>
          </a:r>
        </a:p>
      </dgm:t>
    </dgm:pt>
    <dgm:pt modelId="{851A5862-693C-4B78-8179-2CC7412EEF3F}" type="parTrans" cxnId="{4C9942C0-FF51-499F-A69F-F806F3DA1F61}">
      <dgm:prSet/>
      <dgm:spPr/>
      <dgm:t>
        <a:bodyPr/>
        <a:lstStyle/>
        <a:p>
          <a:endParaRPr lang="tr-TR"/>
        </a:p>
      </dgm:t>
    </dgm:pt>
    <dgm:pt modelId="{D0130757-DEF9-4AE3-9C43-B0CD5784B615}" type="sibTrans" cxnId="{4C9942C0-FF51-499F-A69F-F806F3DA1F61}">
      <dgm:prSet/>
      <dgm:spPr/>
      <dgm:t>
        <a:bodyPr/>
        <a:lstStyle/>
        <a:p>
          <a:endParaRPr lang="tr-TR"/>
        </a:p>
      </dgm:t>
    </dgm:pt>
    <dgm:pt modelId="{CECE2845-4B66-4331-B4A2-2C8A519140E6}">
      <dgm:prSet phldrT="[Text]" custT="1"/>
      <dgm:spPr/>
      <dgm:t>
        <a:bodyPr/>
        <a:lstStyle/>
        <a:p>
          <a:r>
            <a:rPr lang="tr-TR" sz="1050" b="1" dirty="0">
              <a:solidFill>
                <a:schemeClr val="bg1"/>
              </a:solidFill>
            </a:rPr>
            <a:t>Account Exception Engine</a:t>
          </a:r>
        </a:p>
      </dgm:t>
    </dgm:pt>
    <dgm:pt modelId="{759CDFEB-3919-4634-9B68-FE5C8637CFE5}" type="parTrans" cxnId="{C8031DA3-F925-4821-A630-98F5AF285D8A}">
      <dgm:prSet/>
      <dgm:spPr/>
      <dgm:t>
        <a:bodyPr/>
        <a:lstStyle/>
        <a:p>
          <a:endParaRPr lang="tr-TR"/>
        </a:p>
      </dgm:t>
    </dgm:pt>
    <dgm:pt modelId="{0C1DA966-3635-4770-8121-BE0B1C65010B}" type="sibTrans" cxnId="{C8031DA3-F925-4821-A630-98F5AF285D8A}">
      <dgm:prSet/>
      <dgm:spPr/>
      <dgm:t>
        <a:bodyPr/>
        <a:lstStyle/>
        <a:p>
          <a:endParaRPr lang="tr-TR"/>
        </a:p>
      </dgm:t>
    </dgm:pt>
    <dgm:pt modelId="{0616B69D-529C-4BEC-8F21-76967F0C6173}">
      <dgm:prSet phldrT="[Text]" custT="1"/>
      <dgm:spPr/>
      <dgm:t>
        <a:bodyPr/>
        <a:lstStyle/>
        <a:p>
          <a:r>
            <a:rPr lang="tr-TR" sz="1050" b="1" dirty="0">
              <a:solidFill>
                <a:schemeClr val="bg1"/>
              </a:solidFill>
            </a:rPr>
            <a:t>Workflow Engine</a:t>
          </a:r>
        </a:p>
      </dgm:t>
    </dgm:pt>
    <dgm:pt modelId="{5AE81558-928C-4632-91ED-CC1DC93429B9}" type="parTrans" cxnId="{CC405B0B-6C21-4B20-8CE9-382B58747FE4}">
      <dgm:prSet/>
      <dgm:spPr/>
      <dgm:t>
        <a:bodyPr/>
        <a:lstStyle/>
        <a:p>
          <a:endParaRPr lang="tr-TR"/>
        </a:p>
      </dgm:t>
    </dgm:pt>
    <dgm:pt modelId="{B343BB60-A440-40BC-84CD-FF01F1E444C4}" type="sibTrans" cxnId="{CC405B0B-6C21-4B20-8CE9-382B58747FE4}">
      <dgm:prSet/>
      <dgm:spPr/>
      <dgm:t>
        <a:bodyPr/>
        <a:lstStyle/>
        <a:p>
          <a:endParaRPr lang="tr-TR"/>
        </a:p>
      </dgm:t>
    </dgm:pt>
    <dgm:pt modelId="{74A5CB84-8282-4170-9389-F927A9CFB1C4}">
      <dgm:prSet phldrT="[Text]" custT="1"/>
      <dgm:spPr/>
      <dgm:t>
        <a:bodyPr lIns="0" tIns="0" rIns="0" bIns="0"/>
        <a:lstStyle/>
        <a:p>
          <a:r>
            <a:rPr lang="tr-TR" sz="1050" b="1">
              <a:solidFill>
                <a:schemeClr val="bg1"/>
              </a:solidFill>
            </a:rPr>
            <a:t>Banknote Engine</a:t>
          </a:r>
          <a:endParaRPr lang="tr-TR" sz="1050" b="1" dirty="0">
            <a:solidFill>
              <a:schemeClr val="bg1"/>
            </a:solidFill>
          </a:endParaRPr>
        </a:p>
      </dgm:t>
    </dgm:pt>
    <dgm:pt modelId="{96AA64A9-0EF4-48A0-ABB9-F922F7582E66}" type="parTrans" cxnId="{7FE54157-1DCC-4C0E-BA0D-E793E1960BC3}">
      <dgm:prSet/>
      <dgm:spPr/>
      <dgm:t>
        <a:bodyPr/>
        <a:lstStyle/>
        <a:p>
          <a:endParaRPr lang="tr-TR"/>
        </a:p>
      </dgm:t>
    </dgm:pt>
    <dgm:pt modelId="{593D1BA2-A57E-40EB-A472-E46ADE84F91E}" type="sibTrans" cxnId="{7FE54157-1DCC-4C0E-BA0D-E793E1960BC3}">
      <dgm:prSet/>
      <dgm:spPr/>
      <dgm:t>
        <a:bodyPr/>
        <a:lstStyle/>
        <a:p>
          <a:endParaRPr lang="tr-TR"/>
        </a:p>
      </dgm:t>
    </dgm:pt>
    <dgm:pt modelId="{3C65C847-6F9C-4329-89E1-E1C5AF21EC86}">
      <dgm:prSet phldrT="[Text]" custT="1"/>
      <dgm:spPr/>
      <dgm:t>
        <a:bodyPr lIns="0" tIns="0" rIns="0" bIns="0"/>
        <a:lstStyle/>
        <a:p>
          <a:r>
            <a:rPr lang="tr-TR" sz="1050" b="1" dirty="0">
              <a:solidFill>
                <a:schemeClr val="bg1"/>
              </a:solidFill>
            </a:rPr>
            <a:t>Authorization Engine</a:t>
          </a:r>
        </a:p>
      </dgm:t>
    </dgm:pt>
    <dgm:pt modelId="{BE4D4C3E-73ED-4454-B422-65A7CE8F30A7}" type="parTrans" cxnId="{FEC7005B-76C3-48BF-B5EB-62575FEFE77C}">
      <dgm:prSet/>
      <dgm:spPr/>
      <dgm:t>
        <a:bodyPr/>
        <a:lstStyle/>
        <a:p>
          <a:endParaRPr lang="tr-TR"/>
        </a:p>
      </dgm:t>
    </dgm:pt>
    <dgm:pt modelId="{2A78214A-433B-4E7D-AA32-D01EDD3E7F40}" type="sibTrans" cxnId="{FEC7005B-76C3-48BF-B5EB-62575FEFE77C}">
      <dgm:prSet/>
      <dgm:spPr/>
      <dgm:t>
        <a:bodyPr/>
        <a:lstStyle/>
        <a:p>
          <a:endParaRPr lang="tr-TR"/>
        </a:p>
      </dgm:t>
    </dgm:pt>
    <dgm:pt modelId="{BE2690E4-5F31-4E0B-888B-684D9FBF1758}">
      <dgm:prSet phldrT="[Text]" custT="1"/>
      <dgm:spPr/>
      <dgm:t>
        <a:bodyPr/>
        <a:lstStyle/>
        <a:p>
          <a:r>
            <a:rPr lang="tr-TR" sz="1050" b="1" dirty="0">
              <a:solidFill>
                <a:schemeClr val="bg1"/>
              </a:solidFill>
            </a:rPr>
            <a:t>Information Engine</a:t>
          </a:r>
        </a:p>
      </dgm:t>
    </dgm:pt>
    <dgm:pt modelId="{5731E154-9047-4D2F-A9B8-757E7837C616}" type="parTrans" cxnId="{9380A2C7-037C-4DEB-A43A-7BCE5F50A10B}">
      <dgm:prSet/>
      <dgm:spPr/>
      <dgm:t>
        <a:bodyPr/>
        <a:lstStyle/>
        <a:p>
          <a:endParaRPr lang="tr-TR"/>
        </a:p>
      </dgm:t>
    </dgm:pt>
    <dgm:pt modelId="{501375F2-90E1-40A9-A699-2CD8C9292494}" type="sibTrans" cxnId="{9380A2C7-037C-4DEB-A43A-7BCE5F50A10B}">
      <dgm:prSet/>
      <dgm:spPr/>
      <dgm:t>
        <a:bodyPr/>
        <a:lstStyle/>
        <a:p>
          <a:endParaRPr lang="tr-TR"/>
        </a:p>
      </dgm:t>
    </dgm:pt>
    <dgm:pt modelId="{61CA5B36-49BC-44E3-8950-B2FD3D96CA87}">
      <dgm:prSet custT="1"/>
      <dgm:spPr/>
      <dgm:t>
        <a:bodyPr/>
        <a:lstStyle/>
        <a:p>
          <a:r>
            <a:rPr lang="en-US" sz="1050" b="1" dirty="0">
              <a:solidFill>
                <a:schemeClr val="bg1"/>
              </a:solidFill>
            </a:rPr>
            <a:t>Rule Engine</a:t>
          </a:r>
        </a:p>
      </dgm:t>
    </dgm:pt>
    <dgm:pt modelId="{6235AD5D-2E43-402D-BD7A-0E3817FC11E8}" type="parTrans" cxnId="{193B37FD-B935-4C2B-B6C3-30D386DFF099}">
      <dgm:prSet/>
      <dgm:spPr/>
      <dgm:t>
        <a:bodyPr/>
        <a:lstStyle/>
        <a:p>
          <a:endParaRPr lang="en-US"/>
        </a:p>
      </dgm:t>
    </dgm:pt>
    <dgm:pt modelId="{1FA7627C-64DD-47DB-A646-3EB164ED8473}" type="sibTrans" cxnId="{193B37FD-B935-4C2B-B6C3-30D386DFF099}">
      <dgm:prSet/>
      <dgm:spPr/>
      <dgm:t>
        <a:bodyPr/>
        <a:lstStyle/>
        <a:p>
          <a:endParaRPr lang="en-US"/>
        </a:p>
      </dgm:t>
    </dgm:pt>
    <dgm:pt modelId="{E7E04146-F576-4289-8072-13AE041FE072}" type="pres">
      <dgm:prSet presAssocID="{3E5A0356-BA31-40F0-965F-6726B5B1F33E}" presName="composite" presStyleCnt="0">
        <dgm:presLayoutVars>
          <dgm:chMax val="1"/>
          <dgm:dir/>
          <dgm:resizeHandles val="exact"/>
        </dgm:presLayoutVars>
      </dgm:prSet>
      <dgm:spPr/>
    </dgm:pt>
    <dgm:pt modelId="{28948006-339B-4652-BACB-58B3822CBC6B}" type="pres">
      <dgm:prSet presAssocID="{3E5A0356-BA31-40F0-965F-6726B5B1F33E}" presName="radial" presStyleCnt="0">
        <dgm:presLayoutVars>
          <dgm:animLvl val="ctr"/>
        </dgm:presLayoutVars>
      </dgm:prSet>
      <dgm:spPr/>
    </dgm:pt>
    <dgm:pt modelId="{7DAE74D5-4D3D-4038-A901-33C1A8383092}" type="pres">
      <dgm:prSet presAssocID="{108BCECC-BDDE-4589-A877-440365022884}" presName="centerShape" presStyleLbl="vennNode1" presStyleIdx="0" presStyleCnt="11"/>
      <dgm:spPr/>
    </dgm:pt>
    <dgm:pt modelId="{D7655F7E-B5B5-450B-926F-D81D327CD2F9}" type="pres">
      <dgm:prSet presAssocID="{45855342-E9DF-4171-82DA-9116B5E741C6}" presName="node" presStyleLbl="vennNode1" presStyleIdx="1" presStyleCnt="11" custScaleX="74015" custScaleY="68536">
        <dgm:presLayoutVars>
          <dgm:bulletEnabled val="1"/>
        </dgm:presLayoutVars>
      </dgm:prSet>
      <dgm:spPr/>
    </dgm:pt>
    <dgm:pt modelId="{837FEC2C-9695-4D00-8579-4A3A4010B062}" type="pres">
      <dgm:prSet presAssocID="{CECE2845-4B66-4331-B4A2-2C8A519140E6}" presName="node" presStyleLbl="vennNode1" presStyleIdx="2" presStyleCnt="11" custScaleX="74015" custScaleY="68536">
        <dgm:presLayoutVars>
          <dgm:bulletEnabled val="1"/>
        </dgm:presLayoutVars>
      </dgm:prSet>
      <dgm:spPr/>
    </dgm:pt>
    <dgm:pt modelId="{D573D317-8010-4F19-A99C-CDDBB8675A12}" type="pres">
      <dgm:prSet presAssocID="{74A5CB84-8282-4170-9389-F927A9CFB1C4}" presName="node" presStyleLbl="vennNode1" presStyleIdx="3" presStyleCnt="11" custScaleX="74015" custScaleY="68536">
        <dgm:presLayoutVars>
          <dgm:bulletEnabled val="1"/>
        </dgm:presLayoutVars>
      </dgm:prSet>
      <dgm:spPr/>
    </dgm:pt>
    <dgm:pt modelId="{6605A151-0D99-4ED2-BF2D-D44E0E9B0F6B}" type="pres">
      <dgm:prSet presAssocID="{61CA5B36-49BC-44E3-8950-B2FD3D96CA87}" presName="node" presStyleLbl="vennNode1" presStyleIdx="4" presStyleCnt="11" custScaleX="77161" custScaleY="67523">
        <dgm:presLayoutVars>
          <dgm:bulletEnabled val="1"/>
        </dgm:presLayoutVars>
      </dgm:prSet>
      <dgm:spPr/>
    </dgm:pt>
    <dgm:pt modelId="{0D6547C8-739B-48F0-A766-494505971A75}" type="pres">
      <dgm:prSet presAssocID="{2A6AF7FB-5886-4C8F-AE97-7A2C12D3A236}" presName="node" presStyleLbl="vennNode1" presStyleIdx="5" presStyleCnt="11" custScaleX="74015" custScaleY="68536" custRadScaleRad="99333" custRadScaleInc="-859">
        <dgm:presLayoutVars>
          <dgm:bulletEnabled val="1"/>
        </dgm:presLayoutVars>
      </dgm:prSet>
      <dgm:spPr/>
    </dgm:pt>
    <dgm:pt modelId="{C2A7C15D-F429-46B9-8DB3-4A9FDF6BFC37}" type="pres">
      <dgm:prSet presAssocID="{3C65C847-6F9C-4329-89E1-E1C5AF21EC86}" presName="node" presStyleLbl="vennNode1" presStyleIdx="6" presStyleCnt="11" custScaleX="74015" custScaleY="68536">
        <dgm:presLayoutVars>
          <dgm:bulletEnabled val="1"/>
        </dgm:presLayoutVars>
      </dgm:prSet>
      <dgm:spPr/>
    </dgm:pt>
    <dgm:pt modelId="{041814EC-A393-4119-A937-1793A10488CE}" type="pres">
      <dgm:prSet presAssocID="{0616B69D-529C-4BEC-8F21-76967F0C6173}" presName="node" presStyleLbl="vennNode1" presStyleIdx="7" presStyleCnt="11" custScaleX="74015" custScaleY="68536">
        <dgm:presLayoutVars>
          <dgm:bulletEnabled val="1"/>
        </dgm:presLayoutVars>
      </dgm:prSet>
      <dgm:spPr/>
    </dgm:pt>
    <dgm:pt modelId="{05E90352-636D-4AB3-B243-8EB045E82D85}" type="pres">
      <dgm:prSet presAssocID="{BE2690E4-5F31-4E0B-888B-684D9FBF1758}" presName="node" presStyleLbl="vennNode1" presStyleIdx="8" presStyleCnt="11" custScaleX="74015" custScaleY="68536">
        <dgm:presLayoutVars>
          <dgm:bulletEnabled val="1"/>
        </dgm:presLayoutVars>
      </dgm:prSet>
      <dgm:spPr/>
    </dgm:pt>
    <dgm:pt modelId="{5C02EF1C-F48B-479B-89C2-54A3F2C1A430}" type="pres">
      <dgm:prSet presAssocID="{8F61D726-213A-41C1-ADF9-E076C8A5FFA3}" presName="node" presStyleLbl="vennNode1" presStyleIdx="9" presStyleCnt="11" custScaleX="74015" custScaleY="68536">
        <dgm:presLayoutVars>
          <dgm:bulletEnabled val="1"/>
        </dgm:presLayoutVars>
      </dgm:prSet>
      <dgm:spPr/>
    </dgm:pt>
    <dgm:pt modelId="{68F0B4E7-E601-4CC2-9DE3-7421BD9ADAC2}" type="pres">
      <dgm:prSet presAssocID="{C896EF8A-5CED-4E9F-B6B3-8E3689D702EC}" presName="node" presStyleLbl="vennNode1" presStyleIdx="10" presStyleCnt="11" custScaleX="74015" custScaleY="68536">
        <dgm:presLayoutVars>
          <dgm:bulletEnabled val="1"/>
        </dgm:presLayoutVars>
      </dgm:prSet>
      <dgm:spPr/>
    </dgm:pt>
  </dgm:ptLst>
  <dgm:cxnLst>
    <dgm:cxn modelId="{CC405B0B-6C21-4B20-8CE9-382B58747FE4}" srcId="{108BCECC-BDDE-4589-A877-440365022884}" destId="{0616B69D-529C-4BEC-8F21-76967F0C6173}" srcOrd="6" destOrd="0" parTransId="{5AE81558-928C-4632-91ED-CC1DC93429B9}" sibTransId="{B343BB60-A440-40BC-84CD-FF01F1E444C4}"/>
    <dgm:cxn modelId="{2F88211C-3A38-4F86-A51E-61C1690D6A44}" type="presOf" srcId="{45855342-E9DF-4171-82DA-9116B5E741C6}" destId="{D7655F7E-B5B5-450B-926F-D81D327CD2F9}" srcOrd="0" destOrd="0" presId="urn:microsoft.com/office/officeart/2005/8/layout/radial3"/>
    <dgm:cxn modelId="{383F831E-89C5-463D-A5E1-97BCB8758F09}" type="presOf" srcId="{8F61D726-213A-41C1-ADF9-E076C8A5FFA3}" destId="{5C02EF1C-F48B-479B-89C2-54A3F2C1A430}" srcOrd="0" destOrd="0" presId="urn:microsoft.com/office/officeart/2005/8/layout/radial3"/>
    <dgm:cxn modelId="{FF550333-D8F6-40AE-BFEA-F7D55E59DAE3}" type="presOf" srcId="{61CA5B36-49BC-44E3-8950-B2FD3D96CA87}" destId="{6605A151-0D99-4ED2-BF2D-D44E0E9B0F6B}" srcOrd="0" destOrd="0" presId="urn:microsoft.com/office/officeart/2005/8/layout/radial3"/>
    <dgm:cxn modelId="{73DFB33B-9CD9-4326-A40B-DFF5345306B9}" type="presOf" srcId="{108BCECC-BDDE-4589-A877-440365022884}" destId="{7DAE74D5-4D3D-4038-A901-33C1A8383092}" srcOrd="0" destOrd="0" presId="urn:microsoft.com/office/officeart/2005/8/layout/radial3"/>
    <dgm:cxn modelId="{FEC7005B-76C3-48BF-B5EB-62575FEFE77C}" srcId="{108BCECC-BDDE-4589-A877-440365022884}" destId="{3C65C847-6F9C-4329-89E1-E1C5AF21EC86}" srcOrd="5" destOrd="0" parTransId="{BE4D4C3E-73ED-4454-B422-65A7CE8F30A7}" sibTransId="{2A78214A-433B-4E7D-AA32-D01EDD3E7F40}"/>
    <dgm:cxn modelId="{E6AA9B5D-8E94-42D7-913B-828EFD4AE1BB}" srcId="{3E5A0356-BA31-40F0-965F-6726B5B1F33E}" destId="{108BCECC-BDDE-4589-A877-440365022884}" srcOrd="0" destOrd="0" parTransId="{CB80A05A-FBF7-479D-9F0C-F9C1DC460BAE}" sibTransId="{79175D77-1B13-400C-B360-A8EA3F0EFD4F}"/>
    <dgm:cxn modelId="{862D534D-95FC-45C3-9679-58164F41CDED}" type="presOf" srcId="{3C65C847-6F9C-4329-89E1-E1C5AF21EC86}" destId="{C2A7C15D-F429-46B9-8DB3-4A9FDF6BFC37}" srcOrd="0" destOrd="0" presId="urn:microsoft.com/office/officeart/2005/8/layout/radial3"/>
    <dgm:cxn modelId="{C17D0F55-237D-4414-B17D-83AA02DAB281}" type="presOf" srcId="{74A5CB84-8282-4170-9389-F927A9CFB1C4}" destId="{D573D317-8010-4F19-A99C-CDDBB8675A12}" srcOrd="0" destOrd="0" presId="urn:microsoft.com/office/officeart/2005/8/layout/radial3"/>
    <dgm:cxn modelId="{3B8CD255-A658-4AA6-8603-A6C83D6CB1E6}" type="presOf" srcId="{2A6AF7FB-5886-4C8F-AE97-7A2C12D3A236}" destId="{0D6547C8-739B-48F0-A766-494505971A75}" srcOrd="0" destOrd="0" presId="urn:microsoft.com/office/officeart/2005/8/layout/radial3"/>
    <dgm:cxn modelId="{7FE54157-1DCC-4C0E-BA0D-E793E1960BC3}" srcId="{108BCECC-BDDE-4589-A877-440365022884}" destId="{74A5CB84-8282-4170-9389-F927A9CFB1C4}" srcOrd="2" destOrd="0" parTransId="{96AA64A9-0EF4-48A0-ABB9-F922F7582E66}" sibTransId="{593D1BA2-A57E-40EB-A472-E46ADE84F91E}"/>
    <dgm:cxn modelId="{5CC3AA88-13D7-402B-AAFF-F2E83949FA58}" type="presOf" srcId="{CECE2845-4B66-4331-B4A2-2C8A519140E6}" destId="{837FEC2C-9695-4D00-8579-4A3A4010B062}" srcOrd="0" destOrd="0" presId="urn:microsoft.com/office/officeart/2005/8/layout/radial3"/>
    <dgm:cxn modelId="{9CAC3E9F-211D-4708-80B2-60F6BE0E7E0E}" type="presOf" srcId="{C896EF8A-5CED-4E9F-B6B3-8E3689D702EC}" destId="{68F0B4E7-E601-4CC2-9DE3-7421BD9ADAC2}" srcOrd="0" destOrd="0" presId="urn:microsoft.com/office/officeart/2005/8/layout/radial3"/>
    <dgm:cxn modelId="{C8031DA3-F925-4821-A630-98F5AF285D8A}" srcId="{108BCECC-BDDE-4589-A877-440365022884}" destId="{CECE2845-4B66-4331-B4A2-2C8A519140E6}" srcOrd="1" destOrd="0" parTransId="{759CDFEB-3919-4634-9B68-FE5C8637CFE5}" sibTransId="{0C1DA966-3635-4770-8121-BE0B1C65010B}"/>
    <dgm:cxn modelId="{AB7721BE-5B1D-45D4-86F6-DF1C2461D934}" type="presOf" srcId="{3E5A0356-BA31-40F0-965F-6726B5B1F33E}" destId="{E7E04146-F576-4289-8072-13AE041FE072}" srcOrd="0" destOrd="0" presId="urn:microsoft.com/office/officeart/2005/8/layout/radial3"/>
    <dgm:cxn modelId="{4C9942C0-FF51-499F-A69F-F806F3DA1F61}" srcId="{108BCECC-BDDE-4589-A877-440365022884}" destId="{8F61D726-213A-41C1-ADF9-E076C8A5FFA3}" srcOrd="8" destOrd="0" parTransId="{851A5862-693C-4B78-8179-2CC7412EEF3F}" sibTransId="{D0130757-DEF9-4AE3-9C43-B0CD5784B615}"/>
    <dgm:cxn modelId="{9380A2C7-037C-4DEB-A43A-7BCE5F50A10B}" srcId="{108BCECC-BDDE-4589-A877-440365022884}" destId="{BE2690E4-5F31-4E0B-888B-684D9FBF1758}" srcOrd="7" destOrd="0" parTransId="{5731E154-9047-4D2F-A9B8-757E7837C616}" sibTransId="{501375F2-90E1-40A9-A699-2CD8C9292494}"/>
    <dgm:cxn modelId="{FA8E92DD-5CD8-4581-94F8-57786585B15A}" srcId="{108BCECC-BDDE-4589-A877-440365022884}" destId="{45855342-E9DF-4171-82DA-9116B5E741C6}" srcOrd="0" destOrd="0" parTransId="{F5493D5F-7F80-4C05-AF3C-BF7F8E42D30D}" sibTransId="{7F1827F7-9EA3-4C10-8963-145F466FA930}"/>
    <dgm:cxn modelId="{5911EBED-5D23-414D-8EDA-74DCD718BB25}" type="presOf" srcId="{BE2690E4-5F31-4E0B-888B-684D9FBF1758}" destId="{05E90352-636D-4AB3-B243-8EB045E82D85}" srcOrd="0" destOrd="0" presId="urn:microsoft.com/office/officeart/2005/8/layout/radial3"/>
    <dgm:cxn modelId="{9E9EFDED-25EE-41B6-BF5B-2B1A42F1A52D}" srcId="{108BCECC-BDDE-4589-A877-440365022884}" destId="{2A6AF7FB-5886-4C8F-AE97-7A2C12D3A236}" srcOrd="4" destOrd="0" parTransId="{4EAA01F9-9B9A-4980-9DB0-BFBC95205931}" sibTransId="{093B60B4-1F9C-4005-9B92-2EB937D12545}"/>
    <dgm:cxn modelId="{6FFA2FF4-398A-4404-841D-2B7F21E55EC5}" type="presOf" srcId="{0616B69D-529C-4BEC-8F21-76967F0C6173}" destId="{041814EC-A393-4119-A937-1793A10488CE}" srcOrd="0" destOrd="0" presId="urn:microsoft.com/office/officeart/2005/8/layout/radial3"/>
    <dgm:cxn modelId="{3C575DF8-0549-4BBC-8B61-98941C444706}" srcId="{108BCECC-BDDE-4589-A877-440365022884}" destId="{C896EF8A-5CED-4E9F-B6B3-8E3689D702EC}" srcOrd="9" destOrd="0" parTransId="{9E10397D-65B8-4F7E-9E94-A0BBE4B3A7C2}" sibTransId="{1A78D1EB-69CE-43CD-8520-B0C42FDE8EE4}"/>
    <dgm:cxn modelId="{193B37FD-B935-4C2B-B6C3-30D386DFF099}" srcId="{108BCECC-BDDE-4589-A877-440365022884}" destId="{61CA5B36-49BC-44E3-8950-B2FD3D96CA87}" srcOrd="3" destOrd="0" parTransId="{6235AD5D-2E43-402D-BD7A-0E3817FC11E8}" sibTransId="{1FA7627C-64DD-47DB-A646-3EB164ED8473}"/>
    <dgm:cxn modelId="{87E0D0C1-3764-46CF-A191-449B3F9C7AD0}" type="presParOf" srcId="{E7E04146-F576-4289-8072-13AE041FE072}" destId="{28948006-339B-4652-BACB-58B3822CBC6B}" srcOrd="0" destOrd="0" presId="urn:microsoft.com/office/officeart/2005/8/layout/radial3"/>
    <dgm:cxn modelId="{F44E1360-9DA3-4421-9A0E-B56C129931A3}" type="presParOf" srcId="{28948006-339B-4652-BACB-58B3822CBC6B}" destId="{7DAE74D5-4D3D-4038-A901-33C1A8383092}" srcOrd="0" destOrd="0" presId="urn:microsoft.com/office/officeart/2005/8/layout/radial3"/>
    <dgm:cxn modelId="{5F45A085-B12A-411F-8BA4-D87B789BE985}" type="presParOf" srcId="{28948006-339B-4652-BACB-58B3822CBC6B}" destId="{D7655F7E-B5B5-450B-926F-D81D327CD2F9}" srcOrd="1" destOrd="0" presId="urn:microsoft.com/office/officeart/2005/8/layout/radial3"/>
    <dgm:cxn modelId="{A2351B0F-ADDE-45F4-8637-FC16A113404F}" type="presParOf" srcId="{28948006-339B-4652-BACB-58B3822CBC6B}" destId="{837FEC2C-9695-4D00-8579-4A3A4010B062}" srcOrd="2" destOrd="0" presId="urn:microsoft.com/office/officeart/2005/8/layout/radial3"/>
    <dgm:cxn modelId="{61F39339-981F-4F5E-86F7-BC944A849387}" type="presParOf" srcId="{28948006-339B-4652-BACB-58B3822CBC6B}" destId="{D573D317-8010-4F19-A99C-CDDBB8675A12}" srcOrd="3" destOrd="0" presId="urn:microsoft.com/office/officeart/2005/8/layout/radial3"/>
    <dgm:cxn modelId="{9C56FA12-5B02-4253-B757-F69D5BAAF20E}" type="presParOf" srcId="{28948006-339B-4652-BACB-58B3822CBC6B}" destId="{6605A151-0D99-4ED2-BF2D-D44E0E9B0F6B}" srcOrd="4" destOrd="0" presId="urn:microsoft.com/office/officeart/2005/8/layout/radial3"/>
    <dgm:cxn modelId="{BF55523D-7F5E-4858-88D8-B092DF6EE7EC}" type="presParOf" srcId="{28948006-339B-4652-BACB-58B3822CBC6B}" destId="{0D6547C8-739B-48F0-A766-494505971A75}" srcOrd="5" destOrd="0" presId="urn:microsoft.com/office/officeart/2005/8/layout/radial3"/>
    <dgm:cxn modelId="{970E7157-366B-4D16-BF54-9B8B3F9BF878}" type="presParOf" srcId="{28948006-339B-4652-BACB-58B3822CBC6B}" destId="{C2A7C15D-F429-46B9-8DB3-4A9FDF6BFC37}" srcOrd="6" destOrd="0" presId="urn:microsoft.com/office/officeart/2005/8/layout/radial3"/>
    <dgm:cxn modelId="{2C3D4301-24AC-46EF-826B-2B755E3229DB}" type="presParOf" srcId="{28948006-339B-4652-BACB-58B3822CBC6B}" destId="{041814EC-A393-4119-A937-1793A10488CE}" srcOrd="7" destOrd="0" presId="urn:microsoft.com/office/officeart/2005/8/layout/radial3"/>
    <dgm:cxn modelId="{E6F97899-34B5-4A7E-8AF7-C073F669FFBF}" type="presParOf" srcId="{28948006-339B-4652-BACB-58B3822CBC6B}" destId="{05E90352-636D-4AB3-B243-8EB045E82D85}" srcOrd="8" destOrd="0" presId="urn:microsoft.com/office/officeart/2005/8/layout/radial3"/>
    <dgm:cxn modelId="{CB30FA80-7469-46BC-AAFD-D0951387DDCF}" type="presParOf" srcId="{28948006-339B-4652-BACB-58B3822CBC6B}" destId="{5C02EF1C-F48B-479B-89C2-54A3F2C1A430}" srcOrd="9" destOrd="0" presId="urn:microsoft.com/office/officeart/2005/8/layout/radial3"/>
    <dgm:cxn modelId="{15262AE5-2E5A-4C0C-8AF5-7F326DB041AF}" type="presParOf" srcId="{28948006-339B-4652-BACB-58B3822CBC6B}" destId="{68F0B4E7-E601-4CC2-9DE3-7421BD9ADAC2}" srcOrd="10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1D0FC11-7A52-4D7F-8D09-18B695CCE54C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105164B4-6D22-43DE-AB32-A6D50DA3BF94}">
      <dgm:prSet phldrT="[Text]" custT="1"/>
      <dgm:spPr/>
      <dgm:t>
        <a:bodyPr lIns="0" tIns="0" rIns="0" bIns="0"/>
        <a:lstStyle/>
        <a:p>
          <a:r>
            <a:rPr lang="tr-TR" sz="1400" b="1" dirty="0"/>
            <a:t>Orchestration</a:t>
          </a:r>
        </a:p>
      </dgm:t>
    </dgm:pt>
    <dgm:pt modelId="{9110B446-02D3-431B-9D6C-1E7E13A108F7}" type="parTrans" cxnId="{CCD0EC0F-0768-438C-91FE-78BBC6DAC386}">
      <dgm:prSet/>
      <dgm:spPr/>
      <dgm:t>
        <a:bodyPr/>
        <a:lstStyle/>
        <a:p>
          <a:endParaRPr lang="tr-TR"/>
        </a:p>
      </dgm:t>
    </dgm:pt>
    <dgm:pt modelId="{3EB3D227-5034-45D6-AC75-DBB2A2239CA2}" type="sibTrans" cxnId="{CCD0EC0F-0768-438C-91FE-78BBC6DAC386}">
      <dgm:prSet/>
      <dgm:spPr/>
      <dgm:t>
        <a:bodyPr/>
        <a:lstStyle/>
        <a:p>
          <a:endParaRPr lang="tr-TR"/>
        </a:p>
      </dgm:t>
    </dgm:pt>
    <dgm:pt modelId="{C48B7CA9-1107-4706-8416-D48C28C133F9}">
      <dgm:prSet phldrT="[Text]" custT="1"/>
      <dgm:spPr/>
      <dgm:t>
        <a:bodyPr/>
        <a:lstStyle/>
        <a:p>
          <a:r>
            <a:rPr lang="tr-TR" sz="1200" b="1" dirty="0"/>
            <a:t>Process</a:t>
          </a:r>
        </a:p>
      </dgm:t>
    </dgm:pt>
    <dgm:pt modelId="{FAAF648D-C8F5-494C-BF83-C79A56B1FA6B}" type="parTrans" cxnId="{8B4C1E88-8DA7-4B88-A4A0-D79C2BFC1683}">
      <dgm:prSet/>
      <dgm:spPr/>
      <dgm:t>
        <a:bodyPr/>
        <a:lstStyle/>
        <a:p>
          <a:endParaRPr lang="tr-TR"/>
        </a:p>
      </dgm:t>
    </dgm:pt>
    <dgm:pt modelId="{30D8E385-3CCC-4BD5-8DF3-FD58F3B74BD2}" type="sibTrans" cxnId="{8B4C1E88-8DA7-4B88-A4A0-D79C2BFC1683}">
      <dgm:prSet/>
      <dgm:spPr/>
      <dgm:t>
        <a:bodyPr/>
        <a:lstStyle/>
        <a:p>
          <a:endParaRPr lang="tr-TR"/>
        </a:p>
      </dgm:t>
    </dgm:pt>
    <dgm:pt modelId="{2AF198F5-D3BB-4F58-9CCA-D26714F2FED3}">
      <dgm:prSet phldrT="[Text]" custT="1"/>
      <dgm:spPr/>
      <dgm:t>
        <a:bodyPr/>
        <a:lstStyle/>
        <a:p>
          <a:r>
            <a:rPr lang="tr-TR" sz="1300" b="1" dirty="0"/>
            <a:t>Business Kernel</a:t>
          </a:r>
        </a:p>
      </dgm:t>
    </dgm:pt>
    <dgm:pt modelId="{F35DF834-4EBF-4A31-873C-D6285C2C5D04}" type="parTrans" cxnId="{E0300BDB-2324-40C7-9424-796FD7E3E030}">
      <dgm:prSet/>
      <dgm:spPr/>
      <dgm:t>
        <a:bodyPr/>
        <a:lstStyle/>
        <a:p>
          <a:endParaRPr lang="tr-TR"/>
        </a:p>
      </dgm:t>
    </dgm:pt>
    <dgm:pt modelId="{36EB9F36-D489-4B9C-9F36-90993FE0FF0C}" type="sibTrans" cxnId="{E0300BDB-2324-40C7-9424-796FD7E3E030}">
      <dgm:prSet/>
      <dgm:spPr/>
      <dgm:t>
        <a:bodyPr/>
        <a:lstStyle/>
        <a:p>
          <a:endParaRPr lang="tr-TR"/>
        </a:p>
      </dgm:t>
    </dgm:pt>
    <dgm:pt modelId="{44A4DC33-C465-460A-9456-9C8171760242}" type="pres">
      <dgm:prSet presAssocID="{E1D0FC11-7A52-4D7F-8D09-18B695CCE54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A0F375FF-46A3-42C3-A75B-EB4FBEA0377C}" type="pres">
      <dgm:prSet presAssocID="{105164B4-6D22-43DE-AB32-A6D50DA3BF94}" presName="gear1" presStyleLbl="node1" presStyleIdx="0" presStyleCnt="3" custScaleX="131006" custScaleY="124642" custLinFactNeighborX="8969" custLinFactNeighborY="-4830">
        <dgm:presLayoutVars>
          <dgm:chMax val="1"/>
          <dgm:bulletEnabled val="1"/>
        </dgm:presLayoutVars>
      </dgm:prSet>
      <dgm:spPr/>
    </dgm:pt>
    <dgm:pt modelId="{C1434221-B704-4616-85B5-AB6CB9BFD007}" type="pres">
      <dgm:prSet presAssocID="{105164B4-6D22-43DE-AB32-A6D50DA3BF94}" presName="gear1srcNode" presStyleLbl="node1" presStyleIdx="0" presStyleCnt="3"/>
      <dgm:spPr/>
    </dgm:pt>
    <dgm:pt modelId="{243E37F8-4A3D-42A3-80E3-323EDF49DF28}" type="pres">
      <dgm:prSet presAssocID="{105164B4-6D22-43DE-AB32-A6D50DA3BF94}" presName="gear1dstNode" presStyleLbl="node1" presStyleIdx="0" presStyleCnt="3"/>
      <dgm:spPr/>
    </dgm:pt>
    <dgm:pt modelId="{352A5317-FB87-4BC0-8417-B356BE8BE7A8}" type="pres">
      <dgm:prSet presAssocID="{C48B7CA9-1107-4706-8416-D48C28C133F9}" presName="gear2" presStyleLbl="node1" presStyleIdx="1" presStyleCnt="3" custAng="0" custScaleX="119322" custScaleY="114466" custLinFactNeighborX="-14618" custLinFactNeighborY="-7203">
        <dgm:presLayoutVars>
          <dgm:chMax val="1"/>
          <dgm:bulletEnabled val="1"/>
        </dgm:presLayoutVars>
      </dgm:prSet>
      <dgm:spPr/>
    </dgm:pt>
    <dgm:pt modelId="{F95BDD96-83F3-4727-B3B6-6828EE1EBB72}" type="pres">
      <dgm:prSet presAssocID="{C48B7CA9-1107-4706-8416-D48C28C133F9}" presName="gear2srcNode" presStyleLbl="node1" presStyleIdx="1" presStyleCnt="3"/>
      <dgm:spPr/>
    </dgm:pt>
    <dgm:pt modelId="{0E7ED332-78D8-4391-9E2D-36215F9B2914}" type="pres">
      <dgm:prSet presAssocID="{C48B7CA9-1107-4706-8416-D48C28C133F9}" presName="gear2dstNode" presStyleLbl="node1" presStyleIdx="1" presStyleCnt="3"/>
      <dgm:spPr/>
    </dgm:pt>
    <dgm:pt modelId="{097FD5DE-D6DD-415A-B24E-CF69389CF993}" type="pres">
      <dgm:prSet presAssocID="{2AF198F5-D3BB-4F58-9CCA-D26714F2FED3}" presName="gear3" presStyleLbl="node1" presStyleIdx="2" presStyleCnt="3" custAng="1543077" custScaleX="118208" custScaleY="117558" custLinFactNeighborX="18079" custLinFactNeighborY="-1554"/>
      <dgm:spPr/>
    </dgm:pt>
    <dgm:pt modelId="{FF2B9B8A-9212-43BE-AB5B-D30C54CF2EEE}" type="pres">
      <dgm:prSet presAssocID="{2AF198F5-D3BB-4F58-9CCA-D26714F2FED3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367D260A-C228-42A3-8B09-489DF42A36C3}" type="pres">
      <dgm:prSet presAssocID="{2AF198F5-D3BB-4F58-9CCA-D26714F2FED3}" presName="gear3srcNode" presStyleLbl="node1" presStyleIdx="2" presStyleCnt="3"/>
      <dgm:spPr/>
    </dgm:pt>
    <dgm:pt modelId="{79A0775A-E94F-4BFD-B096-04B1C3E97EAB}" type="pres">
      <dgm:prSet presAssocID="{2AF198F5-D3BB-4F58-9CCA-D26714F2FED3}" presName="gear3dstNode" presStyleLbl="node1" presStyleIdx="2" presStyleCnt="3"/>
      <dgm:spPr/>
    </dgm:pt>
    <dgm:pt modelId="{CFFBB5CB-F095-4746-A102-6D00F5F89553}" type="pres">
      <dgm:prSet presAssocID="{3EB3D227-5034-45D6-AC75-DBB2A2239CA2}" presName="connector1" presStyleLbl="sibTrans2D1" presStyleIdx="0" presStyleCnt="3" custScaleX="24962" custScaleY="23002" custLinFactNeighborX="33226" custLinFactNeighborY="-4058"/>
      <dgm:spPr/>
    </dgm:pt>
    <dgm:pt modelId="{267ED722-2460-4C40-ABE6-573FA46C97F4}" type="pres">
      <dgm:prSet presAssocID="{30D8E385-3CCC-4BD5-8DF3-FD58F3B74BD2}" presName="connector2" presStyleLbl="sibTrans2D1" presStyleIdx="1" presStyleCnt="3" custAng="17794689" custScaleX="27899" custScaleY="28387" custLinFactNeighborX="4804" custLinFactNeighborY="26137"/>
      <dgm:spPr/>
    </dgm:pt>
    <dgm:pt modelId="{10248124-9020-482D-B66C-FC422C1A6F51}" type="pres">
      <dgm:prSet presAssocID="{36EB9F36-D489-4B9C-9F36-90993FE0FF0C}" presName="connector3" presStyleLbl="sibTrans2D1" presStyleIdx="2" presStyleCnt="3" custScaleX="34616" custScaleY="18621" custLinFactNeighborX="56797" custLinFactNeighborY="5033"/>
      <dgm:spPr/>
    </dgm:pt>
  </dgm:ptLst>
  <dgm:cxnLst>
    <dgm:cxn modelId="{684F8D01-B3A5-4D34-9133-57DB6ECE59E9}" type="presOf" srcId="{105164B4-6D22-43DE-AB32-A6D50DA3BF94}" destId="{243E37F8-4A3D-42A3-80E3-323EDF49DF28}" srcOrd="2" destOrd="0" presId="urn:microsoft.com/office/officeart/2005/8/layout/gear1"/>
    <dgm:cxn modelId="{B1315205-147D-4998-BEE7-B40EA7F625B3}" type="presOf" srcId="{E1D0FC11-7A52-4D7F-8D09-18B695CCE54C}" destId="{44A4DC33-C465-460A-9456-9C8171760242}" srcOrd="0" destOrd="0" presId="urn:microsoft.com/office/officeart/2005/8/layout/gear1"/>
    <dgm:cxn modelId="{9F33170C-5EB1-459F-B2BA-6C7251DC0C35}" type="presOf" srcId="{30D8E385-3CCC-4BD5-8DF3-FD58F3B74BD2}" destId="{267ED722-2460-4C40-ABE6-573FA46C97F4}" srcOrd="0" destOrd="0" presId="urn:microsoft.com/office/officeart/2005/8/layout/gear1"/>
    <dgm:cxn modelId="{CCD0EC0F-0768-438C-91FE-78BBC6DAC386}" srcId="{E1D0FC11-7A52-4D7F-8D09-18B695CCE54C}" destId="{105164B4-6D22-43DE-AB32-A6D50DA3BF94}" srcOrd="0" destOrd="0" parTransId="{9110B446-02D3-431B-9D6C-1E7E13A108F7}" sibTransId="{3EB3D227-5034-45D6-AC75-DBB2A2239CA2}"/>
    <dgm:cxn modelId="{28102C2A-3B8D-4E86-8D2F-25D1D11AF332}" type="presOf" srcId="{2AF198F5-D3BB-4F58-9CCA-D26714F2FED3}" destId="{367D260A-C228-42A3-8B09-489DF42A36C3}" srcOrd="2" destOrd="0" presId="urn:microsoft.com/office/officeart/2005/8/layout/gear1"/>
    <dgm:cxn modelId="{2BE23E44-0473-4AD1-84BF-D4289BC86E60}" type="presOf" srcId="{3EB3D227-5034-45D6-AC75-DBB2A2239CA2}" destId="{CFFBB5CB-F095-4746-A102-6D00F5F89553}" srcOrd="0" destOrd="0" presId="urn:microsoft.com/office/officeart/2005/8/layout/gear1"/>
    <dgm:cxn modelId="{18BE0345-4A5A-4C1E-B0D5-DAE093B98D4A}" type="presOf" srcId="{36EB9F36-D489-4B9C-9F36-90993FE0FF0C}" destId="{10248124-9020-482D-B66C-FC422C1A6F51}" srcOrd="0" destOrd="0" presId="urn:microsoft.com/office/officeart/2005/8/layout/gear1"/>
    <dgm:cxn modelId="{9554314C-A736-4229-9C8A-D56DEB035218}" type="presOf" srcId="{C48B7CA9-1107-4706-8416-D48C28C133F9}" destId="{352A5317-FB87-4BC0-8417-B356BE8BE7A8}" srcOrd="0" destOrd="0" presId="urn:microsoft.com/office/officeart/2005/8/layout/gear1"/>
    <dgm:cxn modelId="{6EEB586E-0070-4C56-A7AC-1BB0E67A7AA0}" type="presOf" srcId="{2AF198F5-D3BB-4F58-9CCA-D26714F2FED3}" destId="{FF2B9B8A-9212-43BE-AB5B-D30C54CF2EEE}" srcOrd="1" destOrd="0" presId="urn:microsoft.com/office/officeart/2005/8/layout/gear1"/>
    <dgm:cxn modelId="{8B4C1E88-8DA7-4B88-A4A0-D79C2BFC1683}" srcId="{E1D0FC11-7A52-4D7F-8D09-18B695CCE54C}" destId="{C48B7CA9-1107-4706-8416-D48C28C133F9}" srcOrd="1" destOrd="0" parTransId="{FAAF648D-C8F5-494C-BF83-C79A56B1FA6B}" sibTransId="{30D8E385-3CCC-4BD5-8DF3-FD58F3B74BD2}"/>
    <dgm:cxn modelId="{F304F38E-AA83-4C1D-94A0-B97D962BCCF3}" type="presOf" srcId="{105164B4-6D22-43DE-AB32-A6D50DA3BF94}" destId="{C1434221-B704-4616-85B5-AB6CB9BFD007}" srcOrd="1" destOrd="0" presId="urn:microsoft.com/office/officeart/2005/8/layout/gear1"/>
    <dgm:cxn modelId="{5458CCAF-D81D-42F5-8CDE-CA59B2156630}" type="presOf" srcId="{2AF198F5-D3BB-4F58-9CCA-D26714F2FED3}" destId="{097FD5DE-D6DD-415A-B24E-CF69389CF993}" srcOrd="0" destOrd="0" presId="urn:microsoft.com/office/officeart/2005/8/layout/gear1"/>
    <dgm:cxn modelId="{3A4E23B1-83C3-40E0-8C69-9DC39FB05110}" type="presOf" srcId="{2AF198F5-D3BB-4F58-9CCA-D26714F2FED3}" destId="{79A0775A-E94F-4BFD-B096-04B1C3E97EAB}" srcOrd="3" destOrd="0" presId="urn:microsoft.com/office/officeart/2005/8/layout/gear1"/>
    <dgm:cxn modelId="{1089A9BB-30B3-489F-BE97-1D446AF7411B}" type="presOf" srcId="{C48B7CA9-1107-4706-8416-D48C28C133F9}" destId="{0E7ED332-78D8-4391-9E2D-36215F9B2914}" srcOrd="2" destOrd="0" presId="urn:microsoft.com/office/officeart/2005/8/layout/gear1"/>
    <dgm:cxn modelId="{D3CDF7C6-E3BC-4420-ADE1-FBD2ED23D2E5}" type="presOf" srcId="{105164B4-6D22-43DE-AB32-A6D50DA3BF94}" destId="{A0F375FF-46A3-42C3-A75B-EB4FBEA0377C}" srcOrd="0" destOrd="0" presId="urn:microsoft.com/office/officeart/2005/8/layout/gear1"/>
    <dgm:cxn modelId="{BE0BB6D3-C767-4BD6-9560-FD788D438A0D}" type="presOf" srcId="{C48B7CA9-1107-4706-8416-D48C28C133F9}" destId="{F95BDD96-83F3-4727-B3B6-6828EE1EBB72}" srcOrd="1" destOrd="0" presId="urn:microsoft.com/office/officeart/2005/8/layout/gear1"/>
    <dgm:cxn modelId="{E0300BDB-2324-40C7-9424-796FD7E3E030}" srcId="{E1D0FC11-7A52-4D7F-8D09-18B695CCE54C}" destId="{2AF198F5-D3BB-4F58-9CCA-D26714F2FED3}" srcOrd="2" destOrd="0" parTransId="{F35DF834-4EBF-4A31-873C-D6285C2C5D04}" sibTransId="{36EB9F36-D489-4B9C-9F36-90993FE0FF0C}"/>
    <dgm:cxn modelId="{E6B14122-F514-4A40-8088-DAE2F0DDB6D3}" type="presParOf" srcId="{44A4DC33-C465-460A-9456-9C8171760242}" destId="{A0F375FF-46A3-42C3-A75B-EB4FBEA0377C}" srcOrd="0" destOrd="0" presId="urn:microsoft.com/office/officeart/2005/8/layout/gear1"/>
    <dgm:cxn modelId="{17A95DF0-80B6-444D-9356-C37EDEB0153F}" type="presParOf" srcId="{44A4DC33-C465-460A-9456-9C8171760242}" destId="{C1434221-B704-4616-85B5-AB6CB9BFD007}" srcOrd="1" destOrd="0" presId="urn:microsoft.com/office/officeart/2005/8/layout/gear1"/>
    <dgm:cxn modelId="{BBCBFF9A-DC1A-47DF-9999-A13A8502AE0B}" type="presParOf" srcId="{44A4DC33-C465-460A-9456-9C8171760242}" destId="{243E37F8-4A3D-42A3-80E3-323EDF49DF28}" srcOrd="2" destOrd="0" presId="urn:microsoft.com/office/officeart/2005/8/layout/gear1"/>
    <dgm:cxn modelId="{5B2A6ED1-58FC-45BE-8B89-B705489F946F}" type="presParOf" srcId="{44A4DC33-C465-460A-9456-9C8171760242}" destId="{352A5317-FB87-4BC0-8417-B356BE8BE7A8}" srcOrd="3" destOrd="0" presId="urn:microsoft.com/office/officeart/2005/8/layout/gear1"/>
    <dgm:cxn modelId="{510E18BE-F85E-4594-8BA1-5DA922B510F3}" type="presParOf" srcId="{44A4DC33-C465-460A-9456-9C8171760242}" destId="{F95BDD96-83F3-4727-B3B6-6828EE1EBB72}" srcOrd="4" destOrd="0" presId="urn:microsoft.com/office/officeart/2005/8/layout/gear1"/>
    <dgm:cxn modelId="{749AA8F3-5A0B-4D62-AF2E-31D5A74C5EFF}" type="presParOf" srcId="{44A4DC33-C465-460A-9456-9C8171760242}" destId="{0E7ED332-78D8-4391-9E2D-36215F9B2914}" srcOrd="5" destOrd="0" presId="urn:microsoft.com/office/officeart/2005/8/layout/gear1"/>
    <dgm:cxn modelId="{F9E85A7B-DF8B-45D8-AF8E-C4A69F9FC612}" type="presParOf" srcId="{44A4DC33-C465-460A-9456-9C8171760242}" destId="{097FD5DE-D6DD-415A-B24E-CF69389CF993}" srcOrd="6" destOrd="0" presId="urn:microsoft.com/office/officeart/2005/8/layout/gear1"/>
    <dgm:cxn modelId="{3F54E21A-3783-40B4-BA1D-3C1C1285E7FC}" type="presParOf" srcId="{44A4DC33-C465-460A-9456-9C8171760242}" destId="{FF2B9B8A-9212-43BE-AB5B-D30C54CF2EEE}" srcOrd="7" destOrd="0" presId="urn:microsoft.com/office/officeart/2005/8/layout/gear1"/>
    <dgm:cxn modelId="{5B588F5B-9433-4652-93F1-CE23F8840351}" type="presParOf" srcId="{44A4DC33-C465-460A-9456-9C8171760242}" destId="{367D260A-C228-42A3-8B09-489DF42A36C3}" srcOrd="8" destOrd="0" presId="urn:microsoft.com/office/officeart/2005/8/layout/gear1"/>
    <dgm:cxn modelId="{3D8C3A57-FFEC-45B8-A942-D4E3DE81C5C6}" type="presParOf" srcId="{44A4DC33-C465-460A-9456-9C8171760242}" destId="{79A0775A-E94F-4BFD-B096-04B1C3E97EAB}" srcOrd="9" destOrd="0" presId="urn:microsoft.com/office/officeart/2005/8/layout/gear1"/>
    <dgm:cxn modelId="{198E2D30-BD9B-4D35-A614-13DC5C4198EE}" type="presParOf" srcId="{44A4DC33-C465-460A-9456-9C8171760242}" destId="{CFFBB5CB-F095-4746-A102-6D00F5F89553}" srcOrd="10" destOrd="0" presId="urn:microsoft.com/office/officeart/2005/8/layout/gear1"/>
    <dgm:cxn modelId="{F2885BEE-AFBC-455F-BD3A-4B9070FAD72D}" type="presParOf" srcId="{44A4DC33-C465-460A-9456-9C8171760242}" destId="{267ED722-2460-4C40-ABE6-573FA46C97F4}" srcOrd="11" destOrd="0" presId="urn:microsoft.com/office/officeart/2005/8/layout/gear1"/>
    <dgm:cxn modelId="{6CBC66B7-7DC8-4D31-A65C-A3ACF619DC8E}" type="presParOf" srcId="{44A4DC33-C465-460A-9456-9C8171760242}" destId="{10248124-9020-482D-B66C-FC422C1A6F51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546DF13-E544-4FD2-BD1E-6D7B6040BCDD}" type="doc">
      <dgm:prSet loTypeId="urn:microsoft.com/office/officeart/2005/8/layout/process4" loCatId="process" qsTypeId="urn:microsoft.com/office/officeart/2005/8/quickstyle/3d5" qsCatId="3D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AEA7EC16-CD35-4152-93B4-D63745398546}">
      <dgm:prSet phldrT="[Text]" custT="1"/>
      <dgm:spPr/>
      <dgm:t>
        <a:bodyPr/>
        <a:lstStyle/>
        <a:p>
          <a:r>
            <a:rPr lang="tr-TR" sz="2000" dirty="0"/>
            <a:t>MESSAGE PARSING</a:t>
          </a:r>
        </a:p>
      </dgm:t>
    </dgm:pt>
    <dgm:pt modelId="{6D26EB0C-BA0D-4746-9AB2-68CD85CF68DE}" type="parTrans" cxnId="{3C7CD645-9A05-42BD-A477-7946811C7F59}">
      <dgm:prSet/>
      <dgm:spPr/>
      <dgm:t>
        <a:bodyPr/>
        <a:lstStyle/>
        <a:p>
          <a:endParaRPr lang="tr-TR"/>
        </a:p>
      </dgm:t>
    </dgm:pt>
    <dgm:pt modelId="{E352F10F-89F8-4CF6-ADA8-A63D61CE36F3}" type="sibTrans" cxnId="{3C7CD645-9A05-42BD-A477-7946811C7F59}">
      <dgm:prSet/>
      <dgm:spPr/>
      <dgm:t>
        <a:bodyPr/>
        <a:lstStyle/>
        <a:p>
          <a:endParaRPr lang="tr-TR"/>
        </a:p>
      </dgm:t>
    </dgm:pt>
    <dgm:pt modelId="{474171BF-1287-4727-B635-AFED0D4C97DF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Branch</a:t>
          </a:r>
        </a:p>
      </dgm:t>
    </dgm:pt>
    <dgm:pt modelId="{EE882122-FE8B-42A8-9BF5-B384526FE877}" type="parTrans" cxnId="{F178EA2A-8455-47B2-B9BA-16E4D21C1B69}">
      <dgm:prSet/>
      <dgm:spPr/>
      <dgm:t>
        <a:bodyPr/>
        <a:lstStyle/>
        <a:p>
          <a:endParaRPr lang="tr-TR"/>
        </a:p>
      </dgm:t>
    </dgm:pt>
    <dgm:pt modelId="{F84DA00E-8B8B-4C45-8594-50921560EC19}" type="sibTrans" cxnId="{F178EA2A-8455-47B2-B9BA-16E4D21C1B69}">
      <dgm:prSet/>
      <dgm:spPr/>
      <dgm:t>
        <a:bodyPr/>
        <a:lstStyle/>
        <a:p>
          <a:endParaRPr lang="tr-TR"/>
        </a:p>
      </dgm:t>
    </dgm:pt>
    <dgm:pt modelId="{12FEE985-4F82-4769-A7B3-47085BAF2E03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Amount</a:t>
          </a:r>
        </a:p>
      </dgm:t>
    </dgm:pt>
    <dgm:pt modelId="{B2358773-40E5-4729-AEF5-E1DEEFA9D572}" type="parTrans" cxnId="{DC95285A-997A-4469-BCEC-8C6FE10BA1A5}">
      <dgm:prSet/>
      <dgm:spPr/>
      <dgm:t>
        <a:bodyPr/>
        <a:lstStyle/>
        <a:p>
          <a:endParaRPr lang="tr-TR"/>
        </a:p>
      </dgm:t>
    </dgm:pt>
    <dgm:pt modelId="{89B86615-773F-4828-B2A4-54992B06A4DB}" type="sibTrans" cxnId="{DC95285A-997A-4469-BCEC-8C6FE10BA1A5}">
      <dgm:prSet/>
      <dgm:spPr/>
      <dgm:t>
        <a:bodyPr/>
        <a:lstStyle/>
        <a:p>
          <a:endParaRPr lang="tr-TR"/>
        </a:p>
      </dgm:t>
    </dgm:pt>
    <dgm:pt modelId="{AD615AAB-E0B5-4E8D-9556-1E84683DAFE3}">
      <dgm:prSet phldrT="[Text]" custT="1"/>
      <dgm:spPr/>
      <dgm:t>
        <a:bodyPr/>
        <a:lstStyle/>
        <a:p>
          <a:r>
            <a:rPr lang="tr-TR" sz="2000" dirty="0"/>
            <a:t>INTERNAL RULE ENGINE</a:t>
          </a:r>
        </a:p>
      </dgm:t>
    </dgm:pt>
    <dgm:pt modelId="{53CF7792-635A-44CE-AEEA-6EA99493AED1}" type="parTrans" cxnId="{AA012B5E-06E2-4C7B-B430-D6F6D4ACCDD2}">
      <dgm:prSet/>
      <dgm:spPr/>
      <dgm:t>
        <a:bodyPr/>
        <a:lstStyle/>
        <a:p>
          <a:endParaRPr lang="tr-TR"/>
        </a:p>
      </dgm:t>
    </dgm:pt>
    <dgm:pt modelId="{BAF1B683-89BF-4FBC-97A8-E7A55C262768}" type="sibTrans" cxnId="{AA012B5E-06E2-4C7B-B430-D6F6D4ACCDD2}">
      <dgm:prSet/>
      <dgm:spPr/>
      <dgm:t>
        <a:bodyPr/>
        <a:lstStyle/>
        <a:p>
          <a:endParaRPr lang="tr-TR"/>
        </a:p>
      </dgm:t>
    </dgm:pt>
    <dgm:pt modelId="{F637D8A7-73B8-4AA5-9424-B13EF1EB3251}">
      <dgm:prSet phldrT="[Text]" custT="1"/>
      <dgm:spPr/>
      <dgm:t>
        <a:bodyPr/>
        <a:lstStyle/>
        <a:p>
          <a:r>
            <a:rPr lang="tr-TR" sz="1400" dirty="0">
              <a:solidFill>
                <a:schemeClr val="tx1">
                  <a:lumMod val="50000"/>
                </a:schemeClr>
              </a:solidFill>
            </a:rPr>
            <a:t>If Customer Profitability &gt;10</a:t>
          </a:r>
        </a:p>
      </dgm:t>
    </dgm:pt>
    <dgm:pt modelId="{4257D768-2A0F-44C6-983B-3359F64A7670}" type="parTrans" cxnId="{1008C778-3089-460F-99C9-B9CA39183A03}">
      <dgm:prSet/>
      <dgm:spPr/>
      <dgm:t>
        <a:bodyPr/>
        <a:lstStyle/>
        <a:p>
          <a:endParaRPr lang="tr-TR"/>
        </a:p>
      </dgm:t>
    </dgm:pt>
    <dgm:pt modelId="{87073E87-7443-4AEB-9E14-82C22C11D577}" type="sibTrans" cxnId="{1008C778-3089-460F-99C9-B9CA39183A03}">
      <dgm:prSet/>
      <dgm:spPr/>
      <dgm:t>
        <a:bodyPr/>
        <a:lstStyle/>
        <a:p>
          <a:endParaRPr lang="tr-TR"/>
        </a:p>
      </dgm:t>
    </dgm:pt>
    <dgm:pt modelId="{7D6E8406-033D-4E49-943F-AA44A7AE8BA6}">
      <dgm:prSet phldrT="[Text]" custT="1"/>
      <dgm:spPr/>
      <dgm:t>
        <a:bodyPr/>
        <a:lstStyle/>
        <a:p>
          <a:r>
            <a:rPr lang="tr-TR" sz="2000" dirty="0"/>
            <a:t>DYNAMIC EVALUATION AND DATABASE OPERATIONS</a:t>
          </a:r>
        </a:p>
      </dgm:t>
    </dgm:pt>
    <dgm:pt modelId="{7A9CFCBA-CD8B-4F3A-A1E1-6E4E2B007499}" type="parTrans" cxnId="{B6B3BCCA-5F57-40E1-B113-9D29AB8C04F6}">
      <dgm:prSet/>
      <dgm:spPr/>
      <dgm:t>
        <a:bodyPr/>
        <a:lstStyle/>
        <a:p>
          <a:endParaRPr lang="tr-TR"/>
        </a:p>
      </dgm:t>
    </dgm:pt>
    <dgm:pt modelId="{BA18D667-06C5-4CA5-A596-E4ED835691E7}" type="sibTrans" cxnId="{B6B3BCCA-5F57-40E1-B113-9D29AB8C04F6}">
      <dgm:prSet/>
      <dgm:spPr/>
      <dgm:t>
        <a:bodyPr/>
        <a:lstStyle/>
        <a:p>
          <a:endParaRPr lang="tr-TR"/>
        </a:p>
      </dgm:t>
    </dgm:pt>
    <dgm:pt modelId="{B8987DF6-3274-49DD-9ADC-ABB8626F0C1D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Assembly Generation</a:t>
          </a:r>
        </a:p>
      </dgm:t>
    </dgm:pt>
    <dgm:pt modelId="{87376A3C-5F98-41EC-951C-1D70BE5AA2BA}" type="parTrans" cxnId="{B4D687B1-A9C6-4550-8C11-3E334440E139}">
      <dgm:prSet/>
      <dgm:spPr/>
      <dgm:t>
        <a:bodyPr/>
        <a:lstStyle/>
        <a:p>
          <a:endParaRPr lang="tr-TR"/>
        </a:p>
      </dgm:t>
    </dgm:pt>
    <dgm:pt modelId="{51C1246C-741A-450E-A0E5-484BDE487E5E}" type="sibTrans" cxnId="{B4D687B1-A9C6-4550-8C11-3E334440E139}">
      <dgm:prSet/>
      <dgm:spPr/>
      <dgm:t>
        <a:bodyPr/>
        <a:lstStyle/>
        <a:p>
          <a:endParaRPr lang="tr-TR"/>
        </a:p>
      </dgm:t>
    </dgm:pt>
    <dgm:pt modelId="{03C40C82-38B5-4AA9-B3DD-4F3B89AE1E27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Dynamic Evaluation</a:t>
          </a:r>
        </a:p>
      </dgm:t>
    </dgm:pt>
    <dgm:pt modelId="{9E3544DD-2F6A-44B4-9636-876097C1457F}" type="parTrans" cxnId="{073DD29F-087A-4D6A-9FA3-8B19CAE8A4BE}">
      <dgm:prSet/>
      <dgm:spPr/>
      <dgm:t>
        <a:bodyPr/>
        <a:lstStyle/>
        <a:p>
          <a:endParaRPr lang="tr-TR"/>
        </a:p>
      </dgm:t>
    </dgm:pt>
    <dgm:pt modelId="{AAF1AE69-D13E-41FD-8673-70D59695308F}" type="sibTrans" cxnId="{073DD29F-087A-4D6A-9FA3-8B19CAE8A4BE}">
      <dgm:prSet/>
      <dgm:spPr/>
      <dgm:t>
        <a:bodyPr/>
        <a:lstStyle/>
        <a:p>
          <a:endParaRPr lang="tr-TR"/>
        </a:p>
      </dgm:t>
    </dgm:pt>
    <dgm:pt modelId="{54E1CDF5-3BA5-482E-8738-B37823C66326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DB Operations</a:t>
          </a:r>
        </a:p>
      </dgm:t>
    </dgm:pt>
    <dgm:pt modelId="{908BEA6C-B33E-4D30-AECB-ECC8471143A6}" type="parTrans" cxnId="{B3AE8F1B-7162-4FC8-91CE-88ED3AFD18BF}">
      <dgm:prSet/>
      <dgm:spPr/>
      <dgm:t>
        <a:bodyPr/>
        <a:lstStyle/>
        <a:p>
          <a:endParaRPr lang="tr-TR"/>
        </a:p>
      </dgm:t>
    </dgm:pt>
    <dgm:pt modelId="{382472A0-9265-463E-B68A-C2896D23023B}" type="sibTrans" cxnId="{B3AE8F1B-7162-4FC8-91CE-88ED3AFD18BF}">
      <dgm:prSet/>
      <dgm:spPr/>
      <dgm:t>
        <a:bodyPr/>
        <a:lstStyle/>
        <a:p>
          <a:endParaRPr lang="tr-TR"/>
        </a:p>
      </dgm:t>
    </dgm:pt>
    <dgm:pt modelId="{C03F6152-A7A9-4CE1-AD50-67962DF9EF7F}">
      <dgm:prSet phldrT="[Text]" custT="1"/>
      <dgm:spPr/>
      <dgm:t>
        <a:bodyPr/>
        <a:lstStyle/>
        <a:p>
          <a:r>
            <a:rPr lang="tr-TR" sz="2000" dirty="0"/>
            <a:t>PROCEED TO NEXT ENGINE</a:t>
          </a:r>
        </a:p>
      </dgm:t>
    </dgm:pt>
    <dgm:pt modelId="{08EF0BA0-107C-44FB-9F82-341A4FAD6775}" type="parTrans" cxnId="{3BE63114-824E-49D2-AD9C-F03B32647828}">
      <dgm:prSet/>
      <dgm:spPr/>
      <dgm:t>
        <a:bodyPr/>
        <a:lstStyle/>
        <a:p>
          <a:endParaRPr lang="tr-TR"/>
        </a:p>
      </dgm:t>
    </dgm:pt>
    <dgm:pt modelId="{3B03AD2F-CA8A-4B08-AE79-B9B48AF74073}" type="sibTrans" cxnId="{3BE63114-824E-49D2-AD9C-F03B32647828}">
      <dgm:prSet/>
      <dgm:spPr/>
      <dgm:t>
        <a:bodyPr/>
        <a:lstStyle/>
        <a:p>
          <a:endParaRPr lang="tr-TR"/>
        </a:p>
      </dgm:t>
    </dgm:pt>
    <dgm:pt modelId="{E04B2AF6-84A3-4D53-9004-B663DC5C84F2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Customer</a:t>
          </a:r>
        </a:p>
      </dgm:t>
    </dgm:pt>
    <dgm:pt modelId="{774D0091-8B18-4875-99A5-88D557985476}" type="parTrans" cxnId="{460AF0F1-C385-4B62-A37B-62739D4DA154}">
      <dgm:prSet/>
      <dgm:spPr/>
      <dgm:t>
        <a:bodyPr/>
        <a:lstStyle/>
        <a:p>
          <a:endParaRPr lang="tr-TR"/>
        </a:p>
      </dgm:t>
    </dgm:pt>
    <dgm:pt modelId="{D5B0926F-7A11-4475-A134-89BA3C6BE8D8}" type="sibTrans" cxnId="{460AF0F1-C385-4B62-A37B-62739D4DA154}">
      <dgm:prSet/>
      <dgm:spPr/>
      <dgm:t>
        <a:bodyPr/>
        <a:lstStyle/>
        <a:p>
          <a:endParaRPr lang="tr-TR"/>
        </a:p>
      </dgm:t>
    </dgm:pt>
    <dgm:pt modelId="{0796875B-2D67-4ED7-BB2D-43AAB6D40685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Account</a:t>
          </a:r>
        </a:p>
      </dgm:t>
    </dgm:pt>
    <dgm:pt modelId="{EFA82048-CCE0-4543-8499-62D591D105B0}" type="parTrans" cxnId="{8112AC8E-CF9D-4614-A725-C170E4BD3B2A}">
      <dgm:prSet/>
      <dgm:spPr/>
      <dgm:t>
        <a:bodyPr/>
        <a:lstStyle/>
        <a:p>
          <a:endParaRPr lang="tr-TR"/>
        </a:p>
      </dgm:t>
    </dgm:pt>
    <dgm:pt modelId="{AF161BE0-8F6C-47A0-A3B7-EF11ABC8E09B}" type="sibTrans" cxnId="{8112AC8E-CF9D-4614-A725-C170E4BD3B2A}">
      <dgm:prSet/>
      <dgm:spPr/>
      <dgm:t>
        <a:bodyPr/>
        <a:lstStyle/>
        <a:p>
          <a:endParaRPr lang="tr-TR"/>
        </a:p>
      </dgm:t>
    </dgm:pt>
    <dgm:pt modelId="{A5E448CF-7C00-4693-83F1-A7AB9447DAF3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LedgerId</a:t>
          </a:r>
        </a:p>
      </dgm:t>
    </dgm:pt>
    <dgm:pt modelId="{AEAE08DA-78A0-496D-890C-7174D0DBB728}" type="parTrans" cxnId="{3737153D-47F9-4154-B02B-1F8352DA9A0E}">
      <dgm:prSet/>
      <dgm:spPr/>
      <dgm:t>
        <a:bodyPr/>
        <a:lstStyle/>
        <a:p>
          <a:endParaRPr lang="tr-TR"/>
        </a:p>
      </dgm:t>
    </dgm:pt>
    <dgm:pt modelId="{B6F6D9F6-52C7-462A-B28A-9F5127DA4F35}" type="sibTrans" cxnId="{3737153D-47F9-4154-B02B-1F8352DA9A0E}">
      <dgm:prSet/>
      <dgm:spPr/>
      <dgm:t>
        <a:bodyPr/>
        <a:lstStyle/>
        <a:p>
          <a:endParaRPr lang="tr-TR"/>
        </a:p>
      </dgm:t>
    </dgm:pt>
    <dgm:pt modelId="{D98B26C5-F6E4-4443-A07E-EB05D189B5D6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...</a:t>
          </a:r>
        </a:p>
      </dgm:t>
    </dgm:pt>
    <dgm:pt modelId="{0BA7C8F4-E189-42C6-86AD-8EAF71B2E6A3}" type="parTrans" cxnId="{2431B859-8A59-4936-AC78-1263E11A8F21}">
      <dgm:prSet/>
      <dgm:spPr/>
      <dgm:t>
        <a:bodyPr/>
        <a:lstStyle/>
        <a:p>
          <a:endParaRPr lang="tr-TR"/>
        </a:p>
      </dgm:t>
    </dgm:pt>
    <dgm:pt modelId="{32E4366F-2913-49DC-B5FD-5F1FE3973607}" type="sibTrans" cxnId="{2431B859-8A59-4936-AC78-1263E11A8F21}">
      <dgm:prSet/>
      <dgm:spPr/>
      <dgm:t>
        <a:bodyPr/>
        <a:lstStyle/>
        <a:p>
          <a:endParaRPr lang="tr-TR"/>
        </a:p>
      </dgm:t>
    </dgm:pt>
    <dgm:pt modelId="{C4F3E740-612E-42AA-B546-A906AE47ECB3}">
      <dgm:prSet phldrT="[Text]" custT="1"/>
      <dgm:spPr/>
      <dgm:t>
        <a:bodyPr/>
        <a:lstStyle/>
        <a:p>
          <a:r>
            <a:rPr lang="tr-TR" sz="1400" dirty="0">
              <a:solidFill>
                <a:schemeClr val="tx1">
                  <a:lumMod val="50000"/>
                </a:schemeClr>
              </a:solidFill>
            </a:rPr>
            <a:t>Return Commission Amount = 50</a:t>
          </a:r>
        </a:p>
      </dgm:t>
    </dgm:pt>
    <dgm:pt modelId="{94EF9FC2-A520-40A6-9264-6A9903E951F2}" type="parTrans" cxnId="{5B696690-9959-43F7-9774-57FDD0729DF3}">
      <dgm:prSet/>
      <dgm:spPr/>
      <dgm:t>
        <a:bodyPr/>
        <a:lstStyle/>
        <a:p>
          <a:endParaRPr lang="tr-TR"/>
        </a:p>
      </dgm:t>
    </dgm:pt>
    <dgm:pt modelId="{1890167E-1DE7-4AE2-B0F0-9FE553FFF866}" type="sibTrans" cxnId="{5B696690-9959-43F7-9774-57FDD0729DF3}">
      <dgm:prSet/>
      <dgm:spPr/>
      <dgm:t>
        <a:bodyPr/>
        <a:lstStyle/>
        <a:p>
          <a:endParaRPr lang="tr-TR"/>
        </a:p>
      </dgm:t>
    </dgm:pt>
    <dgm:pt modelId="{8B80DC76-9C20-4A57-8F24-ADE70EB23EE5}">
      <dgm:prSet phldrT="[Text]" custT="1"/>
      <dgm:spPr/>
      <dgm:t>
        <a:bodyPr/>
        <a:lstStyle/>
        <a:p>
          <a:r>
            <a:rPr lang="tr-TR" sz="1400" dirty="0">
              <a:solidFill>
                <a:schemeClr val="tx1">
                  <a:lumMod val="50000"/>
                </a:schemeClr>
              </a:solidFill>
            </a:rPr>
            <a:t>If Customer Belongs to Advantage Package</a:t>
          </a:r>
        </a:p>
      </dgm:t>
    </dgm:pt>
    <dgm:pt modelId="{E518F93F-9A2F-4554-B955-D4DA751F098F}" type="parTrans" cxnId="{0DF72B05-9559-415B-B57A-9CA80B73D17B}">
      <dgm:prSet/>
      <dgm:spPr/>
      <dgm:t>
        <a:bodyPr/>
        <a:lstStyle/>
        <a:p>
          <a:endParaRPr lang="tr-TR"/>
        </a:p>
      </dgm:t>
    </dgm:pt>
    <dgm:pt modelId="{6292AA4C-B968-4545-9F9D-F8BD381B9891}" type="sibTrans" cxnId="{0DF72B05-9559-415B-B57A-9CA80B73D17B}">
      <dgm:prSet/>
      <dgm:spPr/>
      <dgm:t>
        <a:bodyPr/>
        <a:lstStyle/>
        <a:p>
          <a:endParaRPr lang="tr-TR"/>
        </a:p>
      </dgm:t>
    </dgm:pt>
    <dgm:pt modelId="{4D5AFC6C-E019-453F-B0A6-6DD56EF0FE4E}">
      <dgm:prSet phldrT="[Text]" custT="1"/>
      <dgm:spPr/>
      <dgm:t>
        <a:bodyPr/>
        <a:lstStyle/>
        <a:p>
          <a:r>
            <a:rPr lang="tr-TR" sz="1400" dirty="0">
              <a:solidFill>
                <a:schemeClr val="tx1">
                  <a:lumMod val="50000"/>
                </a:schemeClr>
              </a:solidFill>
            </a:rPr>
            <a:t>Return Commission Amount = 10</a:t>
          </a:r>
        </a:p>
      </dgm:t>
    </dgm:pt>
    <dgm:pt modelId="{29580B34-ABE0-4139-A322-B7F980F5F005}" type="parTrans" cxnId="{63138E73-AA26-4229-8AE3-87F9875AE170}">
      <dgm:prSet/>
      <dgm:spPr/>
      <dgm:t>
        <a:bodyPr/>
        <a:lstStyle/>
        <a:p>
          <a:endParaRPr lang="tr-TR"/>
        </a:p>
      </dgm:t>
    </dgm:pt>
    <dgm:pt modelId="{C95A47ED-F264-4FB1-8B36-F678F1835840}" type="sibTrans" cxnId="{63138E73-AA26-4229-8AE3-87F9875AE170}">
      <dgm:prSet/>
      <dgm:spPr/>
      <dgm:t>
        <a:bodyPr/>
        <a:lstStyle/>
        <a:p>
          <a:endParaRPr lang="tr-TR"/>
        </a:p>
      </dgm:t>
    </dgm:pt>
    <dgm:pt modelId="{C81CF849-5C21-4DBF-8B37-1B30FEF8C502}">
      <dgm:prSet phldrT="[Text]"/>
      <dgm:spPr/>
      <dgm:t>
        <a:bodyPr/>
        <a:lstStyle/>
        <a:p>
          <a:r>
            <a:rPr lang="tr-TR" dirty="0">
              <a:solidFill>
                <a:schemeClr val="tx1">
                  <a:lumMod val="50000"/>
                </a:schemeClr>
              </a:solidFill>
            </a:rPr>
            <a:t>Caching</a:t>
          </a:r>
        </a:p>
      </dgm:t>
    </dgm:pt>
    <dgm:pt modelId="{7FBAAA08-E55D-48C3-AD22-9B14B971CF37}" type="parTrans" cxnId="{D144EEDD-F57B-4CB8-8736-6CFC686D43D7}">
      <dgm:prSet/>
      <dgm:spPr/>
      <dgm:t>
        <a:bodyPr/>
        <a:lstStyle/>
        <a:p>
          <a:endParaRPr lang="en-US"/>
        </a:p>
      </dgm:t>
    </dgm:pt>
    <dgm:pt modelId="{AAA26E03-9552-4357-B422-C9427E3C3877}" type="sibTrans" cxnId="{D144EEDD-F57B-4CB8-8736-6CFC686D43D7}">
      <dgm:prSet/>
      <dgm:spPr/>
      <dgm:t>
        <a:bodyPr/>
        <a:lstStyle/>
        <a:p>
          <a:endParaRPr lang="en-US"/>
        </a:p>
      </dgm:t>
    </dgm:pt>
    <dgm:pt modelId="{F3DC567C-0E01-4CDC-83A4-B9B8A704DC83}" type="pres">
      <dgm:prSet presAssocID="{0546DF13-E544-4FD2-BD1E-6D7B6040BCDD}" presName="Name0" presStyleCnt="0">
        <dgm:presLayoutVars>
          <dgm:dir/>
          <dgm:animLvl val="lvl"/>
          <dgm:resizeHandles val="exact"/>
        </dgm:presLayoutVars>
      </dgm:prSet>
      <dgm:spPr/>
    </dgm:pt>
    <dgm:pt modelId="{55526BF8-14E4-4C81-B12A-B7BCB433599B}" type="pres">
      <dgm:prSet presAssocID="{C03F6152-A7A9-4CE1-AD50-67962DF9EF7F}" presName="boxAndChildren" presStyleCnt="0"/>
      <dgm:spPr/>
    </dgm:pt>
    <dgm:pt modelId="{2D0EDD0C-69E0-45E3-872B-7EB670306471}" type="pres">
      <dgm:prSet presAssocID="{C03F6152-A7A9-4CE1-AD50-67962DF9EF7F}" presName="parentTextBox" presStyleLbl="node1" presStyleIdx="0" presStyleCnt="4"/>
      <dgm:spPr/>
    </dgm:pt>
    <dgm:pt modelId="{84CF18FA-27F2-4F98-A93B-846DFF87CDF7}" type="pres">
      <dgm:prSet presAssocID="{BA18D667-06C5-4CA5-A596-E4ED835691E7}" presName="sp" presStyleCnt="0"/>
      <dgm:spPr/>
    </dgm:pt>
    <dgm:pt modelId="{1F64300A-8B3F-45ED-99F1-196D2CAE7566}" type="pres">
      <dgm:prSet presAssocID="{7D6E8406-033D-4E49-943F-AA44A7AE8BA6}" presName="arrowAndChildren" presStyleCnt="0"/>
      <dgm:spPr/>
    </dgm:pt>
    <dgm:pt modelId="{ADC7C4BC-5F4E-4B61-9AEF-39A31716CFCE}" type="pres">
      <dgm:prSet presAssocID="{7D6E8406-033D-4E49-943F-AA44A7AE8BA6}" presName="parentTextArrow" presStyleLbl="node1" presStyleIdx="0" presStyleCnt="4"/>
      <dgm:spPr/>
    </dgm:pt>
    <dgm:pt modelId="{5AA93A47-7755-49BC-A004-6D316695D233}" type="pres">
      <dgm:prSet presAssocID="{7D6E8406-033D-4E49-943F-AA44A7AE8BA6}" presName="arrow" presStyleLbl="node1" presStyleIdx="1" presStyleCnt="4"/>
      <dgm:spPr/>
    </dgm:pt>
    <dgm:pt modelId="{51BAC581-559D-4EB9-9EEF-FD7350C17904}" type="pres">
      <dgm:prSet presAssocID="{7D6E8406-033D-4E49-943F-AA44A7AE8BA6}" presName="descendantArrow" presStyleCnt="0"/>
      <dgm:spPr/>
    </dgm:pt>
    <dgm:pt modelId="{3A17F41C-8BC8-40A0-ABA7-4A7F0F6BD34D}" type="pres">
      <dgm:prSet presAssocID="{B8987DF6-3274-49DD-9ADC-ABB8626F0C1D}" presName="childTextArrow" presStyleLbl="fgAccFollowNode1" presStyleIdx="0" presStyleCnt="12" custLinFactNeighborY="4960">
        <dgm:presLayoutVars>
          <dgm:bulletEnabled val="1"/>
        </dgm:presLayoutVars>
      </dgm:prSet>
      <dgm:spPr/>
    </dgm:pt>
    <dgm:pt modelId="{5D6E0880-A92D-4C0D-AC7D-D95A6EFD6A5E}" type="pres">
      <dgm:prSet presAssocID="{03C40C82-38B5-4AA9-B3DD-4F3B89AE1E27}" presName="childTextArrow" presStyleLbl="fgAccFollowNode1" presStyleIdx="1" presStyleCnt="12">
        <dgm:presLayoutVars>
          <dgm:bulletEnabled val="1"/>
        </dgm:presLayoutVars>
      </dgm:prSet>
      <dgm:spPr/>
    </dgm:pt>
    <dgm:pt modelId="{42C6F580-FC1D-4E92-BA1F-5BEF34608113}" type="pres">
      <dgm:prSet presAssocID="{54E1CDF5-3BA5-482E-8738-B37823C66326}" presName="childTextArrow" presStyleLbl="fgAccFollowNode1" presStyleIdx="2" presStyleCnt="12">
        <dgm:presLayoutVars>
          <dgm:bulletEnabled val="1"/>
        </dgm:presLayoutVars>
      </dgm:prSet>
      <dgm:spPr/>
    </dgm:pt>
    <dgm:pt modelId="{3F77393B-FEC0-4E98-A758-C7280CA72F1E}" type="pres">
      <dgm:prSet presAssocID="{C81CF849-5C21-4DBF-8B37-1B30FEF8C502}" presName="childTextArrow" presStyleLbl="fgAccFollowNode1" presStyleIdx="3" presStyleCnt="12">
        <dgm:presLayoutVars>
          <dgm:bulletEnabled val="1"/>
        </dgm:presLayoutVars>
      </dgm:prSet>
      <dgm:spPr/>
    </dgm:pt>
    <dgm:pt modelId="{6C84AE8C-6DB2-4B6F-8E9C-68156B97247C}" type="pres">
      <dgm:prSet presAssocID="{BAF1B683-89BF-4FBC-97A8-E7A55C262768}" presName="sp" presStyleCnt="0"/>
      <dgm:spPr/>
    </dgm:pt>
    <dgm:pt modelId="{03E33194-CEDC-477F-825E-6B8EE2B15E45}" type="pres">
      <dgm:prSet presAssocID="{AD615AAB-E0B5-4E8D-9556-1E84683DAFE3}" presName="arrowAndChildren" presStyleCnt="0"/>
      <dgm:spPr/>
    </dgm:pt>
    <dgm:pt modelId="{AE63609C-A315-4712-B2A0-FABDD019040A}" type="pres">
      <dgm:prSet presAssocID="{AD615AAB-E0B5-4E8D-9556-1E84683DAFE3}" presName="parentTextArrow" presStyleLbl="node1" presStyleIdx="1" presStyleCnt="4"/>
      <dgm:spPr/>
    </dgm:pt>
    <dgm:pt modelId="{0B2CF084-696E-4FF0-9A3F-BAA52F684429}" type="pres">
      <dgm:prSet presAssocID="{AD615AAB-E0B5-4E8D-9556-1E84683DAFE3}" presName="arrow" presStyleLbl="node1" presStyleIdx="2" presStyleCnt="4"/>
      <dgm:spPr/>
    </dgm:pt>
    <dgm:pt modelId="{3EA82ED4-C499-4DEF-8571-1E3D0F516543}" type="pres">
      <dgm:prSet presAssocID="{AD615AAB-E0B5-4E8D-9556-1E84683DAFE3}" presName="descendantArrow" presStyleCnt="0"/>
      <dgm:spPr/>
    </dgm:pt>
    <dgm:pt modelId="{E18F0C12-6909-47A9-B956-2A02E0609010}" type="pres">
      <dgm:prSet presAssocID="{F637D8A7-73B8-4AA5-9424-B13EF1EB3251}" presName="childTextArrow" presStyleLbl="fgAccFollowNode1" presStyleIdx="4" presStyleCnt="12">
        <dgm:presLayoutVars>
          <dgm:bulletEnabled val="1"/>
        </dgm:presLayoutVars>
      </dgm:prSet>
      <dgm:spPr/>
    </dgm:pt>
    <dgm:pt modelId="{F3EEB615-C4D7-45D4-975A-F25001713CE3}" type="pres">
      <dgm:prSet presAssocID="{8B80DC76-9C20-4A57-8F24-ADE70EB23EE5}" presName="childTextArrow" presStyleLbl="fgAccFollowNode1" presStyleIdx="5" presStyleCnt="12">
        <dgm:presLayoutVars>
          <dgm:bulletEnabled val="1"/>
        </dgm:presLayoutVars>
      </dgm:prSet>
      <dgm:spPr/>
    </dgm:pt>
    <dgm:pt modelId="{9D3804D1-0C44-4AE5-8583-2A45AF54F686}" type="pres">
      <dgm:prSet presAssocID="{E352F10F-89F8-4CF6-ADA8-A63D61CE36F3}" presName="sp" presStyleCnt="0"/>
      <dgm:spPr/>
    </dgm:pt>
    <dgm:pt modelId="{9C6F2D27-FA30-4CF4-AB61-AC91303A0951}" type="pres">
      <dgm:prSet presAssocID="{AEA7EC16-CD35-4152-93B4-D63745398546}" presName="arrowAndChildren" presStyleCnt="0"/>
      <dgm:spPr/>
    </dgm:pt>
    <dgm:pt modelId="{BDD41D20-6310-4EF5-81EC-D74D38778415}" type="pres">
      <dgm:prSet presAssocID="{AEA7EC16-CD35-4152-93B4-D63745398546}" presName="parentTextArrow" presStyleLbl="node1" presStyleIdx="2" presStyleCnt="4"/>
      <dgm:spPr/>
    </dgm:pt>
    <dgm:pt modelId="{798F178E-12B4-456B-9274-F7F4D4413C81}" type="pres">
      <dgm:prSet presAssocID="{AEA7EC16-CD35-4152-93B4-D63745398546}" presName="arrow" presStyleLbl="node1" presStyleIdx="3" presStyleCnt="4" custLinFactNeighborX="-909"/>
      <dgm:spPr/>
    </dgm:pt>
    <dgm:pt modelId="{426F3A19-EF5F-4A6D-BEF1-81B0150DA7CB}" type="pres">
      <dgm:prSet presAssocID="{AEA7EC16-CD35-4152-93B4-D63745398546}" presName="descendantArrow" presStyleCnt="0"/>
      <dgm:spPr/>
    </dgm:pt>
    <dgm:pt modelId="{AC19E955-13B1-44F5-868E-7E087FABC4D0}" type="pres">
      <dgm:prSet presAssocID="{474171BF-1287-4727-B635-AFED0D4C97DF}" presName="childTextArrow" presStyleLbl="fgAccFollowNode1" presStyleIdx="6" presStyleCnt="12">
        <dgm:presLayoutVars>
          <dgm:bulletEnabled val="1"/>
        </dgm:presLayoutVars>
      </dgm:prSet>
      <dgm:spPr/>
    </dgm:pt>
    <dgm:pt modelId="{17206E56-3C8A-49B5-A623-4FC4E49B1EEB}" type="pres">
      <dgm:prSet presAssocID="{12FEE985-4F82-4769-A7B3-47085BAF2E03}" presName="childTextArrow" presStyleLbl="fgAccFollowNode1" presStyleIdx="7" presStyleCnt="12">
        <dgm:presLayoutVars>
          <dgm:bulletEnabled val="1"/>
        </dgm:presLayoutVars>
      </dgm:prSet>
      <dgm:spPr/>
    </dgm:pt>
    <dgm:pt modelId="{59DA1281-879A-4EC1-8264-5B783E491650}" type="pres">
      <dgm:prSet presAssocID="{E04B2AF6-84A3-4D53-9004-B663DC5C84F2}" presName="childTextArrow" presStyleLbl="fgAccFollowNode1" presStyleIdx="8" presStyleCnt="12">
        <dgm:presLayoutVars>
          <dgm:bulletEnabled val="1"/>
        </dgm:presLayoutVars>
      </dgm:prSet>
      <dgm:spPr/>
    </dgm:pt>
    <dgm:pt modelId="{C61AD952-D9B5-4EE4-98DB-5CEFE022F1CB}" type="pres">
      <dgm:prSet presAssocID="{0796875B-2D67-4ED7-BB2D-43AAB6D40685}" presName="childTextArrow" presStyleLbl="fgAccFollowNode1" presStyleIdx="9" presStyleCnt="12">
        <dgm:presLayoutVars>
          <dgm:bulletEnabled val="1"/>
        </dgm:presLayoutVars>
      </dgm:prSet>
      <dgm:spPr/>
    </dgm:pt>
    <dgm:pt modelId="{18F85713-3AA6-457A-BB92-9EEC155E1A66}" type="pres">
      <dgm:prSet presAssocID="{A5E448CF-7C00-4693-83F1-A7AB9447DAF3}" presName="childTextArrow" presStyleLbl="fgAccFollowNode1" presStyleIdx="10" presStyleCnt="12">
        <dgm:presLayoutVars>
          <dgm:bulletEnabled val="1"/>
        </dgm:presLayoutVars>
      </dgm:prSet>
      <dgm:spPr/>
    </dgm:pt>
    <dgm:pt modelId="{9A53EFED-27DF-42A6-A3B0-13BFB2E114D4}" type="pres">
      <dgm:prSet presAssocID="{D98B26C5-F6E4-4443-A07E-EB05D189B5D6}" presName="childTextArrow" presStyleLbl="fgAccFollowNode1" presStyleIdx="11" presStyleCnt="12">
        <dgm:presLayoutVars>
          <dgm:bulletEnabled val="1"/>
        </dgm:presLayoutVars>
      </dgm:prSet>
      <dgm:spPr/>
    </dgm:pt>
  </dgm:ptLst>
  <dgm:cxnLst>
    <dgm:cxn modelId="{53DEEA01-C120-4882-B375-7301C6A1B7C0}" type="presOf" srcId="{E04B2AF6-84A3-4D53-9004-B663DC5C84F2}" destId="{59DA1281-879A-4EC1-8264-5B783E491650}" srcOrd="0" destOrd="0" presId="urn:microsoft.com/office/officeart/2005/8/layout/process4"/>
    <dgm:cxn modelId="{0DF72B05-9559-415B-B57A-9CA80B73D17B}" srcId="{AD615AAB-E0B5-4E8D-9556-1E84683DAFE3}" destId="{8B80DC76-9C20-4A57-8F24-ADE70EB23EE5}" srcOrd="1" destOrd="0" parTransId="{E518F93F-9A2F-4554-B955-D4DA751F098F}" sibTransId="{6292AA4C-B968-4545-9F9D-F8BD381B9891}"/>
    <dgm:cxn modelId="{3BE63114-824E-49D2-AD9C-F03B32647828}" srcId="{0546DF13-E544-4FD2-BD1E-6D7B6040BCDD}" destId="{C03F6152-A7A9-4CE1-AD50-67962DF9EF7F}" srcOrd="3" destOrd="0" parTransId="{08EF0BA0-107C-44FB-9F82-341A4FAD6775}" sibTransId="{3B03AD2F-CA8A-4B08-AE79-B9B48AF74073}"/>
    <dgm:cxn modelId="{6BD43015-D2D9-4EFC-A425-9169BAF6EEE4}" type="presOf" srcId="{8B80DC76-9C20-4A57-8F24-ADE70EB23EE5}" destId="{F3EEB615-C4D7-45D4-975A-F25001713CE3}" srcOrd="0" destOrd="0" presId="urn:microsoft.com/office/officeart/2005/8/layout/process4"/>
    <dgm:cxn modelId="{B3AE8F1B-7162-4FC8-91CE-88ED3AFD18BF}" srcId="{7D6E8406-033D-4E49-943F-AA44A7AE8BA6}" destId="{54E1CDF5-3BA5-482E-8738-B37823C66326}" srcOrd="2" destOrd="0" parTransId="{908BEA6C-B33E-4D30-AECB-ECC8471143A6}" sibTransId="{382472A0-9265-463E-B68A-C2896D23023B}"/>
    <dgm:cxn modelId="{ACBBC01C-EFAF-46B2-B9D7-D73CB1ED9F6D}" type="presOf" srcId="{D98B26C5-F6E4-4443-A07E-EB05D189B5D6}" destId="{9A53EFED-27DF-42A6-A3B0-13BFB2E114D4}" srcOrd="0" destOrd="0" presId="urn:microsoft.com/office/officeart/2005/8/layout/process4"/>
    <dgm:cxn modelId="{FAE1341E-EB6C-4678-8B65-43D38659FDE7}" type="presOf" srcId="{0546DF13-E544-4FD2-BD1E-6D7B6040BCDD}" destId="{F3DC567C-0E01-4CDC-83A4-B9B8A704DC83}" srcOrd="0" destOrd="0" presId="urn:microsoft.com/office/officeart/2005/8/layout/process4"/>
    <dgm:cxn modelId="{8EB3B21E-5539-4080-9029-70C3B4485524}" type="presOf" srcId="{F637D8A7-73B8-4AA5-9424-B13EF1EB3251}" destId="{E18F0C12-6909-47A9-B956-2A02E0609010}" srcOrd="0" destOrd="0" presId="urn:microsoft.com/office/officeart/2005/8/layout/process4"/>
    <dgm:cxn modelId="{DA808623-C19E-4BA6-AD51-4BEEDC227A8D}" type="presOf" srcId="{AEA7EC16-CD35-4152-93B4-D63745398546}" destId="{798F178E-12B4-456B-9274-F7F4D4413C81}" srcOrd="1" destOrd="0" presId="urn:microsoft.com/office/officeart/2005/8/layout/process4"/>
    <dgm:cxn modelId="{F178EA2A-8455-47B2-B9BA-16E4D21C1B69}" srcId="{AEA7EC16-CD35-4152-93B4-D63745398546}" destId="{474171BF-1287-4727-B635-AFED0D4C97DF}" srcOrd="0" destOrd="0" parTransId="{EE882122-FE8B-42A8-9BF5-B384526FE877}" sibTransId="{F84DA00E-8B8B-4C45-8594-50921560EC19}"/>
    <dgm:cxn modelId="{443A3E38-0543-48AE-8D7A-06985DAC48CF}" type="presOf" srcId="{B8987DF6-3274-49DD-9ADC-ABB8626F0C1D}" destId="{3A17F41C-8BC8-40A0-ABA7-4A7F0F6BD34D}" srcOrd="0" destOrd="0" presId="urn:microsoft.com/office/officeart/2005/8/layout/process4"/>
    <dgm:cxn modelId="{3737153D-47F9-4154-B02B-1F8352DA9A0E}" srcId="{AEA7EC16-CD35-4152-93B4-D63745398546}" destId="{A5E448CF-7C00-4693-83F1-A7AB9447DAF3}" srcOrd="4" destOrd="0" parTransId="{AEAE08DA-78A0-496D-890C-7174D0DBB728}" sibTransId="{B6F6D9F6-52C7-462A-B28A-9F5127DA4F35}"/>
    <dgm:cxn modelId="{AA012B5E-06E2-4C7B-B430-D6F6D4ACCDD2}" srcId="{0546DF13-E544-4FD2-BD1E-6D7B6040BCDD}" destId="{AD615AAB-E0B5-4E8D-9556-1E84683DAFE3}" srcOrd="1" destOrd="0" parTransId="{53CF7792-635A-44CE-AEEA-6EA99493AED1}" sibTransId="{BAF1B683-89BF-4FBC-97A8-E7A55C262768}"/>
    <dgm:cxn modelId="{3C7CD645-9A05-42BD-A477-7946811C7F59}" srcId="{0546DF13-E544-4FD2-BD1E-6D7B6040BCDD}" destId="{AEA7EC16-CD35-4152-93B4-D63745398546}" srcOrd="0" destOrd="0" parTransId="{6D26EB0C-BA0D-4746-9AB2-68CD85CF68DE}" sibTransId="{E352F10F-89F8-4CF6-ADA8-A63D61CE36F3}"/>
    <dgm:cxn modelId="{E35C9F67-2DDF-471D-984F-2F482B86EEF0}" type="presOf" srcId="{C03F6152-A7A9-4CE1-AD50-67962DF9EF7F}" destId="{2D0EDD0C-69E0-45E3-872B-7EB670306471}" srcOrd="0" destOrd="0" presId="urn:microsoft.com/office/officeart/2005/8/layout/process4"/>
    <dgm:cxn modelId="{4BF79472-E6CF-467E-BD78-1C39A102F5F5}" type="presOf" srcId="{03C40C82-38B5-4AA9-B3DD-4F3B89AE1E27}" destId="{5D6E0880-A92D-4C0D-AC7D-D95A6EFD6A5E}" srcOrd="0" destOrd="0" presId="urn:microsoft.com/office/officeart/2005/8/layout/process4"/>
    <dgm:cxn modelId="{63138E73-AA26-4229-8AE3-87F9875AE170}" srcId="{8B80DC76-9C20-4A57-8F24-ADE70EB23EE5}" destId="{4D5AFC6C-E019-453F-B0A6-6DD56EF0FE4E}" srcOrd="0" destOrd="0" parTransId="{29580B34-ABE0-4139-A322-B7F980F5F005}" sibTransId="{C95A47ED-F264-4FB1-8B36-F678F1835840}"/>
    <dgm:cxn modelId="{1008C778-3089-460F-99C9-B9CA39183A03}" srcId="{AD615AAB-E0B5-4E8D-9556-1E84683DAFE3}" destId="{F637D8A7-73B8-4AA5-9424-B13EF1EB3251}" srcOrd="0" destOrd="0" parTransId="{4257D768-2A0F-44C6-983B-3359F64A7670}" sibTransId="{87073E87-7443-4AEB-9E14-82C22C11D577}"/>
    <dgm:cxn modelId="{2431B859-8A59-4936-AC78-1263E11A8F21}" srcId="{AEA7EC16-CD35-4152-93B4-D63745398546}" destId="{D98B26C5-F6E4-4443-A07E-EB05D189B5D6}" srcOrd="5" destOrd="0" parTransId="{0BA7C8F4-E189-42C6-86AD-8EAF71B2E6A3}" sibTransId="{32E4366F-2913-49DC-B5FD-5F1FE3973607}"/>
    <dgm:cxn modelId="{DC95285A-997A-4469-BCEC-8C6FE10BA1A5}" srcId="{AEA7EC16-CD35-4152-93B4-D63745398546}" destId="{12FEE985-4F82-4769-A7B3-47085BAF2E03}" srcOrd="1" destOrd="0" parTransId="{B2358773-40E5-4729-AEF5-E1DEEFA9D572}" sibTransId="{89B86615-773F-4828-B2A4-54992B06A4DB}"/>
    <dgm:cxn modelId="{BF71B15A-F3C1-4D64-9705-FB7A56A59CE7}" type="presOf" srcId="{A5E448CF-7C00-4693-83F1-A7AB9447DAF3}" destId="{18F85713-3AA6-457A-BB92-9EEC155E1A66}" srcOrd="0" destOrd="0" presId="urn:microsoft.com/office/officeart/2005/8/layout/process4"/>
    <dgm:cxn modelId="{F0C16F7B-ACBE-4007-B301-85CCEACCBE13}" type="presOf" srcId="{C4F3E740-612E-42AA-B546-A906AE47ECB3}" destId="{E18F0C12-6909-47A9-B956-2A02E0609010}" srcOrd="0" destOrd="1" presId="urn:microsoft.com/office/officeart/2005/8/layout/process4"/>
    <dgm:cxn modelId="{8112AC8E-CF9D-4614-A725-C170E4BD3B2A}" srcId="{AEA7EC16-CD35-4152-93B4-D63745398546}" destId="{0796875B-2D67-4ED7-BB2D-43AAB6D40685}" srcOrd="3" destOrd="0" parTransId="{EFA82048-CCE0-4543-8499-62D591D105B0}" sibTransId="{AF161BE0-8F6C-47A0-A3B7-EF11ABC8E09B}"/>
    <dgm:cxn modelId="{6522098F-FD2D-4D13-B4D6-948468065CEA}" type="presOf" srcId="{AD615AAB-E0B5-4E8D-9556-1E84683DAFE3}" destId="{AE63609C-A315-4712-B2A0-FABDD019040A}" srcOrd="0" destOrd="0" presId="urn:microsoft.com/office/officeart/2005/8/layout/process4"/>
    <dgm:cxn modelId="{5B696690-9959-43F7-9774-57FDD0729DF3}" srcId="{F637D8A7-73B8-4AA5-9424-B13EF1EB3251}" destId="{C4F3E740-612E-42AA-B546-A906AE47ECB3}" srcOrd="0" destOrd="0" parTransId="{94EF9FC2-A520-40A6-9264-6A9903E951F2}" sibTransId="{1890167E-1DE7-4AE2-B0F0-9FE553FFF866}"/>
    <dgm:cxn modelId="{C86E8397-88CA-42BE-9261-28968CB04813}" type="presOf" srcId="{7D6E8406-033D-4E49-943F-AA44A7AE8BA6}" destId="{ADC7C4BC-5F4E-4B61-9AEF-39A31716CFCE}" srcOrd="0" destOrd="0" presId="urn:microsoft.com/office/officeart/2005/8/layout/process4"/>
    <dgm:cxn modelId="{9E1B5E9F-A768-4C2E-A28C-8D9D8275A02D}" type="presOf" srcId="{4D5AFC6C-E019-453F-B0A6-6DD56EF0FE4E}" destId="{F3EEB615-C4D7-45D4-975A-F25001713CE3}" srcOrd="0" destOrd="1" presId="urn:microsoft.com/office/officeart/2005/8/layout/process4"/>
    <dgm:cxn modelId="{073DD29F-087A-4D6A-9FA3-8B19CAE8A4BE}" srcId="{7D6E8406-033D-4E49-943F-AA44A7AE8BA6}" destId="{03C40C82-38B5-4AA9-B3DD-4F3B89AE1E27}" srcOrd="1" destOrd="0" parTransId="{9E3544DD-2F6A-44B4-9636-876097C1457F}" sibTransId="{AAF1AE69-D13E-41FD-8673-70D59695308F}"/>
    <dgm:cxn modelId="{A5E1E4A5-C923-41A4-BB4A-2ABA654AEBEF}" type="presOf" srcId="{0796875B-2D67-4ED7-BB2D-43AAB6D40685}" destId="{C61AD952-D9B5-4EE4-98DB-5CEFE022F1CB}" srcOrd="0" destOrd="0" presId="urn:microsoft.com/office/officeart/2005/8/layout/process4"/>
    <dgm:cxn modelId="{A1C7F2A8-37B4-453D-B6A1-FF5ADFE5366D}" type="presOf" srcId="{AD615AAB-E0B5-4E8D-9556-1E84683DAFE3}" destId="{0B2CF084-696E-4FF0-9A3F-BAA52F684429}" srcOrd="1" destOrd="0" presId="urn:microsoft.com/office/officeart/2005/8/layout/process4"/>
    <dgm:cxn modelId="{B4D687B1-A9C6-4550-8C11-3E334440E139}" srcId="{7D6E8406-033D-4E49-943F-AA44A7AE8BA6}" destId="{B8987DF6-3274-49DD-9ADC-ABB8626F0C1D}" srcOrd="0" destOrd="0" parTransId="{87376A3C-5F98-41EC-951C-1D70BE5AA2BA}" sibTransId="{51C1246C-741A-450E-A0E5-484BDE487E5E}"/>
    <dgm:cxn modelId="{B6B3BCCA-5F57-40E1-B113-9D29AB8C04F6}" srcId="{0546DF13-E544-4FD2-BD1E-6D7B6040BCDD}" destId="{7D6E8406-033D-4E49-943F-AA44A7AE8BA6}" srcOrd="2" destOrd="0" parTransId="{7A9CFCBA-CD8B-4F3A-A1E1-6E4E2B007499}" sibTransId="{BA18D667-06C5-4CA5-A596-E4ED835691E7}"/>
    <dgm:cxn modelId="{69D053CD-42B8-443D-98F5-8402D435B3A2}" type="presOf" srcId="{54E1CDF5-3BA5-482E-8738-B37823C66326}" destId="{42C6F580-FC1D-4E92-BA1F-5BEF34608113}" srcOrd="0" destOrd="0" presId="urn:microsoft.com/office/officeart/2005/8/layout/process4"/>
    <dgm:cxn modelId="{D144EEDD-F57B-4CB8-8736-6CFC686D43D7}" srcId="{7D6E8406-033D-4E49-943F-AA44A7AE8BA6}" destId="{C81CF849-5C21-4DBF-8B37-1B30FEF8C502}" srcOrd="3" destOrd="0" parTransId="{7FBAAA08-E55D-48C3-AD22-9B14B971CF37}" sibTransId="{AAA26E03-9552-4357-B422-C9427E3C3877}"/>
    <dgm:cxn modelId="{2FC11DE3-9E86-4747-829D-3A958A945D12}" type="presOf" srcId="{C81CF849-5C21-4DBF-8B37-1B30FEF8C502}" destId="{3F77393B-FEC0-4E98-A758-C7280CA72F1E}" srcOrd="0" destOrd="0" presId="urn:microsoft.com/office/officeart/2005/8/layout/process4"/>
    <dgm:cxn modelId="{460AF0F1-C385-4B62-A37B-62739D4DA154}" srcId="{AEA7EC16-CD35-4152-93B4-D63745398546}" destId="{E04B2AF6-84A3-4D53-9004-B663DC5C84F2}" srcOrd="2" destOrd="0" parTransId="{774D0091-8B18-4875-99A5-88D557985476}" sibTransId="{D5B0926F-7A11-4475-A134-89BA3C6BE8D8}"/>
    <dgm:cxn modelId="{84A638F3-7CBE-4D40-9C14-DB7AB5DF111F}" type="presOf" srcId="{7D6E8406-033D-4E49-943F-AA44A7AE8BA6}" destId="{5AA93A47-7755-49BC-A004-6D316695D233}" srcOrd="1" destOrd="0" presId="urn:microsoft.com/office/officeart/2005/8/layout/process4"/>
    <dgm:cxn modelId="{2AFD0EF5-5E28-48D6-98A6-E4CA32D5B917}" type="presOf" srcId="{474171BF-1287-4727-B635-AFED0D4C97DF}" destId="{AC19E955-13B1-44F5-868E-7E087FABC4D0}" srcOrd="0" destOrd="0" presId="urn:microsoft.com/office/officeart/2005/8/layout/process4"/>
    <dgm:cxn modelId="{BB65CEFD-7E90-4C29-8A9A-03073BD76439}" type="presOf" srcId="{AEA7EC16-CD35-4152-93B4-D63745398546}" destId="{BDD41D20-6310-4EF5-81EC-D74D38778415}" srcOrd="0" destOrd="0" presId="urn:microsoft.com/office/officeart/2005/8/layout/process4"/>
    <dgm:cxn modelId="{B72751FE-30FE-4CFF-8260-01464BB601AE}" type="presOf" srcId="{12FEE985-4F82-4769-A7B3-47085BAF2E03}" destId="{17206E56-3C8A-49B5-A623-4FC4E49B1EEB}" srcOrd="0" destOrd="0" presId="urn:microsoft.com/office/officeart/2005/8/layout/process4"/>
    <dgm:cxn modelId="{AA5BF04F-B359-4D92-8612-E13F1C14C779}" type="presParOf" srcId="{F3DC567C-0E01-4CDC-83A4-B9B8A704DC83}" destId="{55526BF8-14E4-4C81-B12A-B7BCB433599B}" srcOrd="0" destOrd="0" presId="urn:microsoft.com/office/officeart/2005/8/layout/process4"/>
    <dgm:cxn modelId="{2D839274-D482-4B1B-B161-2415272374F0}" type="presParOf" srcId="{55526BF8-14E4-4C81-B12A-B7BCB433599B}" destId="{2D0EDD0C-69E0-45E3-872B-7EB670306471}" srcOrd="0" destOrd="0" presId="urn:microsoft.com/office/officeart/2005/8/layout/process4"/>
    <dgm:cxn modelId="{BBC43E38-0553-4D29-A6C3-62B606A24D57}" type="presParOf" srcId="{F3DC567C-0E01-4CDC-83A4-B9B8A704DC83}" destId="{84CF18FA-27F2-4F98-A93B-846DFF87CDF7}" srcOrd="1" destOrd="0" presId="urn:microsoft.com/office/officeart/2005/8/layout/process4"/>
    <dgm:cxn modelId="{A0EE107F-0997-4E70-B18C-B663B5384E82}" type="presParOf" srcId="{F3DC567C-0E01-4CDC-83A4-B9B8A704DC83}" destId="{1F64300A-8B3F-45ED-99F1-196D2CAE7566}" srcOrd="2" destOrd="0" presId="urn:microsoft.com/office/officeart/2005/8/layout/process4"/>
    <dgm:cxn modelId="{08A36560-596B-418D-A28C-8415E2D7F71D}" type="presParOf" srcId="{1F64300A-8B3F-45ED-99F1-196D2CAE7566}" destId="{ADC7C4BC-5F4E-4B61-9AEF-39A31716CFCE}" srcOrd="0" destOrd="0" presId="urn:microsoft.com/office/officeart/2005/8/layout/process4"/>
    <dgm:cxn modelId="{39A2A8F1-DF47-404D-B809-0DE26ABEA22A}" type="presParOf" srcId="{1F64300A-8B3F-45ED-99F1-196D2CAE7566}" destId="{5AA93A47-7755-49BC-A004-6D316695D233}" srcOrd="1" destOrd="0" presId="urn:microsoft.com/office/officeart/2005/8/layout/process4"/>
    <dgm:cxn modelId="{F4F5A25A-8248-4BA9-8BB1-64522BB10993}" type="presParOf" srcId="{1F64300A-8B3F-45ED-99F1-196D2CAE7566}" destId="{51BAC581-559D-4EB9-9EEF-FD7350C17904}" srcOrd="2" destOrd="0" presId="urn:microsoft.com/office/officeart/2005/8/layout/process4"/>
    <dgm:cxn modelId="{08C95094-B6BB-4DEA-B443-F9A27413469C}" type="presParOf" srcId="{51BAC581-559D-4EB9-9EEF-FD7350C17904}" destId="{3A17F41C-8BC8-40A0-ABA7-4A7F0F6BD34D}" srcOrd="0" destOrd="0" presId="urn:microsoft.com/office/officeart/2005/8/layout/process4"/>
    <dgm:cxn modelId="{54C4641D-6593-4EE9-B25C-84E9D5D99008}" type="presParOf" srcId="{51BAC581-559D-4EB9-9EEF-FD7350C17904}" destId="{5D6E0880-A92D-4C0D-AC7D-D95A6EFD6A5E}" srcOrd="1" destOrd="0" presId="urn:microsoft.com/office/officeart/2005/8/layout/process4"/>
    <dgm:cxn modelId="{86012F02-5E1E-4A10-B829-6F44ECAFA4F8}" type="presParOf" srcId="{51BAC581-559D-4EB9-9EEF-FD7350C17904}" destId="{42C6F580-FC1D-4E92-BA1F-5BEF34608113}" srcOrd="2" destOrd="0" presId="urn:microsoft.com/office/officeart/2005/8/layout/process4"/>
    <dgm:cxn modelId="{F6161545-E6B0-494D-A04C-90B49FDEA2A4}" type="presParOf" srcId="{51BAC581-559D-4EB9-9EEF-FD7350C17904}" destId="{3F77393B-FEC0-4E98-A758-C7280CA72F1E}" srcOrd="3" destOrd="0" presId="urn:microsoft.com/office/officeart/2005/8/layout/process4"/>
    <dgm:cxn modelId="{C16428C2-8120-4B9A-99B3-240480607CC9}" type="presParOf" srcId="{F3DC567C-0E01-4CDC-83A4-B9B8A704DC83}" destId="{6C84AE8C-6DB2-4B6F-8E9C-68156B97247C}" srcOrd="3" destOrd="0" presId="urn:microsoft.com/office/officeart/2005/8/layout/process4"/>
    <dgm:cxn modelId="{2BEC688D-45E1-4303-982B-2279293A5056}" type="presParOf" srcId="{F3DC567C-0E01-4CDC-83A4-B9B8A704DC83}" destId="{03E33194-CEDC-477F-825E-6B8EE2B15E45}" srcOrd="4" destOrd="0" presId="urn:microsoft.com/office/officeart/2005/8/layout/process4"/>
    <dgm:cxn modelId="{FB8A5D97-BF2A-4FA3-842A-00BF83FF8265}" type="presParOf" srcId="{03E33194-CEDC-477F-825E-6B8EE2B15E45}" destId="{AE63609C-A315-4712-B2A0-FABDD019040A}" srcOrd="0" destOrd="0" presId="urn:microsoft.com/office/officeart/2005/8/layout/process4"/>
    <dgm:cxn modelId="{3F1C2068-B7EC-4CA2-BB5E-D8A151EE8B02}" type="presParOf" srcId="{03E33194-CEDC-477F-825E-6B8EE2B15E45}" destId="{0B2CF084-696E-4FF0-9A3F-BAA52F684429}" srcOrd="1" destOrd="0" presId="urn:microsoft.com/office/officeart/2005/8/layout/process4"/>
    <dgm:cxn modelId="{B437F80F-2CFA-4F3F-B6C9-4002B83CDF8C}" type="presParOf" srcId="{03E33194-CEDC-477F-825E-6B8EE2B15E45}" destId="{3EA82ED4-C499-4DEF-8571-1E3D0F516543}" srcOrd="2" destOrd="0" presId="urn:microsoft.com/office/officeart/2005/8/layout/process4"/>
    <dgm:cxn modelId="{8E7DF1DC-E81F-4C99-AF6B-1562D4CA73F4}" type="presParOf" srcId="{3EA82ED4-C499-4DEF-8571-1E3D0F516543}" destId="{E18F0C12-6909-47A9-B956-2A02E0609010}" srcOrd="0" destOrd="0" presId="urn:microsoft.com/office/officeart/2005/8/layout/process4"/>
    <dgm:cxn modelId="{783C9A7A-725D-4967-888A-7A8FBC981143}" type="presParOf" srcId="{3EA82ED4-C499-4DEF-8571-1E3D0F516543}" destId="{F3EEB615-C4D7-45D4-975A-F25001713CE3}" srcOrd="1" destOrd="0" presId="urn:microsoft.com/office/officeart/2005/8/layout/process4"/>
    <dgm:cxn modelId="{6B158271-607A-44C6-914B-624560EF40F9}" type="presParOf" srcId="{F3DC567C-0E01-4CDC-83A4-B9B8A704DC83}" destId="{9D3804D1-0C44-4AE5-8583-2A45AF54F686}" srcOrd="5" destOrd="0" presId="urn:microsoft.com/office/officeart/2005/8/layout/process4"/>
    <dgm:cxn modelId="{96B7703A-334E-4E56-A823-B4709D9FD38D}" type="presParOf" srcId="{F3DC567C-0E01-4CDC-83A4-B9B8A704DC83}" destId="{9C6F2D27-FA30-4CF4-AB61-AC91303A0951}" srcOrd="6" destOrd="0" presId="urn:microsoft.com/office/officeart/2005/8/layout/process4"/>
    <dgm:cxn modelId="{48EF3BAF-073A-4940-8DB2-17E2BCBA5DEE}" type="presParOf" srcId="{9C6F2D27-FA30-4CF4-AB61-AC91303A0951}" destId="{BDD41D20-6310-4EF5-81EC-D74D38778415}" srcOrd="0" destOrd="0" presId="urn:microsoft.com/office/officeart/2005/8/layout/process4"/>
    <dgm:cxn modelId="{E6D33F02-7871-4AC8-B7D1-58103492CC66}" type="presParOf" srcId="{9C6F2D27-FA30-4CF4-AB61-AC91303A0951}" destId="{798F178E-12B4-456B-9274-F7F4D4413C81}" srcOrd="1" destOrd="0" presId="urn:microsoft.com/office/officeart/2005/8/layout/process4"/>
    <dgm:cxn modelId="{04A1FC9E-B49C-4C64-BCFF-FBBB386F05BE}" type="presParOf" srcId="{9C6F2D27-FA30-4CF4-AB61-AC91303A0951}" destId="{426F3A19-EF5F-4A6D-BEF1-81B0150DA7CB}" srcOrd="2" destOrd="0" presId="urn:microsoft.com/office/officeart/2005/8/layout/process4"/>
    <dgm:cxn modelId="{6C53BC50-95B9-496E-AA9B-3C0D0C85661C}" type="presParOf" srcId="{426F3A19-EF5F-4A6D-BEF1-81B0150DA7CB}" destId="{AC19E955-13B1-44F5-868E-7E087FABC4D0}" srcOrd="0" destOrd="0" presId="urn:microsoft.com/office/officeart/2005/8/layout/process4"/>
    <dgm:cxn modelId="{ADFBABC2-A495-42F2-995F-D1E8ABC7BD5F}" type="presParOf" srcId="{426F3A19-EF5F-4A6D-BEF1-81B0150DA7CB}" destId="{17206E56-3C8A-49B5-A623-4FC4E49B1EEB}" srcOrd="1" destOrd="0" presId="urn:microsoft.com/office/officeart/2005/8/layout/process4"/>
    <dgm:cxn modelId="{9A76E5B9-D18D-4859-8FAF-7E2A490232CD}" type="presParOf" srcId="{426F3A19-EF5F-4A6D-BEF1-81B0150DA7CB}" destId="{59DA1281-879A-4EC1-8264-5B783E491650}" srcOrd="2" destOrd="0" presId="urn:microsoft.com/office/officeart/2005/8/layout/process4"/>
    <dgm:cxn modelId="{E3C4E03D-2E94-4391-AF3E-C7B4A3FC73D0}" type="presParOf" srcId="{426F3A19-EF5F-4A6D-BEF1-81B0150DA7CB}" destId="{C61AD952-D9B5-4EE4-98DB-5CEFE022F1CB}" srcOrd="3" destOrd="0" presId="urn:microsoft.com/office/officeart/2005/8/layout/process4"/>
    <dgm:cxn modelId="{81469AAF-CEC7-46B9-8EB2-21E02F1AA9AE}" type="presParOf" srcId="{426F3A19-EF5F-4A6D-BEF1-81B0150DA7CB}" destId="{18F85713-3AA6-457A-BB92-9EEC155E1A66}" srcOrd="4" destOrd="0" presId="urn:microsoft.com/office/officeart/2005/8/layout/process4"/>
    <dgm:cxn modelId="{A73196E7-597C-4AED-A5CA-838B22351342}" type="presParOf" srcId="{426F3A19-EF5F-4A6D-BEF1-81B0150DA7CB}" destId="{9A53EFED-27DF-42A6-A3B0-13BFB2E114D4}" srcOrd="5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31AC1D1-6B4D-474B-85FA-E0327651A0C5}" type="doc">
      <dgm:prSet loTypeId="urn:microsoft.com/office/officeart/2005/8/layout/pyramid2" loCatId="pyramid" qsTypeId="urn:microsoft.com/office/officeart/2005/8/quickstyle/3d7" qsCatId="3D" csTypeId="urn:microsoft.com/office/officeart/2005/8/colors/accent0_3" csCatId="mainScheme" phldr="1"/>
      <dgm:spPr/>
    </dgm:pt>
    <dgm:pt modelId="{8BF3F028-E710-4BFE-B6FE-BD6B7F15B18D}">
      <dgm:prSet phldrT="[Text]"/>
      <dgm:spPr>
        <a:xfrm>
          <a:off x="2927985" y="467316"/>
          <a:ext cx="3021330" cy="1100316"/>
        </a:xfrm>
        <a:prstGeom prst="roundRect">
          <a:avLst/>
        </a:prstGeom>
        <a:solidFill>
          <a:srgbClr val="FFE784"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570A3">
              <a:hueOff val="0"/>
              <a:satOff val="0"/>
              <a:lumOff val="0"/>
              <a:alphaOff val="0"/>
            </a:srgb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gm:spPr>
      <dgm:t>
        <a:bodyPr/>
        <a:lstStyle/>
        <a:p>
          <a:pPr algn="l"/>
          <a:r>
            <a:rPr lang="tr-TR" dirty="0">
              <a:solidFill>
                <a:srgbClr val="FF0000"/>
              </a:solidFill>
              <a:latin typeface="Segoe UI"/>
              <a:ea typeface="+mn-ea"/>
              <a:cs typeface="+mn-cs"/>
            </a:rPr>
            <a:t>200912010099001310010000001</a:t>
          </a:r>
          <a:br>
            <a:rPr lang="tr-TR" dirty="0">
              <a:solidFill>
                <a:srgbClr val="FF0000"/>
              </a:solidFill>
              <a:latin typeface="Segoe UI"/>
              <a:ea typeface="+mn-ea"/>
              <a:cs typeface="+mn-cs"/>
            </a:rPr>
          </a:br>
          <a:r>
            <a:rPr lang="tr-TR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-&gt;Did Balance Inquiry</a:t>
          </a:r>
          <a:b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endParaRPr lang="tr-TR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Segoe UI"/>
            <a:ea typeface="+mn-ea"/>
            <a:cs typeface="+mn-cs"/>
          </a:endParaRPr>
        </a:p>
      </dgm:t>
    </dgm:pt>
    <dgm:pt modelId="{20572F4C-9CCC-4195-8CE2-08E321EAAA4E}" type="parTrans" cxnId="{FA85771F-5094-4D73-8543-0D21EB26CB77}">
      <dgm:prSet/>
      <dgm:spPr/>
      <dgm:t>
        <a:bodyPr/>
        <a:lstStyle/>
        <a:p>
          <a:endParaRPr lang="tr-TR"/>
        </a:p>
      </dgm:t>
    </dgm:pt>
    <dgm:pt modelId="{FAF8C835-208F-4251-BE70-0EC393386D12}" type="sibTrans" cxnId="{FA85771F-5094-4D73-8543-0D21EB26CB77}">
      <dgm:prSet/>
      <dgm:spPr/>
      <dgm:t>
        <a:bodyPr/>
        <a:lstStyle/>
        <a:p>
          <a:endParaRPr lang="tr-TR"/>
        </a:p>
      </dgm:t>
    </dgm:pt>
    <dgm:pt modelId="{1ED9BF0A-273E-4FEF-9507-A739BDBA18D2}">
      <dgm:prSet phldrT="[Text]"/>
      <dgm:spPr>
        <a:xfrm>
          <a:off x="2927985" y="1705172"/>
          <a:ext cx="3021330" cy="1100316"/>
        </a:xfrm>
        <a:prstGeom prst="roundRect">
          <a:avLst/>
        </a:prstGeom>
        <a:solidFill>
          <a:srgbClr val="FFE784"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570A3">
              <a:hueOff val="0"/>
              <a:satOff val="0"/>
              <a:lumOff val="0"/>
              <a:alphaOff val="0"/>
            </a:srgb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gm:spPr>
      <dgm:t>
        <a:bodyPr/>
        <a:lstStyle/>
        <a:p>
          <a:pPr algn="l"/>
          <a:r>
            <a:rPr lang="tr-TR" dirty="0">
              <a:solidFill>
                <a:srgbClr val="FF0000"/>
              </a:solidFill>
              <a:latin typeface="Segoe UI"/>
              <a:ea typeface="+mn-ea"/>
              <a:cs typeface="+mn-cs"/>
            </a:rPr>
            <a:t>200912010099001310010000001</a:t>
          </a:r>
          <a:b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Balance Inquiry</a:t>
          </a:r>
          <a:b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-&gt;</a:t>
          </a:r>
          <a:r>
            <a:rPr lang="tr-TR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Table Insert</a:t>
          </a:r>
        </a:p>
      </dgm:t>
    </dgm:pt>
    <dgm:pt modelId="{C9A70C70-2239-4DC5-A811-A3FDCC3E2F87}" type="parTrans" cxnId="{A73DC6E0-2DA7-4311-BD2C-9547FCA6F37E}">
      <dgm:prSet/>
      <dgm:spPr/>
      <dgm:t>
        <a:bodyPr/>
        <a:lstStyle/>
        <a:p>
          <a:endParaRPr lang="tr-TR"/>
        </a:p>
      </dgm:t>
    </dgm:pt>
    <dgm:pt modelId="{CCF5EC4C-1DFC-48FD-A695-D2802003CAEC}" type="sibTrans" cxnId="{A73DC6E0-2DA7-4311-BD2C-9547FCA6F37E}">
      <dgm:prSet/>
      <dgm:spPr/>
      <dgm:t>
        <a:bodyPr/>
        <a:lstStyle/>
        <a:p>
          <a:endParaRPr lang="tr-TR"/>
        </a:p>
      </dgm:t>
    </dgm:pt>
    <dgm:pt modelId="{E705B5D7-C25C-4522-8C19-281102237E0A}">
      <dgm:prSet phldrT="[Text]"/>
      <dgm:spPr>
        <a:xfrm>
          <a:off x="2927985" y="2943027"/>
          <a:ext cx="3021330" cy="1100316"/>
        </a:xfrm>
        <a:prstGeom prst="roundRect">
          <a:avLst/>
        </a:prstGeom>
        <a:solidFill>
          <a:srgbClr val="FFE784"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570A3">
              <a:hueOff val="0"/>
              <a:satOff val="0"/>
              <a:lumOff val="0"/>
              <a:alphaOff val="0"/>
            </a:srgb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gm:spPr>
      <dgm:t>
        <a:bodyPr/>
        <a:lstStyle/>
        <a:p>
          <a:pPr algn="l"/>
          <a:r>
            <a:rPr lang="tr-TR" dirty="0">
              <a:solidFill>
                <a:srgbClr val="FF0000"/>
              </a:solidFill>
              <a:latin typeface="Segoe UI"/>
              <a:ea typeface="+mn-ea"/>
              <a:cs typeface="+mn-cs"/>
            </a:rPr>
            <a:t>200912010099001310010000001</a:t>
          </a:r>
          <a:b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Balance Inquiry</a:t>
          </a:r>
          <a:br>
            <a:rPr lang="tr-TR" b="1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Table Insert</a:t>
          </a:r>
          <a:b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-&gt;</a:t>
          </a:r>
          <a:r>
            <a:rPr lang="tr-TR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Accounting&amp;Commission</a:t>
          </a:r>
        </a:p>
      </dgm:t>
    </dgm:pt>
    <dgm:pt modelId="{419D70DE-753C-4E58-9CBE-441DBB39B9CA}" type="parTrans" cxnId="{2C033D7F-2087-4107-8B13-4D560F7CCC8D}">
      <dgm:prSet/>
      <dgm:spPr/>
      <dgm:t>
        <a:bodyPr/>
        <a:lstStyle/>
        <a:p>
          <a:endParaRPr lang="tr-TR"/>
        </a:p>
      </dgm:t>
    </dgm:pt>
    <dgm:pt modelId="{CD5D45C1-F725-4890-8E2C-BD02F2EC6BEE}" type="sibTrans" cxnId="{2C033D7F-2087-4107-8B13-4D560F7CCC8D}">
      <dgm:prSet/>
      <dgm:spPr/>
      <dgm:t>
        <a:bodyPr/>
        <a:lstStyle/>
        <a:p>
          <a:endParaRPr lang="tr-TR"/>
        </a:p>
      </dgm:t>
    </dgm:pt>
    <dgm:pt modelId="{44DD03F2-7991-40FA-AB0E-A911C5628BC3}" type="pres">
      <dgm:prSet presAssocID="{531AC1D1-6B4D-474B-85FA-E0327651A0C5}" presName="compositeShape" presStyleCnt="0">
        <dgm:presLayoutVars>
          <dgm:dir/>
          <dgm:resizeHandles/>
        </dgm:presLayoutVars>
      </dgm:prSet>
      <dgm:spPr/>
    </dgm:pt>
    <dgm:pt modelId="{27CE3263-B591-4F6D-A9FB-379C1EE88DE3}" type="pres">
      <dgm:prSet presAssocID="{531AC1D1-6B4D-474B-85FA-E0327651A0C5}" presName="pyramid" presStyleLbl="node1" presStyleIdx="0" presStyleCnt="1" custLinFactNeighborX="3402"/>
      <dgm:spPr>
        <a:xfrm>
          <a:off x="762016" y="0"/>
          <a:ext cx="4648200" cy="4648200"/>
        </a:xfrm>
        <a:prstGeom prst="triangle">
          <a:avLst/>
        </a:prstGeom>
        <a:solidFill>
          <a:srgbClr val="2570A3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gm:spPr>
    </dgm:pt>
    <dgm:pt modelId="{65C2221F-23FF-48CD-912C-2B41D616C191}" type="pres">
      <dgm:prSet presAssocID="{531AC1D1-6B4D-474B-85FA-E0327651A0C5}" presName="theList" presStyleCnt="0"/>
      <dgm:spPr/>
    </dgm:pt>
    <dgm:pt modelId="{7E47144E-5E60-4984-B01A-F3AA18F544F8}" type="pres">
      <dgm:prSet presAssocID="{8BF3F028-E710-4BFE-B6FE-BD6B7F15B18D}" presName="aNode" presStyleLbl="fgAcc1" presStyleIdx="0" presStyleCnt="3">
        <dgm:presLayoutVars>
          <dgm:bulletEnabled val="1"/>
        </dgm:presLayoutVars>
      </dgm:prSet>
      <dgm:spPr/>
    </dgm:pt>
    <dgm:pt modelId="{8138FC8E-E2A2-4C51-91BA-CD363C341011}" type="pres">
      <dgm:prSet presAssocID="{8BF3F028-E710-4BFE-B6FE-BD6B7F15B18D}" presName="aSpace" presStyleCnt="0"/>
      <dgm:spPr/>
    </dgm:pt>
    <dgm:pt modelId="{C230037D-9E3A-47D5-B651-88E82A69781C}" type="pres">
      <dgm:prSet presAssocID="{1ED9BF0A-273E-4FEF-9507-A739BDBA18D2}" presName="aNode" presStyleLbl="fgAcc1" presStyleIdx="1" presStyleCnt="3">
        <dgm:presLayoutVars>
          <dgm:bulletEnabled val="1"/>
        </dgm:presLayoutVars>
      </dgm:prSet>
      <dgm:spPr/>
    </dgm:pt>
    <dgm:pt modelId="{553C888C-5F33-4901-A424-48DCA73014A0}" type="pres">
      <dgm:prSet presAssocID="{1ED9BF0A-273E-4FEF-9507-A739BDBA18D2}" presName="aSpace" presStyleCnt="0"/>
      <dgm:spPr/>
    </dgm:pt>
    <dgm:pt modelId="{3307E77E-97D0-4DCF-BBCC-65D725D712D6}" type="pres">
      <dgm:prSet presAssocID="{E705B5D7-C25C-4522-8C19-281102237E0A}" presName="aNode" presStyleLbl="fgAcc1" presStyleIdx="2" presStyleCnt="3">
        <dgm:presLayoutVars>
          <dgm:bulletEnabled val="1"/>
        </dgm:presLayoutVars>
      </dgm:prSet>
      <dgm:spPr/>
    </dgm:pt>
    <dgm:pt modelId="{97FDE9A2-8699-4C12-BE06-6EC1BDE9AFC9}" type="pres">
      <dgm:prSet presAssocID="{E705B5D7-C25C-4522-8C19-281102237E0A}" presName="aSpace" presStyleCnt="0"/>
      <dgm:spPr/>
    </dgm:pt>
  </dgm:ptLst>
  <dgm:cxnLst>
    <dgm:cxn modelId="{AE550104-EA3F-48E4-8064-0D88EEA20CCD}" type="presOf" srcId="{1ED9BF0A-273E-4FEF-9507-A739BDBA18D2}" destId="{C230037D-9E3A-47D5-B651-88E82A69781C}" srcOrd="0" destOrd="0" presId="urn:microsoft.com/office/officeart/2005/8/layout/pyramid2"/>
    <dgm:cxn modelId="{FA85771F-5094-4D73-8543-0D21EB26CB77}" srcId="{531AC1D1-6B4D-474B-85FA-E0327651A0C5}" destId="{8BF3F028-E710-4BFE-B6FE-BD6B7F15B18D}" srcOrd="0" destOrd="0" parTransId="{20572F4C-9CCC-4195-8CE2-08E321EAAA4E}" sibTransId="{FAF8C835-208F-4251-BE70-0EC393386D12}"/>
    <dgm:cxn modelId="{2C033D7F-2087-4107-8B13-4D560F7CCC8D}" srcId="{531AC1D1-6B4D-474B-85FA-E0327651A0C5}" destId="{E705B5D7-C25C-4522-8C19-281102237E0A}" srcOrd="2" destOrd="0" parTransId="{419D70DE-753C-4E58-9CBE-441DBB39B9CA}" sibTransId="{CD5D45C1-F725-4890-8E2C-BD02F2EC6BEE}"/>
    <dgm:cxn modelId="{037CDFBA-6207-4E35-BE58-51F572AC0DAD}" type="presOf" srcId="{531AC1D1-6B4D-474B-85FA-E0327651A0C5}" destId="{44DD03F2-7991-40FA-AB0E-A911C5628BC3}" srcOrd="0" destOrd="0" presId="urn:microsoft.com/office/officeart/2005/8/layout/pyramid2"/>
    <dgm:cxn modelId="{65A37DBB-4F0D-40CC-B528-86BB1DB7DD49}" type="presOf" srcId="{E705B5D7-C25C-4522-8C19-281102237E0A}" destId="{3307E77E-97D0-4DCF-BBCC-65D725D712D6}" srcOrd="0" destOrd="0" presId="urn:microsoft.com/office/officeart/2005/8/layout/pyramid2"/>
    <dgm:cxn modelId="{C2D941DB-9F62-43EC-8BAC-D144E4BEE9AB}" type="presOf" srcId="{8BF3F028-E710-4BFE-B6FE-BD6B7F15B18D}" destId="{7E47144E-5E60-4984-B01A-F3AA18F544F8}" srcOrd="0" destOrd="0" presId="urn:microsoft.com/office/officeart/2005/8/layout/pyramid2"/>
    <dgm:cxn modelId="{A73DC6E0-2DA7-4311-BD2C-9547FCA6F37E}" srcId="{531AC1D1-6B4D-474B-85FA-E0327651A0C5}" destId="{1ED9BF0A-273E-4FEF-9507-A739BDBA18D2}" srcOrd="1" destOrd="0" parTransId="{C9A70C70-2239-4DC5-A811-A3FDCC3E2F87}" sibTransId="{CCF5EC4C-1DFC-48FD-A695-D2802003CAEC}"/>
    <dgm:cxn modelId="{E518CE55-9E2E-4836-9E37-F31BF37E7447}" type="presParOf" srcId="{44DD03F2-7991-40FA-AB0E-A911C5628BC3}" destId="{27CE3263-B591-4F6D-A9FB-379C1EE88DE3}" srcOrd="0" destOrd="0" presId="urn:microsoft.com/office/officeart/2005/8/layout/pyramid2"/>
    <dgm:cxn modelId="{D0164919-20E9-4404-8005-C83997808F3C}" type="presParOf" srcId="{44DD03F2-7991-40FA-AB0E-A911C5628BC3}" destId="{65C2221F-23FF-48CD-912C-2B41D616C191}" srcOrd="1" destOrd="0" presId="urn:microsoft.com/office/officeart/2005/8/layout/pyramid2"/>
    <dgm:cxn modelId="{7C28714E-9670-46CE-9F9F-E7140125CDF2}" type="presParOf" srcId="{65C2221F-23FF-48CD-912C-2B41D616C191}" destId="{7E47144E-5E60-4984-B01A-F3AA18F544F8}" srcOrd="0" destOrd="0" presId="urn:microsoft.com/office/officeart/2005/8/layout/pyramid2"/>
    <dgm:cxn modelId="{028B60F9-DE8C-4B08-8E35-770D340DDBFA}" type="presParOf" srcId="{65C2221F-23FF-48CD-912C-2B41D616C191}" destId="{8138FC8E-E2A2-4C51-91BA-CD363C341011}" srcOrd="1" destOrd="0" presId="urn:microsoft.com/office/officeart/2005/8/layout/pyramid2"/>
    <dgm:cxn modelId="{E7F9038E-3AC8-42BC-901C-14E99E9B8DCC}" type="presParOf" srcId="{65C2221F-23FF-48CD-912C-2B41D616C191}" destId="{C230037D-9E3A-47D5-B651-88E82A69781C}" srcOrd="2" destOrd="0" presId="urn:microsoft.com/office/officeart/2005/8/layout/pyramid2"/>
    <dgm:cxn modelId="{E5960614-477B-4F86-B50E-FA126FBDF027}" type="presParOf" srcId="{65C2221F-23FF-48CD-912C-2B41D616C191}" destId="{553C888C-5F33-4901-A424-48DCA73014A0}" srcOrd="3" destOrd="0" presId="urn:microsoft.com/office/officeart/2005/8/layout/pyramid2"/>
    <dgm:cxn modelId="{B05B995F-D80E-47A5-B52D-4D4CDB6AB29E}" type="presParOf" srcId="{65C2221F-23FF-48CD-912C-2B41D616C191}" destId="{3307E77E-97D0-4DCF-BBCC-65D725D712D6}" srcOrd="4" destOrd="0" presId="urn:microsoft.com/office/officeart/2005/8/layout/pyramid2"/>
    <dgm:cxn modelId="{F45F2FC3-8487-4E93-A6ED-CACC4AF7283A}" type="presParOf" srcId="{65C2221F-23FF-48CD-912C-2B41D616C191}" destId="{97FDE9A2-8699-4C12-BE06-6EC1BDE9AFC9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23E743A-BF7D-4C23-8520-7E5712C75FB8}" type="doc">
      <dgm:prSet loTypeId="urn:microsoft.com/office/officeart/2005/8/layout/funnel1" loCatId="process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tr-TR"/>
        </a:p>
      </dgm:t>
    </dgm:pt>
    <dgm:pt modelId="{DD265E65-D401-4B2C-91E8-D8BC3C59FF7D}">
      <dgm:prSet phldrT="[Text]"/>
      <dgm:spPr/>
      <dgm:t>
        <a:bodyPr/>
        <a:lstStyle/>
        <a:p>
          <a:r>
            <a:rPr lang="tr-TR" dirty="0"/>
            <a:t>Client Errors + Performance</a:t>
          </a:r>
        </a:p>
      </dgm:t>
    </dgm:pt>
    <dgm:pt modelId="{26D17749-C8DA-4E51-A7E1-C22BDBEB30FC}" type="parTrans" cxnId="{A487440D-3270-4067-978B-E8273DEC2E7C}">
      <dgm:prSet/>
      <dgm:spPr/>
      <dgm:t>
        <a:bodyPr/>
        <a:lstStyle/>
        <a:p>
          <a:endParaRPr lang="tr-TR"/>
        </a:p>
      </dgm:t>
    </dgm:pt>
    <dgm:pt modelId="{D5703AEB-8668-4B27-8A9F-200E120204FE}" type="sibTrans" cxnId="{A487440D-3270-4067-978B-E8273DEC2E7C}">
      <dgm:prSet/>
      <dgm:spPr/>
      <dgm:t>
        <a:bodyPr/>
        <a:lstStyle/>
        <a:p>
          <a:endParaRPr lang="tr-TR"/>
        </a:p>
      </dgm:t>
    </dgm:pt>
    <dgm:pt modelId="{7BE3ED04-C243-44A8-971C-16B7D7F34977}">
      <dgm:prSet phldrT="[Text]"/>
      <dgm:spPr/>
      <dgm:t>
        <a:bodyPr/>
        <a:lstStyle/>
        <a:p>
          <a:r>
            <a:rPr lang="tr-TR" dirty="0"/>
            <a:t>Application Server Errors + Performance</a:t>
          </a:r>
        </a:p>
      </dgm:t>
    </dgm:pt>
    <dgm:pt modelId="{32887269-C330-44CA-B307-F223A1440EF3}" type="parTrans" cxnId="{25FB9CD3-344C-44BF-9406-C9A141D80A76}">
      <dgm:prSet/>
      <dgm:spPr/>
      <dgm:t>
        <a:bodyPr/>
        <a:lstStyle/>
        <a:p>
          <a:endParaRPr lang="tr-TR"/>
        </a:p>
      </dgm:t>
    </dgm:pt>
    <dgm:pt modelId="{ABE8D548-B170-4442-B8BE-8B50A8DE5028}" type="sibTrans" cxnId="{25FB9CD3-344C-44BF-9406-C9A141D80A76}">
      <dgm:prSet/>
      <dgm:spPr/>
      <dgm:t>
        <a:bodyPr/>
        <a:lstStyle/>
        <a:p>
          <a:endParaRPr lang="tr-TR"/>
        </a:p>
      </dgm:t>
    </dgm:pt>
    <dgm:pt modelId="{BABCD0FB-075C-4988-8B4C-950058F8B293}">
      <dgm:prSet phldrT="[Text]"/>
      <dgm:spPr/>
      <dgm:t>
        <a:bodyPr/>
        <a:lstStyle/>
        <a:p>
          <a:r>
            <a:rPr lang="tr-TR" dirty="0"/>
            <a:t>Database triggers BOALOG</a:t>
          </a:r>
        </a:p>
      </dgm:t>
    </dgm:pt>
    <dgm:pt modelId="{7E66C39A-6A42-4560-8E2F-B885347BEECD}" type="parTrans" cxnId="{092F0FB4-7AA4-4A39-8B36-41542885451D}">
      <dgm:prSet/>
      <dgm:spPr/>
      <dgm:t>
        <a:bodyPr/>
        <a:lstStyle/>
        <a:p>
          <a:endParaRPr lang="tr-TR"/>
        </a:p>
      </dgm:t>
    </dgm:pt>
    <dgm:pt modelId="{4D80B4BD-CC2F-4B82-8B9B-03ED97369A0F}" type="sibTrans" cxnId="{092F0FB4-7AA4-4A39-8B36-41542885451D}">
      <dgm:prSet/>
      <dgm:spPr/>
      <dgm:t>
        <a:bodyPr/>
        <a:lstStyle/>
        <a:p>
          <a:endParaRPr lang="tr-TR"/>
        </a:p>
      </dgm:t>
    </dgm:pt>
    <dgm:pt modelId="{1232A41D-D7B6-49CB-8ECA-B13DBC011E70}">
      <dgm:prSet phldrT="[Text]"/>
      <dgm:spPr/>
      <dgm:t>
        <a:bodyPr/>
        <a:lstStyle/>
        <a:p>
          <a:r>
            <a:rPr lang="tr-TR" dirty="0">
              <a:solidFill>
                <a:srgbClr val="292929"/>
              </a:solidFill>
            </a:rPr>
            <a:t>Logging at Every Layer</a:t>
          </a:r>
        </a:p>
      </dgm:t>
    </dgm:pt>
    <dgm:pt modelId="{1D125BE2-BE4D-4483-8FE1-55A1E2DE55F5}" type="parTrans" cxnId="{759F2528-C605-4374-BEE4-B56E6CA46E17}">
      <dgm:prSet/>
      <dgm:spPr/>
      <dgm:t>
        <a:bodyPr/>
        <a:lstStyle/>
        <a:p>
          <a:endParaRPr lang="tr-TR"/>
        </a:p>
      </dgm:t>
    </dgm:pt>
    <dgm:pt modelId="{31112C7E-3FB7-4846-ABE2-8D5AC93F0325}" type="sibTrans" cxnId="{759F2528-C605-4374-BEE4-B56E6CA46E17}">
      <dgm:prSet/>
      <dgm:spPr/>
      <dgm:t>
        <a:bodyPr/>
        <a:lstStyle/>
        <a:p>
          <a:endParaRPr lang="tr-TR"/>
        </a:p>
      </dgm:t>
    </dgm:pt>
    <dgm:pt modelId="{53F3D179-AE5F-4DE0-9AAF-42BE98D7AE3A}" type="pres">
      <dgm:prSet presAssocID="{623E743A-BF7D-4C23-8520-7E5712C75FB8}" presName="Name0" presStyleCnt="0">
        <dgm:presLayoutVars>
          <dgm:chMax val="4"/>
          <dgm:resizeHandles val="exact"/>
        </dgm:presLayoutVars>
      </dgm:prSet>
      <dgm:spPr/>
    </dgm:pt>
    <dgm:pt modelId="{EF990CA9-42CE-45B2-BAEB-5D77AF5C11B3}" type="pres">
      <dgm:prSet presAssocID="{623E743A-BF7D-4C23-8520-7E5712C75FB8}" presName="ellipse" presStyleLbl="trBgShp" presStyleIdx="0" presStyleCnt="1"/>
      <dgm:spPr/>
    </dgm:pt>
    <dgm:pt modelId="{D5DC98B6-3EAD-48A2-8454-9034078950AE}" type="pres">
      <dgm:prSet presAssocID="{623E743A-BF7D-4C23-8520-7E5712C75FB8}" presName="arrow1" presStyleLbl="fgShp" presStyleIdx="0" presStyleCnt="1" custLinFactY="-332500" custLinFactNeighborX="2000" custLinFactNeighborY="-400000"/>
      <dgm:spPr/>
    </dgm:pt>
    <dgm:pt modelId="{FDA99CF0-040B-43E6-B4CC-6F7A06C8F4D8}" type="pres">
      <dgm:prSet presAssocID="{623E743A-BF7D-4C23-8520-7E5712C75FB8}" presName="rectangle" presStyleLbl="revTx" presStyleIdx="0" presStyleCnt="1" custLinFactY="-200000" custLinFactNeighborY="-213333">
        <dgm:presLayoutVars>
          <dgm:bulletEnabled val="1"/>
        </dgm:presLayoutVars>
      </dgm:prSet>
      <dgm:spPr/>
    </dgm:pt>
    <dgm:pt modelId="{198031D7-0486-44E1-B578-EE007AD3BC42}" type="pres">
      <dgm:prSet presAssocID="{7BE3ED04-C243-44A8-971C-16B7D7F34977}" presName="item1" presStyleLbl="node1" presStyleIdx="0" presStyleCnt="3" custLinFactNeighborX="46222" custLinFactNeighborY="69422">
        <dgm:presLayoutVars>
          <dgm:bulletEnabled val="1"/>
        </dgm:presLayoutVars>
      </dgm:prSet>
      <dgm:spPr/>
    </dgm:pt>
    <dgm:pt modelId="{FE13A80F-DBA7-49A5-883C-332699045767}" type="pres">
      <dgm:prSet presAssocID="{BABCD0FB-075C-4988-8B4C-950058F8B293}" presName="item2" presStyleLbl="node1" presStyleIdx="1" presStyleCnt="3" custLinFactY="64445" custLinFactNeighborX="4444" custLinFactNeighborY="100000">
        <dgm:presLayoutVars>
          <dgm:bulletEnabled val="1"/>
        </dgm:presLayoutVars>
      </dgm:prSet>
      <dgm:spPr/>
    </dgm:pt>
    <dgm:pt modelId="{E34B7DDB-9162-49F2-BB67-F368A6835F43}" type="pres">
      <dgm:prSet presAssocID="{1232A41D-D7B6-49CB-8ECA-B13DBC011E70}" presName="item3" presStyleLbl="node1" presStyleIdx="2" presStyleCnt="3" custLinFactNeighborX="-51111" custLinFactNeighborY="81956">
        <dgm:presLayoutVars>
          <dgm:bulletEnabled val="1"/>
        </dgm:presLayoutVars>
      </dgm:prSet>
      <dgm:spPr/>
    </dgm:pt>
    <dgm:pt modelId="{1FB5050D-6FFA-4AF8-95B1-789AB792BC27}" type="pres">
      <dgm:prSet presAssocID="{623E743A-BF7D-4C23-8520-7E5712C75FB8}" presName="funnel" presStyleLbl="trAlignAcc1" presStyleIdx="0" presStyleCnt="1" custAng="10800000" custLinFactNeighborX="-1429" custLinFactNeighborY="33036"/>
      <dgm:spPr/>
    </dgm:pt>
  </dgm:ptLst>
  <dgm:cxnLst>
    <dgm:cxn modelId="{A487440D-3270-4067-978B-E8273DEC2E7C}" srcId="{623E743A-BF7D-4C23-8520-7E5712C75FB8}" destId="{DD265E65-D401-4B2C-91E8-D8BC3C59FF7D}" srcOrd="0" destOrd="0" parTransId="{26D17749-C8DA-4E51-A7E1-C22BDBEB30FC}" sibTransId="{D5703AEB-8668-4B27-8A9F-200E120204FE}"/>
    <dgm:cxn modelId="{4FD4E21C-06F2-497F-A877-9ACB59559CFA}" type="presOf" srcId="{1232A41D-D7B6-49CB-8ECA-B13DBC011E70}" destId="{FDA99CF0-040B-43E6-B4CC-6F7A06C8F4D8}" srcOrd="0" destOrd="0" presId="urn:microsoft.com/office/officeart/2005/8/layout/funnel1"/>
    <dgm:cxn modelId="{7B7DCC21-3DF1-4863-8F36-ABB00EF6FFDD}" type="presOf" srcId="{623E743A-BF7D-4C23-8520-7E5712C75FB8}" destId="{53F3D179-AE5F-4DE0-9AAF-42BE98D7AE3A}" srcOrd="0" destOrd="0" presId="urn:microsoft.com/office/officeart/2005/8/layout/funnel1"/>
    <dgm:cxn modelId="{759F2528-C605-4374-BEE4-B56E6CA46E17}" srcId="{623E743A-BF7D-4C23-8520-7E5712C75FB8}" destId="{1232A41D-D7B6-49CB-8ECA-B13DBC011E70}" srcOrd="3" destOrd="0" parTransId="{1D125BE2-BE4D-4483-8FE1-55A1E2DE55F5}" sibTransId="{31112C7E-3FB7-4846-ABE2-8D5AC93F0325}"/>
    <dgm:cxn modelId="{3313D594-0BBC-473A-992F-3951034CD2E2}" type="presOf" srcId="{BABCD0FB-075C-4988-8B4C-950058F8B293}" destId="{198031D7-0486-44E1-B578-EE007AD3BC42}" srcOrd="0" destOrd="0" presId="urn:microsoft.com/office/officeart/2005/8/layout/funnel1"/>
    <dgm:cxn modelId="{092F0FB4-7AA4-4A39-8B36-41542885451D}" srcId="{623E743A-BF7D-4C23-8520-7E5712C75FB8}" destId="{BABCD0FB-075C-4988-8B4C-950058F8B293}" srcOrd="2" destOrd="0" parTransId="{7E66C39A-6A42-4560-8E2F-B885347BEECD}" sibTransId="{4D80B4BD-CC2F-4B82-8B9B-03ED97369A0F}"/>
    <dgm:cxn modelId="{25FB9CD3-344C-44BF-9406-C9A141D80A76}" srcId="{623E743A-BF7D-4C23-8520-7E5712C75FB8}" destId="{7BE3ED04-C243-44A8-971C-16B7D7F34977}" srcOrd="1" destOrd="0" parTransId="{32887269-C330-44CA-B307-F223A1440EF3}" sibTransId="{ABE8D548-B170-4442-B8BE-8B50A8DE5028}"/>
    <dgm:cxn modelId="{4E99B4D3-2BFE-49B3-A73E-126B9F8C6D7A}" type="presOf" srcId="{DD265E65-D401-4B2C-91E8-D8BC3C59FF7D}" destId="{E34B7DDB-9162-49F2-BB67-F368A6835F43}" srcOrd="0" destOrd="0" presId="urn:microsoft.com/office/officeart/2005/8/layout/funnel1"/>
    <dgm:cxn modelId="{5C39B7F6-AA6E-4536-9687-EB3B27C3C855}" type="presOf" srcId="{7BE3ED04-C243-44A8-971C-16B7D7F34977}" destId="{FE13A80F-DBA7-49A5-883C-332699045767}" srcOrd="0" destOrd="0" presId="urn:microsoft.com/office/officeart/2005/8/layout/funnel1"/>
    <dgm:cxn modelId="{4EBF311F-5DCC-44CE-BD1B-6F9F8C4BB52B}" type="presParOf" srcId="{53F3D179-AE5F-4DE0-9AAF-42BE98D7AE3A}" destId="{EF990CA9-42CE-45B2-BAEB-5D77AF5C11B3}" srcOrd="0" destOrd="0" presId="urn:microsoft.com/office/officeart/2005/8/layout/funnel1"/>
    <dgm:cxn modelId="{21E675B9-8A76-4D43-ABD3-101134851771}" type="presParOf" srcId="{53F3D179-AE5F-4DE0-9AAF-42BE98D7AE3A}" destId="{D5DC98B6-3EAD-48A2-8454-9034078950AE}" srcOrd="1" destOrd="0" presId="urn:microsoft.com/office/officeart/2005/8/layout/funnel1"/>
    <dgm:cxn modelId="{F9341F5D-F047-4A8C-8D20-9827B0F60549}" type="presParOf" srcId="{53F3D179-AE5F-4DE0-9AAF-42BE98D7AE3A}" destId="{FDA99CF0-040B-43E6-B4CC-6F7A06C8F4D8}" srcOrd="2" destOrd="0" presId="urn:microsoft.com/office/officeart/2005/8/layout/funnel1"/>
    <dgm:cxn modelId="{62834292-CB47-4867-9A5A-A7530E0A357C}" type="presParOf" srcId="{53F3D179-AE5F-4DE0-9AAF-42BE98D7AE3A}" destId="{198031D7-0486-44E1-B578-EE007AD3BC42}" srcOrd="3" destOrd="0" presId="urn:microsoft.com/office/officeart/2005/8/layout/funnel1"/>
    <dgm:cxn modelId="{1B8079FF-0F53-491E-9EEE-18425127D931}" type="presParOf" srcId="{53F3D179-AE5F-4DE0-9AAF-42BE98D7AE3A}" destId="{FE13A80F-DBA7-49A5-883C-332699045767}" srcOrd="4" destOrd="0" presId="urn:microsoft.com/office/officeart/2005/8/layout/funnel1"/>
    <dgm:cxn modelId="{AD3D9395-ABA3-4BF3-8FC2-2102091E74A8}" type="presParOf" srcId="{53F3D179-AE5F-4DE0-9AAF-42BE98D7AE3A}" destId="{E34B7DDB-9162-49F2-BB67-F368A6835F43}" srcOrd="5" destOrd="0" presId="urn:microsoft.com/office/officeart/2005/8/layout/funnel1"/>
    <dgm:cxn modelId="{6C419C46-6FF0-4503-8F54-2E696D1882DB}" type="presParOf" srcId="{53F3D179-AE5F-4DE0-9AAF-42BE98D7AE3A}" destId="{1FB5050D-6FFA-4AF8-95B1-789AB792BC27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35A2AC1-02FF-4A2B-AA74-F605554D9748}" type="doc">
      <dgm:prSet loTypeId="urn:microsoft.com/office/officeart/2005/8/layout/hProcess9" loCatId="process" qsTypeId="urn:microsoft.com/office/officeart/2005/8/quickstyle/3d6" qsCatId="3D" csTypeId="urn:microsoft.com/office/officeart/2005/8/colors/accent1_2" csCatId="accent1" phldr="1"/>
      <dgm:spPr/>
    </dgm:pt>
    <dgm:pt modelId="{414CAA1B-8E7D-4CB8-84E1-E2EFDB832916}">
      <dgm:prSet phldrT="[Text]"/>
      <dgm:spPr/>
      <dgm:t>
        <a:bodyPr/>
        <a:lstStyle/>
        <a:p>
          <a:r>
            <a:rPr lang="tr-TR" dirty="0"/>
            <a:t>Balance Inquiry</a:t>
          </a:r>
        </a:p>
      </dgm:t>
    </dgm:pt>
    <dgm:pt modelId="{94EB00C9-A880-4528-BCF1-E172D3113DF0}" type="parTrans" cxnId="{CF481F33-3D80-4CBB-8394-9639C2635F7E}">
      <dgm:prSet/>
      <dgm:spPr/>
      <dgm:t>
        <a:bodyPr/>
        <a:lstStyle/>
        <a:p>
          <a:endParaRPr lang="tr-TR"/>
        </a:p>
      </dgm:t>
    </dgm:pt>
    <dgm:pt modelId="{E9E68213-6740-44D7-8894-1C2E3D8478A1}" type="sibTrans" cxnId="{CF481F33-3D80-4CBB-8394-9639C2635F7E}">
      <dgm:prSet/>
      <dgm:spPr/>
      <dgm:t>
        <a:bodyPr/>
        <a:lstStyle/>
        <a:p>
          <a:endParaRPr lang="tr-TR"/>
        </a:p>
      </dgm:t>
    </dgm:pt>
    <dgm:pt modelId="{2A96E36D-78FF-4B14-BA25-57D0EE9FE500}">
      <dgm:prSet phldrT="[Text]"/>
      <dgm:spPr/>
      <dgm:t>
        <a:bodyPr/>
        <a:lstStyle/>
        <a:p>
          <a:r>
            <a:rPr lang="tr-TR" dirty="0"/>
            <a:t>Table Insert</a:t>
          </a:r>
        </a:p>
      </dgm:t>
    </dgm:pt>
    <dgm:pt modelId="{DB3ADC38-AD38-49E9-9AAE-CFF8C7FCCBC3}" type="parTrans" cxnId="{51363831-6640-4E8B-A3FE-BA83187C6BF4}">
      <dgm:prSet/>
      <dgm:spPr/>
      <dgm:t>
        <a:bodyPr/>
        <a:lstStyle/>
        <a:p>
          <a:endParaRPr lang="tr-TR"/>
        </a:p>
      </dgm:t>
    </dgm:pt>
    <dgm:pt modelId="{A373731E-B51F-422D-8FD4-7E933519D295}" type="sibTrans" cxnId="{51363831-6640-4E8B-A3FE-BA83187C6BF4}">
      <dgm:prSet/>
      <dgm:spPr/>
      <dgm:t>
        <a:bodyPr/>
        <a:lstStyle/>
        <a:p>
          <a:endParaRPr lang="tr-TR"/>
        </a:p>
      </dgm:t>
    </dgm:pt>
    <dgm:pt modelId="{CE20AEC1-DF26-4088-8CE2-E1BD4D068386}">
      <dgm:prSet phldrT="[Text]"/>
      <dgm:spPr/>
      <dgm:t>
        <a:bodyPr/>
        <a:lstStyle/>
        <a:p>
          <a:r>
            <a:rPr lang="tr-TR" dirty="0"/>
            <a:t>Accounting</a:t>
          </a:r>
        </a:p>
      </dgm:t>
    </dgm:pt>
    <dgm:pt modelId="{5D275F80-7ADA-422F-A79C-1D9BCC98C691}" type="parTrans" cxnId="{F25119C2-7707-4C0A-8B8C-B014EDFD1F80}">
      <dgm:prSet/>
      <dgm:spPr/>
      <dgm:t>
        <a:bodyPr/>
        <a:lstStyle/>
        <a:p>
          <a:endParaRPr lang="tr-TR"/>
        </a:p>
      </dgm:t>
    </dgm:pt>
    <dgm:pt modelId="{0D68AAAB-B1E1-456D-B969-F89DED5DB127}" type="sibTrans" cxnId="{F25119C2-7707-4C0A-8B8C-B014EDFD1F80}">
      <dgm:prSet/>
      <dgm:spPr/>
      <dgm:t>
        <a:bodyPr/>
        <a:lstStyle/>
        <a:p>
          <a:endParaRPr lang="tr-TR"/>
        </a:p>
      </dgm:t>
    </dgm:pt>
    <dgm:pt modelId="{A60C0818-8273-4580-BC08-44407CDFBBC6}" type="pres">
      <dgm:prSet presAssocID="{735A2AC1-02FF-4A2B-AA74-F605554D9748}" presName="CompostProcess" presStyleCnt="0">
        <dgm:presLayoutVars>
          <dgm:dir/>
          <dgm:resizeHandles val="exact"/>
        </dgm:presLayoutVars>
      </dgm:prSet>
      <dgm:spPr/>
    </dgm:pt>
    <dgm:pt modelId="{385B3163-5E57-42F0-9E1B-BE68F31FA8E7}" type="pres">
      <dgm:prSet presAssocID="{735A2AC1-02FF-4A2B-AA74-F605554D9748}" presName="arrow" presStyleLbl="bgShp" presStyleIdx="0" presStyleCnt="1"/>
      <dgm:spPr/>
    </dgm:pt>
    <dgm:pt modelId="{3337D896-5CF4-4F9C-ADF1-27061C221F74}" type="pres">
      <dgm:prSet presAssocID="{735A2AC1-02FF-4A2B-AA74-F605554D9748}" presName="linearProcess" presStyleCnt="0"/>
      <dgm:spPr/>
    </dgm:pt>
    <dgm:pt modelId="{58586B14-B2A1-4583-914D-D600F6FA35F9}" type="pres">
      <dgm:prSet presAssocID="{414CAA1B-8E7D-4CB8-84E1-E2EFDB832916}" presName="textNode" presStyleLbl="node1" presStyleIdx="0" presStyleCnt="3">
        <dgm:presLayoutVars>
          <dgm:bulletEnabled val="1"/>
        </dgm:presLayoutVars>
      </dgm:prSet>
      <dgm:spPr/>
    </dgm:pt>
    <dgm:pt modelId="{487EFD7E-369B-466C-A3FD-B6B031FE8B78}" type="pres">
      <dgm:prSet presAssocID="{E9E68213-6740-44D7-8894-1C2E3D8478A1}" presName="sibTrans" presStyleCnt="0"/>
      <dgm:spPr/>
    </dgm:pt>
    <dgm:pt modelId="{604E52F0-159C-4A7F-B9C4-55EE45ADC9D0}" type="pres">
      <dgm:prSet presAssocID="{2A96E36D-78FF-4B14-BA25-57D0EE9FE500}" presName="textNode" presStyleLbl="node1" presStyleIdx="1" presStyleCnt="3">
        <dgm:presLayoutVars>
          <dgm:bulletEnabled val="1"/>
        </dgm:presLayoutVars>
      </dgm:prSet>
      <dgm:spPr/>
    </dgm:pt>
    <dgm:pt modelId="{8D8E108B-1F6C-4B81-909F-CA5947ABCA18}" type="pres">
      <dgm:prSet presAssocID="{A373731E-B51F-422D-8FD4-7E933519D295}" presName="sibTrans" presStyleCnt="0"/>
      <dgm:spPr/>
    </dgm:pt>
    <dgm:pt modelId="{737391DA-3E60-4ED7-AEE1-2B98059C4CEB}" type="pres">
      <dgm:prSet presAssocID="{CE20AEC1-DF26-4088-8CE2-E1BD4D068386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51363831-6640-4E8B-A3FE-BA83187C6BF4}" srcId="{735A2AC1-02FF-4A2B-AA74-F605554D9748}" destId="{2A96E36D-78FF-4B14-BA25-57D0EE9FE500}" srcOrd="1" destOrd="0" parTransId="{DB3ADC38-AD38-49E9-9AAE-CFF8C7FCCBC3}" sibTransId="{A373731E-B51F-422D-8FD4-7E933519D295}"/>
    <dgm:cxn modelId="{CF481F33-3D80-4CBB-8394-9639C2635F7E}" srcId="{735A2AC1-02FF-4A2B-AA74-F605554D9748}" destId="{414CAA1B-8E7D-4CB8-84E1-E2EFDB832916}" srcOrd="0" destOrd="0" parTransId="{94EB00C9-A880-4528-BCF1-E172D3113DF0}" sibTransId="{E9E68213-6740-44D7-8894-1C2E3D8478A1}"/>
    <dgm:cxn modelId="{0EAE0448-23AC-43D4-8A29-93DFB062F3E1}" type="presOf" srcId="{414CAA1B-8E7D-4CB8-84E1-E2EFDB832916}" destId="{58586B14-B2A1-4583-914D-D600F6FA35F9}" srcOrd="0" destOrd="0" presId="urn:microsoft.com/office/officeart/2005/8/layout/hProcess9"/>
    <dgm:cxn modelId="{A937DC68-DADB-4F65-901C-3E91685A3E63}" type="presOf" srcId="{CE20AEC1-DF26-4088-8CE2-E1BD4D068386}" destId="{737391DA-3E60-4ED7-AEE1-2B98059C4CEB}" srcOrd="0" destOrd="0" presId="urn:microsoft.com/office/officeart/2005/8/layout/hProcess9"/>
    <dgm:cxn modelId="{96111D4D-5500-44FA-BA08-A51FD2FAE8C2}" type="presOf" srcId="{2A96E36D-78FF-4B14-BA25-57D0EE9FE500}" destId="{604E52F0-159C-4A7F-B9C4-55EE45ADC9D0}" srcOrd="0" destOrd="0" presId="urn:microsoft.com/office/officeart/2005/8/layout/hProcess9"/>
    <dgm:cxn modelId="{88417894-2E6D-4AEA-93F9-AF38009666BF}" type="presOf" srcId="{735A2AC1-02FF-4A2B-AA74-F605554D9748}" destId="{A60C0818-8273-4580-BC08-44407CDFBBC6}" srcOrd="0" destOrd="0" presId="urn:microsoft.com/office/officeart/2005/8/layout/hProcess9"/>
    <dgm:cxn modelId="{F25119C2-7707-4C0A-8B8C-B014EDFD1F80}" srcId="{735A2AC1-02FF-4A2B-AA74-F605554D9748}" destId="{CE20AEC1-DF26-4088-8CE2-E1BD4D068386}" srcOrd="2" destOrd="0" parTransId="{5D275F80-7ADA-422F-A79C-1D9BCC98C691}" sibTransId="{0D68AAAB-B1E1-456D-B969-F89DED5DB127}"/>
    <dgm:cxn modelId="{DA7EB458-B8D0-4BB1-B392-788D2BFA33CD}" type="presParOf" srcId="{A60C0818-8273-4580-BC08-44407CDFBBC6}" destId="{385B3163-5E57-42F0-9E1B-BE68F31FA8E7}" srcOrd="0" destOrd="0" presId="urn:microsoft.com/office/officeart/2005/8/layout/hProcess9"/>
    <dgm:cxn modelId="{8A7E1315-2FA6-417F-B758-9ADF9E9446BE}" type="presParOf" srcId="{A60C0818-8273-4580-BC08-44407CDFBBC6}" destId="{3337D896-5CF4-4F9C-ADF1-27061C221F74}" srcOrd="1" destOrd="0" presId="urn:microsoft.com/office/officeart/2005/8/layout/hProcess9"/>
    <dgm:cxn modelId="{604DEA20-8322-4900-BFEF-8C7AF8C10937}" type="presParOf" srcId="{3337D896-5CF4-4F9C-ADF1-27061C221F74}" destId="{58586B14-B2A1-4583-914D-D600F6FA35F9}" srcOrd="0" destOrd="0" presId="urn:microsoft.com/office/officeart/2005/8/layout/hProcess9"/>
    <dgm:cxn modelId="{99AAE280-45CD-43ED-8487-E57C2C499260}" type="presParOf" srcId="{3337D896-5CF4-4F9C-ADF1-27061C221F74}" destId="{487EFD7E-369B-466C-A3FD-B6B031FE8B78}" srcOrd="1" destOrd="0" presId="urn:microsoft.com/office/officeart/2005/8/layout/hProcess9"/>
    <dgm:cxn modelId="{9EA52B76-8CD5-4BF2-9AAE-8C67F2CCAE73}" type="presParOf" srcId="{3337D896-5CF4-4F9C-ADF1-27061C221F74}" destId="{604E52F0-159C-4A7F-B9C4-55EE45ADC9D0}" srcOrd="2" destOrd="0" presId="urn:microsoft.com/office/officeart/2005/8/layout/hProcess9"/>
    <dgm:cxn modelId="{13363484-4D7C-4915-AF3F-199759ACEB21}" type="presParOf" srcId="{3337D896-5CF4-4F9C-ADF1-27061C221F74}" destId="{8D8E108B-1F6C-4B81-909F-CA5947ABCA18}" srcOrd="3" destOrd="0" presId="urn:microsoft.com/office/officeart/2005/8/layout/hProcess9"/>
    <dgm:cxn modelId="{D8121503-A0FD-4053-992E-E296FC353C8E}" type="presParOf" srcId="{3337D896-5CF4-4F9C-ADF1-27061C221F74}" destId="{737391DA-3E60-4ED7-AEE1-2B98059C4CE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0FEC2AE-A6AF-4657-B323-C6D7913775DA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27573B04-2AE2-4CB7-80E5-0918F75685B6}">
      <dgm:prSet phldrT="[Text]" custT="1"/>
      <dgm:spPr/>
      <dgm:t>
        <a:bodyPr/>
        <a:lstStyle/>
        <a:p>
          <a:r>
            <a:rPr lang="tr-TR" sz="1400" b="1" dirty="0">
              <a:solidFill>
                <a:schemeClr val="tx1">
                  <a:lumMod val="50000"/>
                </a:schemeClr>
              </a:solidFill>
            </a:rPr>
            <a:t>BOA </a:t>
          </a:r>
          <a:r>
            <a:rPr lang="tr-TR" sz="1400" b="1" dirty="0" err="1">
              <a:solidFill>
                <a:schemeClr val="tx1">
                  <a:lumMod val="50000"/>
                </a:schemeClr>
              </a:solidFill>
            </a:rPr>
            <a:t>Container</a:t>
          </a:r>
          <a:endParaRPr lang="tr-TR" sz="1400" b="1" dirty="0">
            <a:solidFill>
              <a:schemeClr val="tx1">
                <a:lumMod val="50000"/>
              </a:schemeClr>
            </a:solidFill>
          </a:endParaRPr>
        </a:p>
      </dgm:t>
    </dgm:pt>
    <dgm:pt modelId="{DC406C75-3B65-4213-9DC4-BF818CF83A8C}" type="parTrans" cxnId="{A62A03FF-7D32-47D2-AE25-CCA25688F76A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80C560FA-5594-4C64-8482-1BF52E4CC52B}" type="sibTrans" cxnId="{A62A03FF-7D32-47D2-AE25-CCA25688F76A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C68A9593-BF6B-430E-9635-C86ED41D2BF8}">
      <dgm:prSet phldrT="[Text]" custT="1"/>
      <dgm:spPr/>
      <dgm:t>
        <a:bodyPr/>
        <a:lstStyle/>
        <a:p>
          <a:r>
            <a:rPr lang="tr-TR" sz="1400" b="1" dirty="0">
              <a:solidFill>
                <a:schemeClr val="tx1">
                  <a:lumMod val="50000"/>
                </a:schemeClr>
              </a:solidFill>
            </a:rPr>
            <a:t>BOA Internet </a:t>
          </a:r>
        </a:p>
      </dgm:t>
    </dgm:pt>
    <dgm:pt modelId="{7121D5A4-9BE0-4E88-AAB4-8DE8B2CB464B}" type="parTrans" cxnId="{86E977BE-D648-4B8E-B126-DEE3CF71AF01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D4E5F486-D09D-4FFB-83D9-454A67E9443C}" type="sibTrans" cxnId="{86E977BE-D648-4B8E-B126-DEE3CF71AF01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4F0EDA99-C1E8-4C71-B5F5-3B7F61EF8B57}">
      <dgm:prSet phldrT="[Text]" custT="1"/>
      <dgm:spPr/>
      <dgm:t>
        <a:bodyPr/>
        <a:lstStyle/>
        <a:p>
          <a:r>
            <a:rPr lang="tr-TR" sz="1400" b="1" dirty="0">
              <a:solidFill>
                <a:schemeClr val="tx1">
                  <a:lumMod val="50000"/>
                </a:schemeClr>
              </a:solidFill>
            </a:rPr>
            <a:t>XTM</a:t>
          </a:r>
        </a:p>
      </dgm:t>
    </dgm:pt>
    <dgm:pt modelId="{EE6F9119-C43B-444F-B8D9-EED847E89C8C}" type="parTrans" cxnId="{86DC9BEA-585F-4024-8926-42066129021B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F56A3FB6-C61A-498A-9E11-742305B60EE1}" type="sibTrans" cxnId="{86DC9BEA-585F-4024-8926-42066129021B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CC665849-FE70-419C-9868-73A4C8F9B2B0}">
      <dgm:prSet phldrT="[Text]" custT="1"/>
      <dgm:spPr/>
      <dgm:t>
        <a:bodyPr/>
        <a:lstStyle/>
        <a:p>
          <a:r>
            <a:rPr lang="tr-TR" sz="1400" b="1" dirty="0">
              <a:solidFill>
                <a:schemeClr val="tx1">
                  <a:lumMod val="50000"/>
                </a:schemeClr>
              </a:solidFill>
            </a:rPr>
            <a:t>EOD</a:t>
          </a:r>
        </a:p>
      </dgm:t>
    </dgm:pt>
    <dgm:pt modelId="{D8AC8767-198D-4E53-BA8A-5DF2A6E7D8DE}" type="parTrans" cxnId="{9B769A2F-3AB6-4D52-9825-D10D746E5E8D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34DD8F08-89FA-484E-B12D-0C67E750788D}" type="sibTrans" cxnId="{9B769A2F-3AB6-4D52-9825-D10D746E5E8D}">
      <dgm:prSet/>
      <dgm:spPr/>
      <dgm:t>
        <a:bodyPr/>
        <a:lstStyle/>
        <a:p>
          <a:endParaRPr lang="tr-TR" sz="1400">
            <a:solidFill>
              <a:schemeClr val="bg1"/>
            </a:solidFill>
          </a:endParaRPr>
        </a:p>
      </dgm:t>
    </dgm:pt>
    <dgm:pt modelId="{72ACDCD9-9DE7-4C8F-B354-791CDDC67FFB}">
      <dgm:prSet custT="1"/>
      <dgm:spPr/>
      <dgm:t>
        <a:bodyPr/>
        <a:lstStyle/>
        <a:p>
          <a:r>
            <a:rPr lang="en-US" sz="1400" b="1" dirty="0">
              <a:solidFill>
                <a:schemeClr val="tx1">
                  <a:lumMod val="50000"/>
                </a:schemeClr>
              </a:solidFill>
            </a:rPr>
            <a:t>BOA Mobile</a:t>
          </a:r>
        </a:p>
      </dgm:t>
    </dgm:pt>
    <dgm:pt modelId="{CC5FD289-64FD-4C7A-9640-97A6D61B2E72}" type="parTrans" cxnId="{E4994987-5485-4D07-AA0D-1124A0045DF0}">
      <dgm:prSet/>
      <dgm:spPr/>
      <dgm:t>
        <a:bodyPr/>
        <a:lstStyle/>
        <a:p>
          <a:endParaRPr lang="en-US"/>
        </a:p>
      </dgm:t>
    </dgm:pt>
    <dgm:pt modelId="{A838C2F7-DCCA-488C-B3D1-B98044670299}" type="sibTrans" cxnId="{E4994987-5485-4D07-AA0D-1124A0045DF0}">
      <dgm:prSet/>
      <dgm:spPr/>
      <dgm:t>
        <a:bodyPr/>
        <a:lstStyle/>
        <a:p>
          <a:endParaRPr lang="en-US"/>
        </a:p>
      </dgm:t>
    </dgm:pt>
    <dgm:pt modelId="{7D821758-AB8E-45A2-B80F-5D8F757BD9B5}" type="pres">
      <dgm:prSet presAssocID="{00FEC2AE-A6AF-4657-B323-C6D7913775DA}" presName="layout" presStyleCnt="0">
        <dgm:presLayoutVars>
          <dgm:chMax/>
          <dgm:chPref/>
          <dgm:dir/>
          <dgm:resizeHandles/>
        </dgm:presLayoutVars>
      </dgm:prSet>
      <dgm:spPr/>
    </dgm:pt>
    <dgm:pt modelId="{05C58172-0E4A-43DD-8D44-985C7510277F}" type="pres">
      <dgm:prSet presAssocID="{27573B04-2AE2-4CB7-80E5-0918F75685B6}" presName="root" presStyleCnt="0">
        <dgm:presLayoutVars>
          <dgm:chMax/>
          <dgm:chPref/>
        </dgm:presLayoutVars>
      </dgm:prSet>
      <dgm:spPr/>
    </dgm:pt>
    <dgm:pt modelId="{98176FB4-854A-4C81-B7D0-73A0D301ABFC}" type="pres">
      <dgm:prSet presAssocID="{27573B04-2AE2-4CB7-80E5-0918F75685B6}" presName="rootComposite" presStyleCnt="0">
        <dgm:presLayoutVars/>
      </dgm:prSet>
      <dgm:spPr/>
    </dgm:pt>
    <dgm:pt modelId="{57083D60-AE03-4B7B-B516-90B32628AA22}" type="pres">
      <dgm:prSet presAssocID="{27573B04-2AE2-4CB7-80E5-0918F75685B6}" presName="ParentAccent" presStyleLbl="alignNode1" presStyleIdx="0" presStyleCnt="5" custLinFactNeighborX="-192" custLinFactNeighborY="-4285"/>
      <dgm:spPr/>
    </dgm:pt>
    <dgm:pt modelId="{C135C3BD-83D5-4683-8B58-AD2A8BA0584C}" type="pres">
      <dgm:prSet presAssocID="{27573B04-2AE2-4CB7-80E5-0918F75685B6}" presName="ParentSmallAccent" presStyleLbl="fgAcc1" presStyleIdx="0" presStyleCnt="5" custLinFactNeighborX="59007" custLinFactNeighborY="-35579"/>
      <dgm:spPr/>
    </dgm:pt>
    <dgm:pt modelId="{5AAB2993-73EF-42C8-AB7A-87401D9ACC8D}" type="pres">
      <dgm:prSet presAssocID="{27573B04-2AE2-4CB7-80E5-0918F75685B6}" presName="Parent" presStyleLbl="revTx" presStyleIdx="0" presStyleCnt="5">
        <dgm:presLayoutVars>
          <dgm:chMax/>
          <dgm:chPref val="4"/>
          <dgm:bulletEnabled val="1"/>
        </dgm:presLayoutVars>
      </dgm:prSet>
      <dgm:spPr/>
    </dgm:pt>
    <dgm:pt modelId="{E76F70DB-65E3-42CF-87E6-8370E88D93B0}" type="pres">
      <dgm:prSet presAssocID="{27573B04-2AE2-4CB7-80E5-0918F75685B6}" presName="childShape" presStyleCnt="0">
        <dgm:presLayoutVars>
          <dgm:chMax val="0"/>
          <dgm:chPref val="0"/>
        </dgm:presLayoutVars>
      </dgm:prSet>
      <dgm:spPr/>
    </dgm:pt>
    <dgm:pt modelId="{F8DFC99F-89B3-4F89-B0B4-9133EB025BD7}" type="pres">
      <dgm:prSet presAssocID="{C68A9593-BF6B-430E-9635-C86ED41D2BF8}" presName="root" presStyleCnt="0">
        <dgm:presLayoutVars>
          <dgm:chMax/>
          <dgm:chPref/>
        </dgm:presLayoutVars>
      </dgm:prSet>
      <dgm:spPr/>
    </dgm:pt>
    <dgm:pt modelId="{B98D8F91-0D37-454B-82D7-9FB5DCA4D501}" type="pres">
      <dgm:prSet presAssocID="{C68A9593-BF6B-430E-9635-C86ED41D2BF8}" presName="rootComposite" presStyleCnt="0">
        <dgm:presLayoutVars/>
      </dgm:prSet>
      <dgm:spPr/>
    </dgm:pt>
    <dgm:pt modelId="{F81AB078-672C-4D68-A0B5-2F80AFE3E7A6}" type="pres">
      <dgm:prSet presAssocID="{C68A9593-BF6B-430E-9635-C86ED41D2BF8}" presName="ParentAccent" presStyleLbl="alignNode1" presStyleIdx="1" presStyleCnt="5" custLinFactNeighborX="915" custLinFactNeighborY="-5496"/>
      <dgm:spPr/>
    </dgm:pt>
    <dgm:pt modelId="{E2627961-8139-48D0-B26C-DB27F54783E5}" type="pres">
      <dgm:prSet presAssocID="{C68A9593-BF6B-430E-9635-C86ED41D2BF8}" presName="ParentSmallAccent" presStyleLbl="fgAcc1" presStyleIdx="1" presStyleCnt="5" custLinFactNeighborX="54876" custLinFactNeighborY="-44208"/>
      <dgm:spPr/>
    </dgm:pt>
    <dgm:pt modelId="{FA5EE4C8-83D0-4AAF-B450-7F71BF563E5C}" type="pres">
      <dgm:prSet presAssocID="{C68A9593-BF6B-430E-9635-C86ED41D2BF8}" presName="Parent" presStyleLbl="revTx" presStyleIdx="1" presStyleCnt="5">
        <dgm:presLayoutVars>
          <dgm:chMax/>
          <dgm:chPref val="4"/>
          <dgm:bulletEnabled val="1"/>
        </dgm:presLayoutVars>
      </dgm:prSet>
      <dgm:spPr/>
    </dgm:pt>
    <dgm:pt modelId="{C566BD9D-6648-49F0-A9B9-0E0F533E3873}" type="pres">
      <dgm:prSet presAssocID="{C68A9593-BF6B-430E-9635-C86ED41D2BF8}" presName="childShape" presStyleCnt="0">
        <dgm:presLayoutVars>
          <dgm:chMax val="0"/>
          <dgm:chPref val="0"/>
        </dgm:presLayoutVars>
      </dgm:prSet>
      <dgm:spPr/>
    </dgm:pt>
    <dgm:pt modelId="{70F4447F-AADE-4583-A3A6-0CA5CB2E0F3A}" type="pres">
      <dgm:prSet presAssocID="{4F0EDA99-C1E8-4C71-B5F5-3B7F61EF8B57}" presName="root" presStyleCnt="0">
        <dgm:presLayoutVars>
          <dgm:chMax/>
          <dgm:chPref/>
        </dgm:presLayoutVars>
      </dgm:prSet>
      <dgm:spPr/>
    </dgm:pt>
    <dgm:pt modelId="{88D16C70-3657-4577-94A0-224B9D4165A0}" type="pres">
      <dgm:prSet presAssocID="{4F0EDA99-C1E8-4C71-B5F5-3B7F61EF8B57}" presName="rootComposite" presStyleCnt="0">
        <dgm:presLayoutVars/>
      </dgm:prSet>
      <dgm:spPr/>
    </dgm:pt>
    <dgm:pt modelId="{D164127A-2EB2-412A-8823-12B60BC798FD}" type="pres">
      <dgm:prSet presAssocID="{4F0EDA99-C1E8-4C71-B5F5-3B7F61EF8B57}" presName="ParentAccent" presStyleLbl="alignNode1" presStyleIdx="2" presStyleCnt="5" custLinFactNeighborX="674" custLinFactNeighborY="-7246"/>
      <dgm:spPr/>
    </dgm:pt>
    <dgm:pt modelId="{EC5261C8-D31E-4FD7-969A-57C78B831212}" type="pres">
      <dgm:prSet presAssocID="{4F0EDA99-C1E8-4C71-B5F5-3B7F61EF8B57}" presName="ParentSmallAccent" presStyleLbl="fgAcc1" presStyleIdx="2" presStyleCnt="5" custLinFactNeighborX="22261" custLinFactNeighborY="-35028"/>
      <dgm:spPr/>
    </dgm:pt>
    <dgm:pt modelId="{05581449-756A-453E-97AB-FE0150CBC793}" type="pres">
      <dgm:prSet presAssocID="{4F0EDA99-C1E8-4C71-B5F5-3B7F61EF8B57}" presName="Parent" presStyleLbl="revTx" presStyleIdx="2" presStyleCnt="5">
        <dgm:presLayoutVars>
          <dgm:chMax/>
          <dgm:chPref val="4"/>
          <dgm:bulletEnabled val="1"/>
        </dgm:presLayoutVars>
      </dgm:prSet>
      <dgm:spPr/>
    </dgm:pt>
    <dgm:pt modelId="{30B43CA6-70C8-4F43-87B9-588EA1A68347}" type="pres">
      <dgm:prSet presAssocID="{4F0EDA99-C1E8-4C71-B5F5-3B7F61EF8B57}" presName="childShape" presStyleCnt="0">
        <dgm:presLayoutVars>
          <dgm:chMax val="0"/>
          <dgm:chPref val="0"/>
        </dgm:presLayoutVars>
      </dgm:prSet>
      <dgm:spPr/>
    </dgm:pt>
    <dgm:pt modelId="{4742A081-958B-4A87-951B-33318C85AADF}" type="pres">
      <dgm:prSet presAssocID="{CC665849-FE70-419C-9868-73A4C8F9B2B0}" presName="root" presStyleCnt="0">
        <dgm:presLayoutVars>
          <dgm:chMax/>
          <dgm:chPref/>
        </dgm:presLayoutVars>
      </dgm:prSet>
      <dgm:spPr/>
    </dgm:pt>
    <dgm:pt modelId="{2DAF2ADC-63AC-4314-8F41-4046E638AF39}" type="pres">
      <dgm:prSet presAssocID="{CC665849-FE70-419C-9868-73A4C8F9B2B0}" presName="rootComposite" presStyleCnt="0">
        <dgm:presLayoutVars/>
      </dgm:prSet>
      <dgm:spPr/>
    </dgm:pt>
    <dgm:pt modelId="{EF40742B-22A5-4789-89C7-B72EE2FBB31C}" type="pres">
      <dgm:prSet presAssocID="{CC665849-FE70-419C-9868-73A4C8F9B2B0}" presName="ParentAccent" presStyleLbl="alignNode1" presStyleIdx="3" presStyleCnt="5" custLinFactNeighborY="-11464"/>
      <dgm:spPr/>
    </dgm:pt>
    <dgm:pt modelId="{E09C8FBF-5B0F-477D-AFE3-DB58AFB4E1D8}" type="pres">
      <dgm:prSet presAssocID="{CC665849-FE70-419C-9868-73A4C8F9B2B0}" presName="ParentSmallAccent" presStyleLbl="fgAcc1" presStyleIdx="3" presStyleCnt="5" custLinFactNeighborX="53357" custLinFactNeighborY="-36720"/>
      <dgm:spPr/>
    </dgm:pt>
    <dgm:pt modelId="{9B5F5AC6-8695-4C71-AF48-165474040031}" type="pres">
      <dgm:prSet presAssocID="{CC665849-FE70-419C-9868-73A4C8F9B2B0}" presName="Parent" presStyleLbl="revTx" presStyleIdx="3" presStyleCnt="5">
        <dgm:presLayoutVars>
          <dgm:chMax/>
          <dgm:chPref val="4"/>
          <dgm:bulletEnabled val="1"/>
        </dgm:presLayoutVars>
      </dgm:prSet>
      <dgm:spPr/>
    </dgm:pt>
    <dgm:pt modelId="{83322CB7-04EE-4467-BF35-5D81243C03D4}" type="pres">
      <dgm:prSet presAssocID="{CC665849-FE70-419C-9868-73A4C8F9B2B0}" presName="childShape" presStyleCnt="0">
        <dgm:presLayoutVars>
          <dgm:chMax val="0"/>
          <dgm:chPref val="0"/>
        </dgm:presLayoutVars>
      </dgm:prSet>
      <dgm:spPr/>
    </dgm:pt>
    <dgm:pt modelId="{24B3CAE8-8F48-4CBE-BEEF-14E147A5098B}" type="pres">
      <dgm:prSet presAssocID="{72ACDCD9-9DE7-4C8F-B354-791CDDC67FFB}" presName="root" presStyleCnt="0">
        <dgm:presLayoutVars>
          <dgm:chMax/>
          <dgm:chPref/>
        </dgm:presLayoutVars>
      </dgm:prSet>
      <dgm:spPr/>
    </dgm:pt>
    <dgm:pt modelId="{67C19B3F-F597-4011-A2D0-808FBFCF0B1B}" type="pres">
      <dgm:prSet presAssocID="{72ACDCD9-9DE7-4C8F-B354-791CDDC67FFB}" presName="rootComposite" presStyleCnt="0">
        <dgm:presLayoutVars/>
      </dgm:prSet>
      <dgm:spPr/>
    </dgm:pt>
    <dgm:pt modelId="{1278079B-85A5-44A3-8E4E-C4315E9793C8}" type="pres">
      <dgm:prSet presAssocID="{72ACDCD9-9DE7-4C8F-B354-791CDDC67FFB}" presName="ParentAccent" presStyleLbl="alignNode1" presStyleIdx="4" presStyleCnt="5" custLinFactNeighborY="-17196"/>
      <dgm:spPr/>
    </dgm:pt>
    <dgm:pt modelId="{46ADC8CD-8D17-4CAA-A9BE-6E4A3C9B396D}" type="pres">
      <dgm:prSet presAssocID="{72ACDCD9-9DE7-4C8F-B354-791CDDC67FFB}" presName="ParentSmallAccent" presStyleLbl="fgAcc1" presStyleIdx="4" presStyleCnt="5" custLinFactNeighborX="36720" custLinFactNeighborY="-62568"/>
      <dgm:spPr/>
    </dgm:pt>
    <dgm:pt modelId="{17B8EDE0-6193-48C9-B0C1-B1D9B750E27F}" type="pres">
      <dgm:prSet presAssocID="{72ACDCD9-9DE7-4C8F-B354-791CDDC67FFB}" presName="Parent" presStyleLbl="revTx" presStyleIdx="4" presStyleCnt="5">
        <dgm:presLayoutVars>
          <dgm:chMax/>
          <dgm:chPref val="4"/>
          <dgm:bulletEnabled val="1"/>
        </dgm:presLayoutVars>
      </dgm:prSet>
      <dgm:spPr/>
    </dgm:pt>
    <dgm:pt modelId="{94D2F748-C505-442D-8626-38FBC4306CE7}" type="pres">
      <dgm:prSet presAssocID="{72ACDCD9-9DE7-4C8F-B354-791CDDC67FFB}" presName="childShape" presStyleCnt="0">
        <dgm:presLayoutVars>
          <dgm:chMax val="0"/>
          <dgm:chPref val="0"/>
        </dgm:presLayoutVars>
      </dgm:prSet>
      <dgm:spPr/>
    </dgm:pt>
  </dgm:ptLst>
  <dgm:cxnLst>
    <dgm:cxn modelId="{14699E19-6310-426A-93A6-8FB8D48ADE91}" type="presOf" srcId="{72ACDCD9-9DE7-4C8F-B354-791CDDC67FFB}" destId="{17B8EDE0-6193-48C9-B0C1-B1D9B750E27F}" srcOrd="0" destOrd="0" presId="urn:microsoft.com/office/officeart/2008/layout/SquareAccentList"/>
    <dgm:cxn modelId="{91D1FE2A-70A6-42E9-8E1A-C99C45FF600F}" type="presOf" srcId="{00FEC2AE-A6AF-4657-B323-C6D7913775DA}" destId="{7D821758-AB8E-45A2-B80F-5D8F757BD9B5}" srcOrd="0" destOrd="0" presId="urn:microsoft.com/office/officeart/2008/layout/SquareAccentList"/>
    <dgm:cxn modelId="{3D3CEC2D-1764-485E-B076-0DB350D89361}" type="presOf" srcId="{C68A9593-BF6B-430E-9635-C86ED41D2BF8}" destId="{FA5EE4C8-83D0-4AAF-B450-7F71BF563E5C}" srcOrd="0" destOrd="0" presId="urn:microsoft.com/office/officeart/2008/layout/SquareAccentList"/>
    <dgm:cxn modelId="{9B769A2F-3AB6-4D52-9825-D10D746E5E8D}" srcId="{00FEC2AE-A6AF-4657-B323-C6D7913775DA}" destId="{CC665849-FE70-419C-9868-73A4C8F9B2B0}" srcOrd="3" destOrd="0" parTransId="{D8AC8767-198D-4E53-BA8A-5DF2A6E7D8DE}" sibTransId="{34DD8F08-89FA-484E-B12D-0C67E750788D}"/>
    <dgm:cxn modelId="{C59C1B63-6D91-466C-9D36-B392FE5832CB}" type="presOf" srcId="{4F0EDA99-C1E8-4C71-B5F5-3B7F61EF8B57}" destId="{05581449-756A-453E-97AB-FE0150CBC793}" srcOrd="0" destOrd="0" presId="urn:microsoft.com/office/officeart/2008/layout/SquareAccentList"/>
    <dgm:cxn modelId="{F79FF483-5550-4B94-88F4-D4AC3BBD2ECB}" type="presOf" srcId="{CC665849-FE70-419C-9868-73A4C8F9B2B0}" destId="{9B5F5AC6-8695-4C71-AF48-165474040031}" srcOrd="0" destOrd="0" presId="urn:microsoft.com/office/officeart/2008/layout/SquareAccentList"/>
    <dgm:cxn modelId="{E4994987-5485-4D07-AA0D-1124A0045DF0}" srcId="{00FEC2AE-A6AF-4657-B323-C6D7913775DA}" destId="{72ACDCD9-9DE7-4C8F-B354-791CDDC67FFB}" srcOrd="4" destOrd="0" parTransId="{CC5FD289-64FD-4C7A-9640-97A6D61B2E72}" sibTransId="{A838C2F7-DCCA-488C-B3D1-B98044670299}"/>
    <dgm:cxn modelId="{86E977BE-D648-4B8E-B126-DEE3CF71AF01}" srcId="{00FEC2AE-A6AF-4657-B323-C6D7913775DA}" destId="{C68A9593-BF6B-430E-9635-C86ED41D2BF8}" srcOrd="1" destOrd="0" parTransId="{7121D5A4-9BE0-4E88-AAB4-8DE8B2CB464B}" sibTransId="{D4E5F486-D09D-4FFB-83D9-454A67E9443C}"/>
    <dgm:cxn modelId="{400D2DC9-8216-4196-ACCA-42AC603C6149}" type="presOf" srcId="{27573B04-2AE2-4CB7-80E5-0918F75685B6}" destId="{5AAB2993-73EF-42C8-AB7A-87401D9ACC8D}" srcOrd="0" destOrd="0" presId="urn:microsoft.com/office/officeart/2008/layout/SquareAccentList"/>
    <dgm:cxn modelId="{86DC9BEA-585F-4024-8926-42066129021B}" srcId="{00FEC2AE-A6AF-4657-B323-C6D7913775DA}" destId="{4F0EDA99-C1E8-4C71-B5F5-3B7F61EF8B57}" srcOrd="2" destOrd="0" parTransId="{EE6F9119-C43B-444F-B8D9-EED847E89C8C}" sibTransId="{F56A3FB6-C61A-498A-9E11-742305B60EE1}"/>
    <dgm:cxn modelId="{A62A03FF-7D32-47D2-AE25-CCA25688F76A}" srcId="{00FEC2AE-A6AF-4657-B323-C6D7913775DA}" destId="{27573B04-2AE2-4CB7-80E5-0918F75685B6}" srcOrd="0" destOrd="0" parTransId="{DC406C75-3B65-4213-9DC4-BF818CF83A8C}" sibTransId="{80C560FA-5594-4C64-8482-1BF52E4CC52B}"/>
    <dgm:cxn modelId="{95E6EA44-63C8-4416-A8E5-2BE7927BD2B2}" type="presParOf" srcId="{7D821758-AB8E-45A2-B80F-5D8F757BD9B5}" destId="{05C58172-0E4A-43DD-8D44-985C7510277F}" srcOrd="0" destOrd="0" presId="urn:microsoft.com/office/officeart/2008/layout/SquareAccentList"/>
    <dgm:cxn modelId="{7FC543C6-3B43-461E-973D-0D11F21EFAB9}" type="presParOf" srcId="{05C58172-0E4A-43DD-8D44-985C7510277F}" destId="{98176FB4-854A-4C81-B7D0-73A0D301ABFC}" srcOrd="0" destOrd="0" presId="urn:microsoft.com/office/officeart/2008/layout/SquareAccentList"/>
    <dgm:cxn modelId="{26306E04-B428-4192-B9C5-2456F4E403DF}" type="presParOf" srcId="{98176FB4-854A-4C81-B7D0-73A0D301ABFC}" destId="{57083D60-AE03-4B7B-B516-90B32628AA22}" srcOrd="0" destOrd="0" presId="urn:microsoft.com/office/officeart/2008/layout/SquareAccentList"/>
    <dgm:cxn modelId="{4B9C4CA6-F7DA-4C1A-9A87-E3FE274DE4DE}" type="presParOf" srcId="{98176FB4-854A-4C81-B7D0-73A0D301ABFC}" destId="{C135C3BD-83D5-4683-8B58-AD2A8BA0584C}" srcOrd="1" destOrd="0" presId="urn:microsoft.com/office/officeart/2008/layout/SquareAccentList"/>
    <dgm:cxn modelId="{A6B650DE-EC9C-4ECD-AA07-37D117D9C970}" type="presParOf" srcId="{98176FB4-854A-4C81-B7D0-73A0D301ABFC}" destId="{5AAB2993-73EF-42C8-AB7A-87401D9ACC8D}" srcOrd="2" destOrd="0" presId="urn:microsoft.com/office/officeart/2008/layout/SquareAccentList"/>
    <dgm:cxn modelId="{588D29DD-11FE-4B68-80B7-C87338AE6712}" type="presParOf" srcId="{05C58172-0E4A-43DD-8D44-985C7510277F}" destId="{E76F70DB-65E3-42CF-87E6-8370E88D93B0}" srcOrd="1" destOrd="0" presId="urn:microsoft.com/office/officeart/2008/layout/SquareAccentList"/>
    <dgm:cxn modelId="{53767BBF-3312-4430-980D-B50AC6AE0025}" type="presParOf" srcId="{7D821758-AB8E-45A2-B80F-5D8F757BD9B5}" destId="{F8DFC99F-89B3-4F89-B0B4-9133EB025BD7}" srcOrd="1" destOrd="0" presId="urn:microsoft.com/office/officeart/2008/layout/SquareAccentList"/>
    <dgm:cxn modelId="{7CFB3254-D4FF-4584-888B-6E756043105E}" type="presParOf" srcId="{F8DFC99F-89B3-4F89-B0B4-9133EB025BD7}" destId="{B98D8F91-0D37-454B-82D7-9FB5DCA4D501}" srcOrd="0" destOrd="0" presId="urn:microsoft.com/office/officeart/2008/layout/SquareAccentList"/>
    <dgm:cxn modelId="{C9E697D8-D4F1-4B78-A099-DB92E368C775}" type="presParOf" srcId="{B98D8F91-0D37-454B-82D7-9FB5DCA4D501}" destId="{F81AB078-672C-4D68-A0B5-2F80AFE3E7A6}" srcOrd="0" destOrd="0" presId="urn:microsoft.com/office/officeart/2008/layout/SquareAccentList"/>
    <dgm:cxn modelId="{E450DB28-BBE9-42CD-A973-C0081B726D4F}" type="presParOf" srcId="{B98D8F91-0D37-454B-82D7-9FB5DCA4D501}" destId="{E2627961-8139-48D0-B26C-DB27F54783E5}" srcOrd="1" destOrd="0" presId="urn:microsoft.com/office/officeart/2008/layout/SquareAccentList"/>
    <dgm:cxn modelId="{3B008067-A2FF-4EAE-BEB7-A086554BBD2D}" type="presParOf" srcId="{B98D8F91-0D37-454B-82D7-9FB5DCA4D501}" destId="{FA5EE4C8-83D0-4AAF-B450-7F71BF563E5C}" srcOrd="2" destOrd="0" presId="urn:microsoft.com/office/officeart/2008/layout/SquareAccentList"/>
    <dgm:cxn modelId="{C8831A51-AB5C-49B4-9FD0-7F273983E2AA}" type="presParOf" srcId="{F8DFC99F-89B3-4F89-B0B4-9133EB025BD7}" destId="{C566BD9D-6648-49F0-A9B9-0E0F533E3873}" srcOrd="1" destOrd="0" presId="urn:microsoft.com/office/officeart/2008/layout/SquareAccentList"/>
    <dgm:cxn modelId="{3A409774-CDCD-4A84-9B86-53CCF239EBAB}" type="presParOf" srcId="{7D821758-AB8E-45A2-B80F-5D8F757BD9B5}" destId="{70F4447F-AADE-4583-A3A6-0CA5CB2E0F3A}" srcOrd="2" destOrd="0" presId="urn:microsoft.com/office/officeart/2008/layout/SquareAccentList"/>
    <dgm:cxn modelId="{3DD54111-C544-42CC-A645-5A655E3422FC}" type="presParOf" srcId="{70F4447F-AADE-4583-A3A6-0CA5CB2E0F3A}" destId="{88D16C70-3657-4577-94A0-224B9D4165A0}" srcOrd="0" destOrd="0" presId="urn:microsoft.com/office/officeart/2008/layout/SquareAccentList"/>
    <dgm:cxn modelId="{764F3E89-64F6-4DE8-B134-13D5879DC14C}" type="presParOf" srcId="{88D16C70-3657-4577-94A0-224B9D4165A0}" destId="{D164127A-2EB2-412A-8823-12B60BC798FD}" srcOrd="0" destOrd="0" presId="urn:microsoft.com/office/officeart/2008/layout/SquareAccentList"/>
    <dgm:cxn modelId="{FE4329A7-F376-4D99-AE17-9C3219E85CBD}" type="presParOf" srcId="{88D16C70-3657-4577-94A0-224B9D4165A0}" destId="{EC5261C8-D31E-4FD7-969A-57C78B831212}" srcOrd="1" destOrd="0" presId="urn:microsoft.com/office/officeart/2008/layout/SquareAccentList"/>
    <dgm:cxn modelId="{878A2950-7462-4197-98F0-21DD6327B4C1}" type="presParOf" srcId="{88D16C70-3657-4577-94A0-224B9D4165A0}" destId="{05581449-756A-453E-97AB-FE0150CBC793}" srcOrd="2" destOrd="0" presId="urn:microsoft.com/office/officeart/2008/layout/SquareAccentList"/>
    <dgm:cxn modelId="{3F072EF7-B795-4AE7-8E28-7A44B3FFA2A0}" type="presParOf" srcId="{70F4447F-AADE-4583-A3A6-0CA5CB2E0F3A}" destId="{30B43CA6-70C8-4F43-87B9-588EA1A68347}" srcOrd="1" destOrd="0" presId="urn:microsoft.com/office/officeart/2008/layout/SquareAccentList"/>
    <dgm:cxn modelId="{6F52D1D3-B0A7-4AB7-9CA6-A29E5A14059F}" type="presParOf" srcId="{7D821758-AB8E-45A2-B80F-5D8F757BD9B5}" destId="{4742A081-958B-4A87-951B-33318C85AADF}" srcOrd="3" destOrd="0" presId="urn:microsoft.com/office/officeart/2008/layout/SquareAccentList"/>
    <dgm:cxn modelId="{E3C4F6EA-77A4-44E4-BA4B-19E6C4EC1083}" type="presParOf" srcId="{4742A081-958B-4A87-951B-33318C85AADF}" destId="{2DAF2ADC-63AC-4314-8F41-4046E638AF39}" srcOrd="0" destOrd="0" presId="urn:microsoft.com/office/officeart/2008/layout/SquareAccentList"/>
    <dgm:cxn modelId="{D8C8A86E-0FFF-443D-851C-674A60511AA3}" type="presParOf" srcId="{2DAF2ADC-63AC-4314-8F41-4046E638AF39}" destId="{EF40742B-22A5-4789-89C7-B72EE2FBB31C}" srcOrd="0" destOrd="0" presId="urn:microsoft.com/office/officeart/2008/layout/SquareAccentList"/>
    <dgm:cxn modelId="{2136A443-AF15-428B-A8A4-3AE7C318D74F}" type="presParOf" srcId="{2DAF2ADC-63AC-4314-8F41-4046E638AF39}" destId="{E09C8FBF-5B0F-477D-AFE3-DB58AFB4E1D8}" srcOrd="1" destOrd="0" presId="urn:microsoft.com/office/officeart/2008/layout/SquareAccentList"/>
    <dgm:cxn modelId="{C64E092C-2F48-4A01-8B4B-13819E1FDAF1}" type="presParOf" srcId="{2DAF2ADC-63AC-4314-8F41-4046E638AF39}" destId="{9B5F5AC6-8695-4C71-AF48-165474040031}" srcOrd="2" destOrd="0" presId="urn:microsoft.com/office/officeart/2008/layout/SquareAccentList"/>
    <dgm:cxn modelId="{13E737A9-48F9-4001-A18A-EA52457F6BF7}" type="presParOf" srcId="{4742A081-958B-4A87-951B-33318C85AADF}" destId="{83322CB7-04EE-4467-BF35-5D81243C03D4}" srcOrd="1" destOrd="0" presId="urn:microsoft.com/office/officeart/2008/layout/SquareAccentList"/>
    <dgm:cxn modelId="{F21A5059-0D4E-4AF5-A006-EDC8CD3BA75D}" type="presParOf" srcId="{7D821758-AB8E-45A2-B80F-5D8F757BD9B5}" destId="{24B3CAE8-8F48-4CBE-BEEF-14E147A5098B}" srcOrd="4" destOrd="0" presId="urn:microsoft.com/office/officeart/2008/layout/SquareAccentList"/>
    <dgm:cxn modelId="{1850EA8C-7B8D-4C33-9595-665CF042550F}" type="presParOf" srcId="{24B3CAE8-8F48-4CBE-BEEF-14E147A5098B}" destId="{67C19B3F-F597-4011-A2D0-808FBFCF0B1B}" srcOrd="0" destOrd="0" presId="urn:microsoft.com/office/officeart/2008/layout/SquareAccentList"/>
    <dgm:cxn modelId="{CFC7FE81-2DC3-4EE7-82FE-F5FA461D735A}" type="presParOf" srcId="{67C19B3F-F597-4011-A2D0-808FBFCF0B1B}" destId="{1278079B-85A5-44A3-8E4E-C4315E9793C8}" srcOrd="0" destOrd="0" presId="urn:microsoft.com/office/officeart/2008/layout/SquareAccentList"/>
    <dgm:cxn modelId="{9C231EBB-81A7-468D-836F-AB7618118114}" type="presParOf" srcId="{67C19B3F-F597-4011-A2D0-808FBFCF0B1B}" destId="{46ADC8CD-8D17-4CAA-A9BE-6E4A3C9B396D}" srcOrd="1" destOrd="0" presId="urn:microsoft.com/office/officeart/2008/layout/SquareAccentList"/>
    <dgm:cxn modelId="{5A16E40F-2F17-4289-8BF7-E5CAB754397E}" type="presParOf" srcId="{67C19B3F-F597-4011-A2D0-808FBFCF0B1B}" destId="{17B8EDE0-6193-48C9-B0C1-B1D9B750E27F}" srcOrd="2" destOrd="0" presId="urn:microsoft.com/office/officeart/2008/layout/SquareAccentList"/>
    <dgm:cxn modelId="{4543196C-7FE2-4F5B-BDF8-7EBEBCD98679}" type="presParOf" srcId="{24B3CAE8-8F48-4CBE-BEEF-14E147A5098B}" destId="{94D2F748-C505-442D-8626-38FBC4306CE7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D630C2-9732-4939-8B56-7D1D618AFE67}">
      <dsp:nvSpPr>
        <dsp:cNvPr id="0" name=""/>
        <dsp:cNvSpPr/>
      </dsp:nvSpPr>
      <dsp:spPr>
        <a:xfrm>
          <a:off x="2349" y="454500"/>
          <a:ext cx="1068387" cy="3456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800" kern="1200" dirty="0"/>
            <a:t>Save</a:t>
          </a:r>
        </a:p>
      </dsp:txBody>
      <dsp:txXfrm>
        <a:off x="2349" y="454500"/>
        <a:ext cx="1068387" cy="230400"/>
      </dsp:txXfrm>
    </dsp:sp>
    <dsp:sp modelId="{7D20E137-5B8F-49AC-B32F-E0793CE294F1}">
      <dsp:nvSpPr>
        <dsp:cNvPr id="0" name=""/>
        <dsp:cNvSpPr/>
      </dsp:nvSpPr>
      <dsp:spPr>
        <a:xfrm>
          <a:off x="221176" y="684900"/>
          <a:ext cx="1068387" cy="460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57150" extrusionH="6350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800" kern="1200" dirty="0"/>
            <a:t>SaveCommand</a:t>
          </a:r>
        </a:p>
      </dsp:txBody>
      <dsp:txXfrm>
        <a:off x="234672" y="698396"/>
        <a:ext cx="1041395" cy="433808"/>
      </dsp:txXfrm>
    </dsp:sp>
    <dsp:sp modelId="{B59CD46F-B050-4150-83B9-DF826AA88A49}">
      <dsp:nvSpPr>
        <dsp:cNvPr id="0" name=""/>
        <dsp:cNvSpPr/>
      </dsp:nvSpPr>
      <dsp:spPr>
        <a:xfrm>
          <a:off x="1232701" y="436701"/>
          <a:ext cx="343363" cy="2659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600" kern="1200"/>
        </a:p>
      </dsp:txBody>
      <dsp:txXfrm>
        <a:off x="1232701" y="489900"/>
        <a:ext cx="263564" cy="159599"/>
      </dsp:txXfrm>
    </dsp:sp>
    <dsp:sp modelId="{011EEB97-53CD-4A28-92BD-B039B4D92B4E}">
      <dsp:nvSpPr>
        <dsp:cNvPr id="0" name=""/>
        <dsp:cNvSpPr/>
      </dsp:nvSpPr>
      <dsp:spPr>
        <a:xfrm>
          <a:off x="1718592" y="454500"/>
          <a:ext cx="1068387" cy="3456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800" kern="1200" dirty="0"/>
            <a:t>Delete</a:t>
          </a:r>
        </a:p>
      </dsp:txBody>
      <dsp:txXfrm>
        <a:off x="1718592" y="454500"/>
        <a:ext cx="1068387" cy="230400"/>
      </dsp:txXfrm>
    </dsp:sp>
    <dsp:sp modelId="{0B37A743-14F3-47E0-87BA-15536EF001D9}">
      <dsp:nvSpPr>
        <dsp:cNvPr id="0" name=""/>
        <dsp:cNvSpPr/>
      </dsp:nvSpPr>
      <dsp:spPr>
        <a:xfrm>
          <a:off x="1937419" y="684900"/>
          <a:ext cx="1068387" cy="460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57150" extrusionH="6350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800" kern="1200" dirty="0"/>
            <a:t>DeleteCommand</a:t>
          </a:r>
        </a:p>
      </dsp:txBody>
      <dsp:txXfrm>
        <a:off x="1950915" y="698396"/>
        <a:ext cx="1041395" cy="433808"/>
      </dsp:txXfrm>
    </dsp:sp>
    <dsp:sp modelId="{50497CCD-54D9-4C81-BA09-3A036D3464FA}">
      <dsp:nvSpPr>
        <dsp:cNvPr id="0" name=""/>
        <dsp:cNvSpPr/>
      </dsp:nvSpPr>
      <dsp:spPr>
        <a:xfrm>
          <a:off x="2948944" y="436701"/>
          <a:ext cx="343363" cy="2659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600" kern="1200"/>
        </a:p>
      </dsp:txBody>
      <dsp:txXfrm>
        <a:off x="2948944" y="489900"/>
        <a:ext cx="263564" cy="159599"/>
      </dsp:txXfrm>
    </dsp:sp>
    <dsp:sp modelId="{DA4A4633-9A69-477E-AC5C-85D95173F674}">
      <dsp:nvSpPr>
        <dsp:cNvPr id="0" name=""/>
        <dsp:cNvSpPr/>
      </dsp:nvSpPr>
      <dsp:spPr>
        <a:xfrm>
          <a:off x="3434835" y="454500"/>
          <a:ext cx="1068387" cy="3456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800" kern="1200" dirty="0"/>
            <a:t>Close</a:t>
          </a:r>
        </a:p>
      </dsp:txBody>
      <dsp:txXfrm>
        <a:off x="3434835" y="454500"/>
        <a:ext cx="1068387" cy="230400"/>
      </dsp:txXfrm>
    </dsp:sp>
    <dsp:sp modelId="{B7C86353-D11E-4DA1-A222-7D130F13E8C7}">
      <dsp:nvSpPr>
        <dsp:cNvPr id="0" name=""/>
        <dsp:cNvSpPr/>
      </dsp:nvSpPr>
      <dsp:spPr>
        <a:xfrm>
          <a:off x="3653662" y="684900"/>
          <a:ext cx="1068387" cy="460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57150" extrusionH="6350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800" kern="1200" dirty="0"/>
            <a:t>CloseCommand</a:t>
          </a:r>
        </a:p>
      </dsp:txBody>
      <dsp:txXfrm>
        <a:off x="3667158" y="698396"/>
        <a:ext cx="1041395" cy="43380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15DC4B-23C5-48D6-8E95-09BD878FBE51}">
      <dsp:nvSpPr>
        <dsp:cNvPr id="0" name=""/>
        <dsp:cNvSpPr/>
      </dsp:nvSpPr>
      <dsp:spPr>
        <a:xfrm>
          <a:off x="1494553" y="53755"/>
          <a:ext cx="1849185" cy="642197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979588-1AEC-440D-9614-78EB8E494305}">
      <dsp:nvSpPr>
        <dsp:cNvPr id="0" name=""/>
        <dsp:cNvSpPr/>
      </dsp:nvSpPr>
      <dsp:spPr>
        <a:xfrm>
          <a:off x="2242828" y="1626280"/>
          <a:ext cx="358369" cy="229356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10C534-8E8A-4AFF-BC03-3A8A72C69A3F}">
      <dsp:nvSpPr>
        <dsp:cNvPr id="0" name=""/>
        <dsp:cNvSpPr/>
      </dsp:nvSpPr>
      <dsp:spPr>
        <a:xfrm>
          <a:off x="1561927" y="1809765"/>
          <a:ext cx="1720173" cy="4300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rPr>
            <a:t>Business Service Pool</a:t>
          </a:r>
          <a:endParaRPr lang="tr-TR" sz="1200" b="1" kern="1200" dirty="0">
            <a:solidFill>
              <a:schemeClr val="tx1">
                <a:lumMod val="50000"/>
              </a:schemeClr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sp:txBody>
      <dsp:txXfrm>
        <a:off x="1561927" y="1809765"/>
        <a:ext cx="1720173" cy="430043"/>
      </dsp:txXfrm>
    </dsp:sp>
    <dsp:sp modelId="{EC946288-25CC-4E4A-B085-FA0264E95E27}">
      <dsp:nvSpPr>
        <dsp:cNvPr id="0" name=""/>
        <dsp:cNvSpPr/>
      </dsp:nvSpPr>
      <dsp:spPr>
        <a:xfrm>
          <a:off x="2063040" y="706302"/>
          <a:ext cx="852691" cy="72356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Internet Branch Change Password</a:t>
          </a:r>
          <a:endParaRPr lang="tr-TR" sz="900" kern="1200" dirty="0"/>
        </a:p>
      </dsp:txBody>
      <dsp:txXfrm>
        <a:off x="2187914" y="812265"/>
        <a:ext cx="602943" cy="511636"/>
      </dsp:txXfrm>
    </dsp:sp>
    <dsp:sp modelId="{594B5E29-670F-4E3C-A1F6-D7434573E3AC}">
      <dsp:nvSpPr>
        <dsp:cNvPr id="0" name=""/>
        <dsp:cNvSpPr/>
      </dsp:nvSpPr>
      <dsp:spPr>
        <a:xfrm>
          <a:off x="1632750" y="261609"/>
          <a:ext cx="790114" cy="6450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 err="1"/>
            <a:t>Deposite</a:t>
          </a:r>
          <a:endParaRPr lang="tr-TR" sz="900" kern="1200" dirty="0"/>
        </a:p>
      </dsp:txBody>
      <dsp:txXfrm>
        <a:off x="1748460" y="356076"/>
        <a:ext cx="558694" cy="456130"/>
      </dsp:txXfrm>
    </dsp:sp>
    <dsp:sp modelId="{EE5A92B3-9C5A-4CFE-8648-2C41ECB51369}">
      <dsp:nvSpPr>
        <dsp:cNvPr id="0" name=""/>
        <dsp:cNvSpPr/>
      </dsp:nvSpPr>
      <dsp:spPr>
        <a:xfrm>
          <a:off x="2243534" y="105647"/>
          <a:ext cx="887344" cy="6450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Internal Money Transfer</a:t>
          </a:r>
          <a:endParaRPr lang="tr-TR" sz="900" kern="1200" dirty="0"/>
        </a:p>
      </dsp:txBody>
      <dsp:txXfrm>
        <a:off x="2373483" y="200114"/>
        <a:ext cx="627446" cy="456130"/>
      </dsp:txXfrm>
    </dsp:sp>
    <dsp:sp modelId="{FEF80105-D55B-4BA5-87BA-A6AF61F7E631}">
      <dsp:nvSpPr>
        <dsp:cNvPr id="0" name=""/>
        <dsp:cNvSpPr/>
      </dsp:nvSpPr>
      <dsp:spPr>
        <a:xfrm>
          <a:off x="1215714" y="62389"/>
          <a:ext cx="2412597" cy="1430544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CB5094-43BF-42FD-885C-AEF6EE0EA5D0}">
      <dsp:nvSpPr>
        <dsp:cNvPr id="0" name=""/>
        <dsp:cNvSpPr/>
      </dsp:nvSpPr>
      <dsp:spPr>
        <a:xfrm>
          <a:off x="1627367" y="1895410"/>
          <a:ext cx="1501041" cy="150104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/>
            <a:t>Deployment Service</a:t>
          </a:r>
        </a:p>
      </dsp:txBody>
      <dsp:txXfrm>
        <a:off x="1847189" y="2115232"/>
        <a:ext cx="1061397" cy="1061397"/>
      </dsp:txXfrm>
    </dsp:sp>
    <dsp:sp modelId="{659FE4F2-E3E0-484E-A961-FA97BAF76E4E}">
      <dsp:nvSpPr>
        <dsp:cNvPr id="0" name=""/>
        <dsp:cNvSpPr/>
      </dsp:nvSpPr>
      <dsp:spPr>
        <a:xfrm rot="12969575" flipH="1">
          <a:off x="1311160" y="1745189"/>
          <a:ext cx="547373" cy="427796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tint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5408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6BC75B3-E8AE-4CD8-AAA1-7935A58FA57D}">
      <dsp:nvSpPr>
        <dsp:cNvPr id="0" name=""/>
        <dsp:cNvSpPr/>
      </dsp:nvSpPr>
      <dsp:spPr>
        <a:xfrm>
          <a:off x="0" y="751455"/>
          <a:ext cx="1425989" cy="114079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/>
            <a:t>Operations Center</a:t>
          </a:r>
        </a:p>
      </dsp:txBody>
      <dsp:txXfrm>
        <a:off x="33413" y="784868"/>
        <a:ext cx="1359163" cy="1073965"/>
      </dsp:txXfrm>
    </dsp:sp>
    <dsp:sp modelId="{C44C703F-DC70-465C-94BA-75F715DE66BC}">
      <dsp:nvSpPr>
        <dsp:cNvPr id="0" name=""/>
        <dsp:cNvSpPr/>
      </dsp:nvSpPr>
      <dsp:spPr>
        <a:xfrm rot="5400000">
          <a:off x="2070183" y="1313055"/>
          <a:ext cx="615408" cy="427796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tint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5408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08E1C7F-ED5E-4B6E-8260-79407609227D}">
      <dsp:nvSpPr>
        <dsp:cNvPr id="0" name=""/>
        <dsp:cNvSpPr/>
      </dsp:nvSpPr>
      <dsp:spPr>
        <a:xfrm>
          <a:off x="1664893" y="45995"/>
          <a:ext cx="1425989" cy="114079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/>
            <a:t>General Management</a:t>
          </a:r>
        </a:p>
      </dsp:txBody>
      <dsp:txXfrm>
        <a:off x="1698306" y="79408"/>
        <a:ext cx="1359163" cy="1073965"/>
      </dsp:txXfrm>
    </dsp:sp>
    <dsp:sp modelId="{69D4ACA7-778A-4BC9-AE42-FD98ACB7E1E4}">
      <dsp:nvSpPr>
        <dsp:cNvPr id="0" name=""/>
        <dsp:cNvSpPr/>
      </dsp:nvSpPr>
      <dsp:spPr>
        <a:xfrm rot="8472194">
          <a:off x="2924201" y="1756204"/>
          <a:ext cx="519583" cy="427796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tint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5408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C5129FB-3A97-47D0-8BDD-BD68C1BE9D2F}">
      <dsp:nvSpPr>
        <dsp:cNvPr id="0" name=""/>
        <dsp:cNvSpPr/>
      </dsp:nvSpPr>
      <dsp:spPr>
        <a:xfrm>
          <a:off x="3329786" y="805816"/>
          <a:ext cx="1425989" cy="114079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/>
            <a:t>Branches</a:t>
          </a:r>
        </a:p>
      </dsp:txBody>
      <dsp:txXfrm>
        <a:off x="3363199" y="839229"/>
        <a:ext cx="1359163" cy="10739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757A22-8888-49D9-8ECC-C2A0C5640F4C}">
      <dsp:nvSpPr>
        <dsp:cNvPr id="0" name=""/>
        <dsp:cNvSpPr/>
      </dsp:nvSpPr>
      <dsp:spPr>
        <a:xfrm rot="16200000">
          <a:off x="-769069" y="769069"/>
          <a:ext cx="1905000" cy="36686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9793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kern="1200" dirty="0"/>
            <a:t>UI</a:t>
          </a:r>
        </a:p>
      </dsp:txBody>
      <dsp:txXfrm rot="5400000">
        <a:off x="0" y="381000"/>
        <a:ext cx="366861" cy="1143000"/>
      </dsp:txXfrm>
    </dsp:sp>
    <dsp:sp modelId="{07664257-3136-41C8-85B5-248D86E03BA4}">
      <dsp:nvSpPr>
        <dsp:cNvPr id="0" name=""/>
        <dsp:cNvSpPr/>
      </dsp:nvSpPr>
      <dsp:spPr>
        <a:xfrm rot="16200000">
          <a:off x="-450131" y="769069"/>
          <a:ext cx="1905000" cy="36686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9793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kern="1200" dirty="0"/>
            <a:t>UI</a:t>
          </a:r>
        </a:p>
      </dsp:txBody>
      <dsp:txXfrm rot="5400000">
        <a:off x="318938" y="381000"/>
        <a:ext cx="366861" cy="1143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AE74D5-4D3D-4038-A901-33C1A8383092}">
      <dsp:nvSpPr>
        <dsp:cNvPr id="0" name=""/>
        <dsp:cNvSpPr/>
      </dsp:nvSpPr>
      <dsp:spPr>
        <a:xfrm>
          <a:off x="1364173" y="1326080"/>
          <a:ext cx="3303570" cy="330357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6500" kern="1200" dirty="0"/>
        </a:p>
      </dsp:txBody>
      <dsp:txXfrm>
        <a:off x="1847970" y="1809877"/>
        <a:ext cx="2335976" cy="2335976"/>
      </dsp:txXfrm>
    </dsp:sp>
    <dsp:sp modelId="{D7655F7E-B5B5-450B-926F-D81D327CD2F9}">
      <dsp:nvSpPr>
        <dsp:cNvPr id="0" name=""/>
        <dsp:cNvSpPr/>
      </dsp:nvSpPr>
      <dsp:spPr>
        <a:xfrm>
          <a:off x="2404674" y="260448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Commission Engine</a:t>
          </a:r>
        </a:p>
      </dsp:txBody>
      <dsp:txXfrm>
        <a:off x="2583715" y="426235"/>
        <a:ext cx="864486" cy="800493"/>
      </dsp:txXfrm>
    </dsp:sp>
    <dsp:sp modelId="{837FEC2C-9695-4D00-8579-4A3A4010B062}">
      <dsp:nvSpPr>
        <dsp:cNvPr id="0" name=""/>
        <dsp:cNvSpPr/>
      </dsp:nvSpPr>
      <dsp:spPr>
        <a:xfrm>
          <a:off x="3669226" y="671326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Account Exception Engine</a:t>
          </a:r>
        </a:p>
      </dsp:txBody>
      <dsp:txXfrm>
        <a:off x="3848267" y="837113"/>
        <a:ext cx="864486" cy="800493"/>
      </dsp:txXfrm>
    </dsp:sp>
    <dsp:sp modelId="{D573D317-8010-4F19-A99C-CDDBB8675A12}">
      <dsp:nvSpPr>
        <dsp:cNvPr id="0" name=""/>
        <dsp:cNvSpPr/>
      </dsp:nvSpPr>
      <dsp:spPr>
        <a:xfrm>
          <a:off x="4450761" y="1747018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>
              <a:solidFill>
                <a:schemeClr val="bg1"/>
              </a:solidFill>
            </a:rPr>
            <a:t>Banknote Engine</a:t>
          </a:r>
          <a:endParaRPr lang="tr-TR" sz="1050" b="1" kern="1200" dirty="0">
            <a:solidFill>
              <a:schemeClr val="bg1"/>
            </a:solidFill>
          </a:endParaRPr>
        </a:p>
      </dsp:txBody>
      <dsp:txXfrm>
        <a:off x="4629802" y="1912805"/>
        <a:ext cx="864486" cy="800493"/>
      </dsp:txXfrm>
    </dsp:sp>
    <dsp:sp modelId="{6605A151-0D99-4ED2-BF2D-D44E0E9B0F6B}">
      <dsp:nvSpPr>
        <dsp:cNvPr id="0" name=""/>
        <dsp:cNvSpPr/>
      </dsp:nvSpPr>
      <dsp:spPr>
        <a:xfrm>
          <a:off x="4424779" y="3085012"/>
          <a:ext cx="1274533" cy="1115334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/>
              </a:solidFill>
            </a:rPr>
            <a:t>Rule Engine</a:t>
          </a:r>
        </a:p>
      </dsp:txBody>
      <dsp:txXfrm>
        <a:off x="4611430" y="3248349"/>
        <a:ext cx="901231" cy="788660"/>
      </dsp:txXfrm>
    </dsp:sp>
    <dsp:sp modelId="{0D6547C8-739B-48F0-A766-494505971A75}">
      <dsp:nvSpPr>
        <dsp:cNvPr id="0" name=""/>
        <dsp:cNvSpPr/>
      </dsp:nvSpPr>
      <dsp:spPr>
        <a:xfrm>
          <a:off x="3670104" y="4133924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Accountin</a:t>
          </a:r>
          <a:r>
            <a:rPr lang="en-US" sz="1050" b="1" kern="1200" dirty="0">
              <a:solidFill>
                <a:schemeClr val="bg1"/>
              </a:solidFill>
            </a:rPr>
            <a:t>g </a:t>
          </a:r>
          <a:r>
            <a:rPr lang="tr-TR" sz="1050" b="1" kern="1200" dirty="0">
              <a:solidFill>
                <a:schemeClr val="bg1"/>
              </a:solidFill>
            </a:rPr>
            <a:t>Engine</a:t>
          </a:r>
        </a:p>
      </dsp:txBody>
      <dsp:txXfrm>
        <a:off x="3849145" y="4299711"/>
        <a:ext cx="864486" cy="800493"/>
      </dsp:txXfrm>
    </dsp:sp>
    <dsp:sp modelId="{C2A7C15D-F429-46B9-8DB3-4A9FDF6BFC37}">
      <dsp:nvSpPr>
        <dsp:cNvPr id="0" name=""/>
        <dsp:cNvSpPr/>
      </dsp:nvSpPr>
      <dsp:spPr>
        <a:xfrm>
          <a:off x="2404674" y="4563216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Authorization Engine</a:t>
          </a:r>
        </a:p>
      </dsp:txBody>
      <dsp:txXfrm>
        <a:off x="2583715" y="4729003"/>
        <a:ext cx="864486" cy="800493"/>
      </dsp:txXfrm>
    </dsp:sp>
    <dsp:sp modelId="{041814EC-A393-4119-A937-1793A10488CE}">
      <dsp:nvSpPr>
        <dsp:cNvPr id="0" name=""/>
        <dsp:cNvSpPr/>
      </dsp:nvSpPr>
      <dsp:spPr>
        <a:xfrm>
          <a:off x="1140122" y="4152338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Workflow Engine</a:t>
          </a:r>
        </a:p>
      </dsp:txBody>
      <dsp:txXfrm>
        <a:off x="1319163" y="4318125"/>
        <a:ext cx="864486" cy="800493"/>
      </dsp:txXfrm>
    </dsp:sp>
    <dsp:sp modelId="{05E90352-636D-4AB3-B243-8EB045E82D85}">
      <dsp:nvSpPr>
        <dsp:cNvPr id="0" name=""/>
        <dsp:cNvSpPr/>
      </dsp:nvSpPr>
      <dsp:spPr>
        <a:xfrm>
          <a:off x="358586" y="3076646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Information Engine</a:t>
          </a:r>
        </a:p>
      </dsp:txBody>
      <dsp:txXfrm>
        <a:off x="537627" y="3242433"/>
        <a:ext cx="864486" cy="800493"/>
      </dsp:txXfrm>
    </dsp:sp>
    <dsp:sp modelId="{5C02EF1C-F48B-479B-89C2-54A3F2C1A430}">
      <dsp:nvSpPr>
        <dsp:cNvPr id="0" name=""/>
        <dsp:cNvSpPr/>
      </dsp:nvSpPr>
      <dsp:spPr>
        <a:xfrm>
          <a:off x="358586" y="1747018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50" b="1" kern="1200" dirty="0">
              <a:solidFill>
                <a:schemeClr val="bg1"/>
              </a:solidFill>
            </a:rPr>
            <a:t>Transaction Cancellation Engine</a:t>
          </a:r>
        </a:p>
      </dsp:txBody>
      <dsp:txXfrm>
        <a:off x="537627" y="1912805"/>
        <a:ext cx="864486" cy="800493"/>
      </dsp:txXfrm>
    </dsp:sp>
    <dsp:sp modelId="{68F0B4E7-E601-4CC2-9DE3-7421BD9ADAC2}">
      <dsp:nvSpPr>
        <dsp:cNvPr id="0" name=""/>
        <dsp:cNvSpPr/>
      </dsp:nvSpPr>
      <dsp:spPr>
        <a:xfrm>
          <a:off x="1140122" y="671326"/>
          <a:ext cx="1222568" cy="113206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/>
              </a:solidFill>
            </a:rPr>
            <a:t>Slip Engine</a:t>
          </a:r>
          <a:endParaRPr lang="tr-TR" sz="1050" b="1" kern="1200" dirty="0">
            <a:solidFill>
              <a:schemeClr val="bg1"/>
            </a:solidFill>
          </a:endParaRPr>
        </a:p>
      </dsp:txBody>
      <dsp:txXfrm>
        <a:off x="1319163" y="837113"/>
        <a:ext cx="864486" cy="80049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F375FF-46A3-42C3-A75B-EB4FBEA0377C}">
      <dsp:nvSpPr>
        <dsp:cNvPr id="0" name=""/>
        <dsp:cNvSpPr/>
      </dsp:nvSpPr>
      <dsp:spPr>
        <a:xfrm>
          <a:off x="1524003" y="914397"/>
          <a:ext cx="1921661" cy="1828311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b="1" kern="1200" dirty="0"/>
            <a:t>Orchestration</a:t>
          </a:r>
        </a:p>
      </dsp:txBody>
      <dsp:txXfrm>
        <a:off x="1903365" y="1342670"/>
        <a:ext cx="1162937" cy="939790"/>
      </dsp:txXfrm>
    </dsp:sp>
    <dsp:sp modelId="{352A5317-FB87-4BC0-8417-B356BE8BE7A8}">
      <dsp:nvSpPr>
        <dsp:cNvPr id="0" name=""/>
        <dsp:cNvSpPr/>
      </dsp:nvSpPr>
      <dsp:spPr>
        <a:xfrm>
          <a:off x="507398" y="665264"/>
          <a:ext cx="1272927" cy="122112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200" b="1" kern="1200" dirty="0"/>
            <a:t>Process</a:t>
          </a:r>
        </a:p>
      </dsp:txBody>
      <dsp:txXfrm>
        <a:off x="822350" y="974543"/>
        <a:ext cx="643023" cy="602565"/>
      </dsp:txXfrm>
    </dsp:sp>
    <dsp:sp modelId="{097FD5DE-D6DD-415A-B24E-CF69389CF993}">
      <dsp:nvSpPr>
        <dsp:cNvPr id="0" name=""/>
        <dsp:cNvSpPr/>
      </dsp:nvSpPr>
      <dsp:spPr>
        <a:xfrm rot="643077">
          <a:off x="1498961" y="-7234"/>
          <a:ext cx="1238051" cy="122628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300" b="1" kern="1200" dirty="0"/>
            <a:t>Business Kernel</a:t>
          </a:r>
        </a:p>
      </dsp:txBody>
      <dsp:txXfrm rot="900000">
        <a:off x="1771200" y="261027"/>
        <a:ext cx="693573" cy="689759"/>
      </dsp:txXfrm>
    </dsp:sp>
    <dsp:sp modelId="{CFFBB5CB-F095-4746-A102-6D00F5F89553}">
      <dsp:nvSpPr>
        <dsp:cNvPr id="0" name=""/>
        <dsp:cNvSpPr/>
      </dsp:nvSpPr>
      <dsp:spPr>
        <a:xfrm>
          <a:off x="2819391" y="1600207"/>
          <a:ext cx="468678" cy="431878"/>
        </a:xfrm>
        <a:prstGeom prst="circularArrow">
          <a:avLst>
            <a:gd name="adj1" fmla="val 4688"/>
            <a:gd name="adj2" fmla="val 299029"/>
            <a:gd name="adj3" fmla="val 2463434"/>
            <a:gd name="adj4" fmla="val 15979944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7ED722-2460-4C40-ABE6-573FA46C97F4}">
      <dsp:nvSpPr>
        <dsp:cNvPr id="0" name=""/>
        <dsp:cNvSpPr/>
      </dsp:nvSpPr>
      <dsp:spPr>
        <a:xfrm rot="17794689">
          <a:off x="1134803" y="1434794"/>
          <a:ext cx="380589" cy="387247"/>
        </a:xfrm>
        <a:prstGeom prst="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248124-9020-482D-B66C-FC422C1A6F51}">
      <dsp:nvSpPr>
        <dsp:cNvPr id="0" name=""/>
        <dsp:cNvSpPr/>
      </dsp:nvSpPr>
      <dsp:spPr>
        <a:xfrm>
          <a:off x="2438397" y="533400"/>
          <a:ext cx="509149" cy="273887"/>
        </a:xfrm>
        <a:prstGeom prst="left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0EDD0C-69E0-45E3-872B-7EB670306471}">
      <dsp:nvSpPr>
        <dsp:cNvPr id="0" name=""/>
        <dsp:cNvSpPr/>
      </dsp:nvSpPr>
      <dsp:spPr>
        <a:xfrm>
          <a:off x="0" y="4437536"/>
          <a:ext cx="8382000" cy="9708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/>
            <a:t>PROCEED TO NEXT ENGINE</a:t>
          </a:r>
        </a:p>
      </dsp:txBody>
      <dsp:txXfrm>
        <a:off x="0" y="4437536"/>
        <a:ext cx="8382000" cy="970824"/>
      </dsp:txXfrm>
    </dsp:sp>
    <dsp:sp modelId="{5AA93A47-7755-49BC-A004-6D316695D233}">
      <dsp:nvSpPr>
        <dsp:cNvPr id="0" name=""/>
        <dsp:cNvSpPr/>
      </dsp:nvSpPr>
      <dsp:spPr>
        <a:xfrm rot="10800000">
          <a:off x="0" y="2958970"/>
          <a:ext cx="8382000" cy="1493128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/>
            <a:t>DYNAMIC EVALUATION AND DATABASE OPERATIONS</a:t>
          </a:r>
        </a:p>
      </dsp:txBody>
      <dsp:txXfrm rot="-10800000">
        <a:off x="0" y="2958970"/>
        <a:ext cx="8382000" cy="524087"/>
      </dsp:txXfrm>
    </dsp:sp>
    <dsp:sp modelId="{3A17F41C-8BC8-40A0-ABA7-4A7F0F6BD34D}">
      <dsp:nvSpPr>
        <dsp:cNvPr id="0" name=""/>
        <dsp:cNvSpPr/>
      </dsp:nvSpPr>
      <dsp:spPr>
        <a:xfrm>
          <a:off x="0" y="3505202"/>
          <a:ext cx="2095500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Assembly Generation</a:t>
          </a:r>
        </a:p>
      </dsp:txBody>
      <dsp:txXfrm>
        <a:off x="0" y="3505202"/>
        <a:ext cx="2095500" cy="446445"/>
      </dsp:txXfrm>
    </dsp:sp>
    <dsp:sp modelId="{5D6E0880-A92D-4C0D-AC7D-D95A6EFD6A5E}">
      <dsp:nvSpPr>
        <dsp:cNvPr id="0" name=""/>
        <dsp:cNvSpPr/>
      </dsp:nvSpPr>
      <dsp:spPr>
        <a:xfrm>
          <a:off x="2095500" y="3483058"/>
          <a:ext cx="2095500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Dynamic Evaluation</a:t>
          </a:r>
        </a:p>
      </dsp:txBody>
      <dsp:txXfrm>
        <a:off x="2095500" y="3483058"/>
        <a:ext cx="2095500" cy="446445"/>
      </dsp:txXfrm>
    </dsp:sp>
    <dsp:sp modelId="{42C6F580-FC1D-4E92-BA1F-5BEF34608113}">
      <dsp:nvSpPr>
        <dsp:cNvPr id="0" name=""/>
        <dsp:cNvSpPr/>
      </dsp:nvSpPr>
      <dsp:spPr>
        <a:xfrm>
          <a:off x="4191000" y="3483058"/>
          <a:ext cx="2095500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DB Operations</a:t>
          </a:r>
        </a:p>
      </dsp:txBody>
      <dsp:txXfrm>
        <a:off x="4191000" y="3483058"/>
        <a:ext cx="2095500" cy="446445"/>
      </dsp:txXfrm>
    </dsp:sp>
    <dsp:sp modelId="{3F77393B-FEC0-4E98-A758-C7280CA72F1E}">
      <dsp:nvSpPr>
        <dsp:cNvPr id="0" name=""/>
        <dsp:cNvSpPr/>
      </dsp:nvSpPr>
      <dsp:spPr>
        <a:xfrm>
          <a:off x="6286500" y="3483058"/>
          <a:ext cx="2095500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Caching</a:t>
          </a:r>
        </a:p>
      </dsp:txBody>
      <dsp:txXfrm>
        <a:off x="6286500" y="3483058"/>
        <a:ext cx="2095500" cy="446445"/>
      </dsp:txXfrm>
    </dsp:sp>
    <dsp:sp modelId="{0B2CF084-696E-4FF0-9A3F-BAA52F684429}">
      <dsp:nvSpPr>
        <dsp:cNvPr id="0" name=""/>
        <dsp:cNvSpPr/>
      </dsp:nvSpPr>
      <dsp:spPr>
        <a:xfrm rot="10800000">
          <a:off x="0" y="1480404"/>
          <a:ext cx="8382000" cy="1493128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/>
            <a:t>INTERNAL RULE ENGINE</a:t>
          </a:r>
        </a:p>
      </dsp:txBody>
      <dsp:txXfrm rot="-10800000">
        <a:off x="0" y="1480404"/>
        <a:ext cx="8382000" cy="524087"/>
      </dsp:txXfrm>
    </dsp:sp>
    <dsp:sp modelId="{E18F0C12-6909-47A9-B956-2A02E0609010}">
      <dsp:nvSpPr>
        <dsp:cNvPr id="0" name=""/>
        <dsp:cNvSpPr/>
      </dsp:nvSpPr>
      <dsp:spPr>
        <a:xfrm>
          <a:off x="0" y="2004492"/>
          <a:ext cx="4191000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kern="1200" dirty="0">
              <a:solidFill>
                <a:schemeClr val="tx1">
                  <a:lumMod val="50000"/>
                </a:schemeClr>
              </a:solidFill>
            </a:rPr>
            <a:t>If Customer Profitability &gt;10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1400" kern="1200" dirty="0">
              <a:solidFill>
                <a:schemeClr val="tx1">
                  <a:lumMod val="50000"/>
                </a:schemeClr>
              </a:solidFill>
            </a:rPr>
            <a:t>Return Commission Amount = 50</a:t>
          </a:r>
        </a:p>
      </dsp:txBody>
      <dsp:txXfrm>
        <a:off x="0" y="2004492"/>
        <a:ext cx="4191000" cy="446445"/>
      </dsp:txXfrm>
    </dsp:sp>
    <dsp:sp modelId="{F3EEB615-C4D7-45D4-975A-F25001713CE3}">
      <dsp:nvSpPr>
        <dsp:cNvPr id="0" name=""/>
        <dsp:cNvSpPr/>
      </dsp:nvSpPr>
      <dsp:spPr>
        <a:xfrm>
          <a:off x="4191000" y="2004492"/>
          <a:ext cx="4191000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kern="1200" dirty="0">
              <a:solidFill>
                <a:schemeClr val="tx1">
                  <a:lumMod val="50000"/>
                </a:schemeClr>
              </a:solidFill>
            </a:rPr>
            <a:t>If Customer Belongs to Advantage Packag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1400" kern="1200" dirty="0">
              <a:solidFill>
                <a:schemeClr val="tx1">
                  <a:lumMod val="50000"/>
                </a:schemeClr>
              </a:solidFill>
            </a:rPr>
            <a:t>Return Commission Amount = 10</a:t>
          </a:r>
        </a:p>
      </dsp:txBody>
      <dsp:txXfrm>
        <a:off x="4191000" y="2004492"/>
        <a:ext cx="4191000" cy="446445"/>
      </dsp:txXfrm>
    </dsp:sp>
    <dsp:sp modelId="{798F178E-12B4-456B-9274-F7F4D4413C81}">
      <dsp:nvSpPr>
        <dsp:cNvPr id="0" name=""/>
        <dsp:cNvSpPr/>
      </dsp:nvSpPr>
      <dsp:spPr>
        <a:xfrm rot="10800000">
          <a:off x="0" y="1839"/>
          <a:ext cx="8382000" cy="1493128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/>
            <a:t>MESSAGE PARSING</a:t>
          </a:r>
        </a:p>
      </dsp:txBody>
      <dsp:txXfrm rot="-10800000">
        <a:off x="0" y="1839"/>
        <a:ext cx="8382000" cy="524087"/>
      </dsp:txXfrm>
    </dsp:sp>
    <dsp:sp modelId="{AC19E955-13B1-44F5-868E-7E087FABC4D0}">
      <dsp:nvSpPr>
        <dsp:cNvPr id="0" name=""/>
        <dsp:cNvSpPr/>
      </dsp:nvSpPr>
      <dsp:spPr>
        <a:xfrm>
          <a:off x="4092" y="525927"/>
          <a:ext cx="1395635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Branch</a:t>
          </a:r>
        </a:p>
      </dsp:txBody>
      <dsp:txXfrm>
        <a:off x="4092" y="525927"/>
        <a:ext cx="1395635" cy="446445"/>
      </dsp:txXfrm>
    </dsp:sp>
    <dsp:sp modelId="{17206E56-3C8A-49B5-A623-4FC4E49B1EEB}">
      <dsp:nvSpPr>
        <dsp:cNvPr id="0" name=""/>
        <dsp:cNvSpPr/>
      </dsp:nvSpPr>
      <dsp:spPr>
        <a:xfrm>
          <a:off x="1399728" y="525927"/>
          <a:ext cx="1395635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Amount</a:t>
          </a:r>
        </a:p>
      </dsp:txBody>
      <dsp:txXfrm>
        <a:off x="1399728" y="525927"/>
        <a:ext cx="1395635" cy="446445"/>
      </dsp:txXfrm>
    </dsp:sp>
    <dsp:sp modelId="{59DA1281-879A-4EC1-8264-5B783E491650}">
      <dsp:nvSpPr>
        <dsp:cNvPr id="0" name=""/>
        <dsp:cNvSpPr/>
      </dsp:nvSpPr>
      <dsp:spPr>
        <a:xfrm>
          <a:off x="2795364" y="525927"/>
          <a:ext cx="1395635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Customer</a:t>
          </a:r>
        </a:p>
      </dsp:txBody>
      <dsp:txXfrm>
        <a:off x="2795364" y="525927"/>
        <a:ext cx="1395635" cy="446445"/>
      </dsp:txXfrm>
    </dsp:sp>
    <dsp:sp modelId="{C61AD952-D9B5-4EE4-98DB-5CEFE022F1CB}">
      <dsp:nvSpPr>
        <dsp:cNvPr id="0" name=""/>
        <dsp:cNvSpPr/>
      </dsp:nvSpPr>
      <dsp:spPr>
        <a:xfrm>
          <a:off x="4191000" y="525927"/>
          <a:ext cx="1395635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Account</a:t>
          </a:r>
        </a:p>
      </dsp:txBody>
      <dsp:txXfrm>
        <a:off x="4191000" y="525927"/>
        <a:ext cx="1395635" cy="446445"/>
      </dsp:txXfrm>
    </dsp:sp>
    <dsp:sp modelId="{18F85713-3AA6-457A-BB92-9EEC155E1A66}">
      <dsp:nvSpPr>
        <dsp:cNvPr id="0" name=""/>
        <dsp:cNvSpPr/>
      </dsp:nvSpPr>
      <dsp:spPr>
        <a:xfrm>
          <a:off x="5586635" y="525927"/>
          <a:ext cx="1395635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LedgerId</a:t>
          </a:r>
        </a:p>
      </dsp:txBody>
      <dsp:txXfrm>
        <a:off x="5586635" y="525927"/>
        <a:ext cx="1395635" cy="446445"/>
      </dsp:txXfrm>
    </dsp:sp>
    <dsp:sp modelId="{9A53EFED-27DF-42A6-A3B0-13BFB2E114D4}">
      <dsp:nvSpPr>
        <dsp:cNvPr id="0" name=""/>
        <dsp:cNvSpPr/>
      </dsp:nvSpPr>
      <dsp:spPr>
        <a:xfrm>
          <a:off x="6982271" y="525927"/>
          <a:ext cx="1395635" cy="44644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chemeClr val="tx1">
                  <a:lumMod val="50000"/>
                </a:schemeClr>
              </a:solidFill>
            </a:rPr>
            <a:t>...</a:t>
          </a:r>
        </a:p>
      </dsp:txBody>
      <dsp:txXfrm>
        <a:off x="6982271" y="525927"/>
        <a:ext cx="1395635" cy="4464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CE3263-B591-4F6D-A9FB-379C1EE88DE3}">
      <dsp:nvSpPr>
        <dsp:cNvPr id="0" name=""/>
        <dsp:cNvSpPr/>
      </dsp:nvSpPr>
      <dsp:spPr>
        <a:xfrm>
          <a:off x="835114" y="0"/>
          <a:ext cx="5207000" cy="5207000"/>
        </a:xfrm>
        <a:prstGeom prst="triangle">
          <a:avLst/>
        </a:prstGeom>
        <a:solidFill>
          <a:srgbClr val="2570A3"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E47144E-5E60-4984-B01A-F3AA18F544F8}">
      <dsp:nvSpPr>
        <dsp:cNvPr id="0" name=""/>
        <dsp:cNvSpPr/>
      </dsp:nvSpPr>
      <dsp:spPr>
        <a:xfrm>
          <a:off x="3261471" y="523496"/>
          <a:ext cx="3384550" cy="1232594"/>
        </a:xfrm>
        <a:prstGeom prst="roundRect">
          <a:avLst/>
        </a:prstGeom>
        <a:solidFill>
          <a:srgbClr val="FFE784"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570A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rgbClr val="FF0000"/>
              </a:solidFill>
              <a:latin typeface="Segoe UI"/>
              <a:ea typeface="+mn-ea"/>
              <a:cs typeface="+mn-cs"/>
            </a:rPr>
            <a:t>200912010099001310010000001</a:t>
          </a:r>
          <a:br>
            <a:rPr lang="tr-TR" sz="1500" kern="1200" dirty="0">
              <a:solidFill>
                <a:srgbClr val="FF0000"/>
              </a:solidFill>
              <a:latin typeface="Segoe UI"/>
              <a:ea typeface="+mn-ea"/>
              <a:cs typeface="+mn-cs"/>
            </a:rPr>
          </a:br>
          <a:r>
            <a:rPr lang="tr-TR" sz="1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-&gt;Did Balance Inquiry</a:t>
          </a:r>
          <a:b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endParaRPr lang="tr-TR" sz="1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Segoe UI"/>
            <a:ea typeface="+mn-ea"/>
            <a:cs typeface="+mn-cs"/>
          </a:endParaRPr>
        </a:p>
      </dsp:txBody>
      <dsp:txXfrm>
        <a:off x="3321641" y="583666"/>
        <a:ext cx="3264210" cy="1112254"/>
      </dsp:txXfrm>
    </dsp:sp>
    <dsp:sp modelId="{C230037D-9E3A-47D5-B651-88E82A69781C}">
      <dsp:nvSpPr>
        <dsp:cNvPr id="0" name=""/>
        <dsp:cNvSpPr/>
      </dsp:nvSpPr>
      <dsp:spPr>
        <a:xfrm>
          <a:off x="3261471" y="1910165"/>
          <a:ext cx="3384550" cy="1232594"/>
        </a:xfrm>
        <a:prstGeom prst="roundRect">
          <a:avLst/>
        </a:prstGeom>
        <a:solidFill>
          <a:srgbClr val="FFE784"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570A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rgbClr val="FF0000"/>
              </a:solidFill>
              <a:latin typeface="Segoe UI"/>
              <a:ea typeface="+mn-ea"/>
              <a:cs typeface="+mn-cs"/>
            </a:rPr>
            <a:t>200912010099001310010000001</a:t>
          </a:r>
          <a:b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sz="1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Balance Inquiry</a:t>
          </a:r>
          <a:b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-&gt;</a:t>
          </a:r>
          <a:r>
            <a:rPr lang="tr-TR" sz="1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Table Insert</a:t>
          </a:r>
        </a:p>
      </dsp:txBody>
      <dsp:txXfrm>
        <a:off x="3321641" y="1970335"/>
        <a:ext cx="3264210" cy="1112254"/>
      </dsp:txXfrm>
    </dsp:sp>
    <dsp:sp modelId="{3307E77E-97D0-4DCF-BBCC-65D725D712D6}">
      <dsp:nvSpPr>
        <dsp:cNvPr id="0" name=""/>
        <dsp:cNvSpPr/>
      </dsp:nvSpPr>
      <dsp:spPr>
        <a:xfrm>
          <a:off x="3261471" y="3296834"/>
          <a:ext cx="3384550" cy="1232594"/>
        </a:xfrm>
        <a:prstGeom prst="roundRect">
          <a:avLst/>
        </a:prstGeom>
        <a:solidFill>
          <a:srgbClr val="FFE784">
            <a:alpha val="9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2570A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>
              <a:solidFill>
                <a:srgbClr val="FF0000"/>
              </a:solidFill>
              <a:latin typeface="Segoe UI"/>
              <a:ea typeface="+mn-ea"/>
              <a:cs typeface="+mn-cs"/>
            </a:rPr>
            <a:t>200912010099001310010000001</a:t>
          </a:r>
          <a:b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sz="1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Balance Inquiry</a:t>
          </a:r>
          <a:br>
            <a:rPr lang="tr-TR" sz="15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sz="1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Table Insert</a:t>
          </a:r>
          <a:b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</a:br>
          <a:r>
            <a:rPr lang="tr-TR" sz="1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-&gt;</a:t>
          </a:r>
          <a:r>
            <a:rPr lang="tr-TR" sz="1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egoe UI"/>
              <a:ea typeface="+mn-ea"/>
              <a:cs typeface="+mn-cs"/>
            </a:rPr>
            <a:t>Did Accounting&amp;Commission</a:t>
          </a:r>
        </a:p>
      </dsp:txBody>
      <dsp:txXfrm>
        <a:off x="3321641" y="3357004"/>
        <a:ext cx="3264210" cy="111225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990CA9-42CE-45B2-BAEB-5D77AF5C11B3}">
      <dsp:nvSpPr>
        <dsp:cNvPr id="0" name=""/>
        <dsp:cNvSpPr/>
      </dsp:nvSpPr>
      <dsp:spPr>
        <a:xfrm>
          <a:off x="1404620" y="165099"/>
          <a:ext cx="3276600" cy="1137920"/>
        </a:xfrm>
        <a:prstGeom prst="ellipse">
          <a:avLst/>
        </a:prstGeom>
        <a:solidFill>
          <a:schemeClr val="accent5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z="-190500" extrusionH="1270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DC98B6-3EAD-48A2-8454-9034078950AE}">
      <dsp:nvSpPr>
        <dsp:cNvPr id="0" name=""/>
        <dsp:cNvSpPr/>
      </dsp:nvSpPr>
      <dsp:spPr>
        <a:xfrm>
          <a:off x="2743200" y="0"/>
          <a:ext cx="635000" cy="406400"/>
        </a:xfrm>
        <a:prstGeom prst="down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/>
          <a:lightRig rig="flat" dir="t"/>
        </a:scene3d>
        <a:sp3d z="190500"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DA99CF0-040B-43E6-B4CC-6F7A06C8F4D8}">
      <dsp:nvSpPr>
        <dsp:cNvPr id="0" name=""/>
        <dsp:cNvSpPr/>
      </dsp:nvSpPr>
      <dsp:spPr>
        <a:xfrm>
          <a:off x="1524000" y="127002"/>
          <a:ext cx="3048000" cy="762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100" kern="1200" dirty="0">
              <a:solidFill>
                <a:srgbClr val="292929"/>
              </a:solidFill>
            </a:rPr>
            <a:t>Logging at Every Layer</a:t>
          </a:r>
        </a:p>
      </dsp:txBody>
      <dsp:txXfrm>
        <a:off x="1524000" y="127002"/>
        <a:ext cx="3048000" cy="762000"/>
      </dsp:txXfrm>
    </dsp:sp>
    <dsp:sp modelId="{198031D7-0486-44E1-B578-EE007AD3BC42}">
      <dsp:nvSpPr>
        <dsp:cNvPr id="0" name=""/>
        <dsp:cNvSpPr/>
      </dsp:nvSpPr>
      <dsp:spPr>
        <a:xfrm>
          <a:off x="3124197" y="2184397"/>
          <a:ext cx="1143000" cy="1143000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00" kern="1200" dirty="0"/>
            <a:t>Database triggers BOALOG</a:t>
          </a:r>
        </a:p>
      </dsp:txBody>
      <dsp:txXfrm>
        <a:off x="3291585" y="2351785"/>
        <a:ext cx="808224" cy="808224"/>
      </dsp:txXfrm>
    </dsp:sp>
    <dsp:sp modelId="{FE13A80F-DBA7-49A5-883C-332699045767}">
      <dsp:nvSpPr>
        <dsp:cNvPr id="0" name=""/>
        <dsp:cNvSpPr/>
      </dsp:nvSpPr>
      <dsp:spPr>
        <a:xfrm>
          <a:off x="1828794" y="2413006"/>
          <a:ext cx="1143000" cy="1143000"/>
        </a:xfrm>
        <a:prstGeom prst="ellipse">
          <a:avLst/>
        </a:prstGeom>
        <a:gradFill rotWithShape="0">
          <a:gsLst>
            <a:gs pos="0">
              <a:schemeClr val="accent5">
                <a:hueOff val="-9493"/>
                <a:satOff val="172"/>
                <a:lumOff val="-26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9493"/>
                <a:satOff val="172"/>
                <a:lumOff val="-26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9493"/>
                <a:satOff val="172"/>
                <a:lumOff val="-26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00" kern="1200" dirty="0"/>
            <a:t>Application Server Errors + Performance</a:t>
          </a:r>
        </a:p>
      </dsp:txBody>
      <dsp:txXfrm>
        <a:off x="1996182" y="2580394"/>
        <a:ext cx="808224" cy="808224"/>
      </dsp:txXfrm>
    </dsp:sp>
    <dsp:sp modelId="{E34B7DDB-9162-49F2-BB67-F368A6835F43}">
      <dsp:nvSpPr>
        <dsp:cNvPr id="0" name=""/>
        <dsp:cNvSpPr/>
      </dsp:nvSpPr>
      <dsp:spPr>
        <a:xfrm>
          <a:off x="2362201" y="1193805"/>
          <a:ext cx="1143000" cy="1143000"/>
        </a:xfrm>
        <a:prstGeom prst="ellipse">
          <a:avLst/>
        </a:prstGeom>
        <a:gradFill rotWithShape="0">
          <a:gsLst>
            <a:gs pos="0">
              <a:schemeClr val="accent5">
                <a:hueOff val="-18985"/>
                <a:satOff val="344"/>
                <a:lumOff val="-529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8985"/>
                <a:satOff val="344"/>
                <a:lumOff val="-529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8985"/>
                <a:satOff val="344"/>
                <a:lumOff val="-529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000" kern="1200" dirty="0"/>
            <a:t>Client Errors + Performance</a:t>
          </a:r>
        </a:p>
      </dsp:txBody>
      <dsp:txXfrm>
        <a:off x="2529589" y="1361193"/>
        <a:ext cx="808224" cy="808224"/>
      </dsp:txXfrm>
    </dsp:sp>
    <dsp:sp modelId="{1FB5050D-6FFA-4AF8-95B1-789AB792BC27}">
      <dsp:nvSpPr>
        <dsp:cNvPr id="0" name=""/>
        <dsp:cNvSpPr/>
      </dsp:nvSpPr>
      <dsp:spPr>
        <a:xfrm rot="10800000">
          <a:off x="1219184" y="965208"/>
          <a:ext cx="3556000" cy="2844800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5B3163-5E57-42F0-9E1B-BE68F31FA8E7}">
      <dsp:nvSpPr>
        <dsp:cNvPr id="0" name=""/>
        <dsp:cNvSpPr/>
      </dsp:nvSpPr>
      <dsp:spPr>
        <a:xfrm>
          <a:off x="314324" y="0"/>
          <a:ext cx="3562350" cy="19558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152400" prstMaterial="plastic">
          <a:bevelT w="25400" h="25400"/>
          <a:bevelB w="25400" h="25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586B14-B2A1-4583-914D-D600F6FA35F9}">
      <dsp:nvSpPr>
        <dsp:cNvPr id="0" name=""/>
        <dsp:cNvSpPr/>
      </dsp:nvSpPr>
      <dsp:spPr>
        <a:xfrm>
          <a:off x="4502" y="586739"/>
          <a:ext cx="1348978" cy="78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800" kern="1200" dirty="0"/>
            <a:t>Balance Inquiry</a:t>
          </a:r>
        </a:p>
      </dsp:txBody>
      <dsp:txXfrm>
        <a:off x="42692" y="624929"/>
        <a:ext cx="1272598" cy="705940"/>
      </dsp:txXfrm>
    </dsp:sp>
    <dsp:sp modelId="{604E52F0-159C-4A7F-B9C4-55EE45ADC9D0}">
      <dsp:nvSpPr>
        <dsp:cNvPr id="0" name=""/>
        <dsp:cNvSpPr/>
      </dsp:nvSpPr>
      <dsp:spPr>
        <a:xfrm>
          <a:off x="1421010" y="586739"/>
          <a:ext cx="1348978" cy="78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800" kern="1200" dirty="0"/>
            <a:t>Table Insert</a:t>
          </a:r>
        </a:p>
      </dsp:txBody>
      <dsp:txXfrm>
        <a:off x="1459200" y="624929"/>
        <a:ext cx="1272598" cy="705940"/>
      </dsp:txXfrm>
    </dsp:sp>
    <dsp:sp modelId="{737391DA-3E60-4ED7-AEE1-2B98059C4CEB}">
      <dsp:nvSpPr>
        <dsp:cNvPr id="0" name=""/>
        <dsp:cNvSpPr/>
      </dsp:nvSpPr>
      <dsp:spPr>
        <a:xfrm>
          <a:off x="2837519" y="586739"/>
          <a:ext cx="1348978" cy="78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800" kern="1200" dirty="0"/>
            <a:t>Accounting</a:t>
          </a:r>
        </a:p>
      </dsp:txBody>
      <dsp:txXfrm>
        <a:off x="2875709" y="624929"/>
        <a:ext cx="1272598" cy="70594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083D60-AE03-4B7B-B516-90B32628AA22}">
      <dsp:nvSpPr>
        <dsp:cNvPr id="0" name=""/>
        <dsp:cNvSpPr/>
      </dsp:nvSpPr>
      <dsp:spPr>
        <a:xfrm>
          <a:off x="0" y="337016"/>
          <a:ext cx="1633602" cy="1921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5C3BD-83D5-4683-8B58-AD2A8BA0584C}">
      <dsp:nvSpPr>
        <dsp:cNvPr id="0" name=""/>
        <dsp:cNvSpPr/>
      </dsp:nvSpPr>
      <dsp:spPr>
        <a:xfrm>
          <a:off x="73948" y="374731"/>
          <a:ext cx="120010" cy="1200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AB2993-73EF-42C8-AB7A-87401D9ACC8D}">
      <dsp:nvSpPr>
        <dsp:cNvPr id="0" name=""/>
        <dsp:cNvSpPr/>
      </dsp:nvSpPr>
      <dsp:spPr>
        <a:xfrm>
          <a:off x="3134" y="0"/>
          <a:ext cx="1633602" cy="3452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b="1" kern="1200" dirty="0">
              <a:solidFill>
                <a:schemeClr val="tx1">
                  <a:lumMod val="50000"/>
                </a:schemeClr>
              </a:solidFill>
            </a:rPr>
            <a:t>BOA </a:t>
          </a:r>
          <a:r>
            <a:rPr lang="tr-TR" sz="1400" b="1" kern="1200" dirty="0" err="1">
              <a:solidFill>
                <a:schemeClr val="tx1">
                  <a:lumMod val="50000"/>
                </a:schemeClr>
              </a:solidFill>
            </a:rPr>
            <a:t>Container</a:t>
          </a:r>
          <a:endParaRPr lang="tr-TR" sz="1400" b="1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3134" y="0"/>
        <a:ext cx="1633602" cy="345251"/>
      </dsp:txXfrm>
    </dsp:sp>
    <dsp:sp modelId="{F81AB078-672C-4D68-A0B5-2F80AFE3E7A6}">
      <dsp:nvSpPr>
        <dsp:cNvPr id="0" name=""/>
        <dsp:cNvSpPr/>
      </dsp:nvSpPr>
      <dsp:spPr>
        <a:xfrm>
          <a:off x="1733364" y="334688"/>
          <a:ext cx="1633602" cy="1921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627961-8139-48D0-B26C-DB27F54783E5}">
      <dsp:nvSpPr>
        <dsp:cNvPr id="0" name=""/>
        <dsp:cNvSpPr/>
      </dsp:nvSpPr>
      <dsp:spPr>
        <a:xfrm>
          <a:off x="1784274" y="364375"/>
          <a:ext cx="120010" cy="1200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5EE4C8-83D0-4AAF-B450-7F71BF563E5C}">
      <dsp:nvSpPr>
        <dsp:cNvPr id="0" name=""/>
        <dsp:cNvSpPr/>
      </dsp:nvSpPr>
      <dsp:spPr>
        <a:xfrm>
          <a:off x="1718417" y="0"/>
          <a:ext cx="1633602" cy="3452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b="1" kern="1200" dirty="0">
              <a:solidFill>
                <a:schemeClr val="tx1">
                  <a:lumMod val="50000"/>
                </a:schemeClr>
              </a:solidFill>
            </a:rPr>
            <a:t>BOA Internet </a:t>
          </a:r>
        </a:p>
      </dsp:txBody>
      <dsp:txXfrm>
        <a:off x="1718417" y="0"/>
        <a:ext cx="1633602" cy="345251"/>
      </dsp:txXfrm>
    </dsp:sp>
    <dsp:sp modelId="{D164127A-2EB2-412A-8823-12B60BC798FD}">
      <dsp:nvSpPr>
        <dsp:cNvPr id="0" name=""/>
        <dsp:cNvSpPr/>
      </dsp:nvSpPr>
      <dsp:spPr>
        <a:xfrm>
          <a:off x="3444711" y="331325"/>
          <a:ext cx="1633602" cy="1921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5261C8-D31E-4FD7-969A-57C78B831212}">
      <dsp:nvSpPr>
        <dsp:cNvPr id="0" name=""/>
        <dsp:cNvSpPr/>
      </dsp:nvSpPr>
      <dsp:spPr>
        <a:xfrm>
          <a:off x="3460416" y="375392"/>
          <a:ext cx="120010" cy="1200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581449-756A-453E-97AB-FE0150CBC793}">
      <dsp:nvSpPr>
        <dsp:cNvPr id="0" name=""/>
        <dsp:cNvSpPr/>
      </dsp:nvSpPr>
      <dsp:spPr>
        <a:xfrm>
          <a:off x="3433700" y="0"/>
          <a:ext cx="1633602" cy="3452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b="1" kern="1200" dirty="0">
              <a:solidFill>
                <a:schemeClr val="tx1">
                  <a:lumMod val="50000"/>
                </a:schemeClr>
              </a:solidFill>
            </a:rPr>
            <a:t>XTM</a:t>
          </a:r>
        </a:p>
      </dsp:txBody>
      <dsp:txXfrm>
        <a:off x="3433700" y="0"/>
        <a:ext cx="1633602" cy="345251"/>
      </dsp:txXfrm>
    </dsp:sp>
    <dsp:sp modelId="{EF40742B-22A5-4789-89C7-B72EE2FBB31C}">
      <dsp:nvSpPr>
        <dsp:cNvPr id="0" name=""/>
        <dsp:cNvSpPr/>
      </dsp:nvSpPr>
      <dsp:spPr>
        <a:xfrm>
          <a:off x="5148983" y="323219"/>
          <a:ext cx="1633602" cy="1921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9C8FBF-5B0F-477D-AFE3-DB58AFB4E1D8}">
      <dsp:nvSpPr>
        <dsp:cNvPr id="0" name=""/>
        <dsp:cNvSpPr/>
      </dsp:nvSpPr>
      <dsp:spPr>
        <a:xfrm>
          <a:off x="5213017" y="373361"/>
          <a:ext cx="120010" cy="1200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5F5AC6-8695-4C71-AF48-165474040031}">
      <dsp:nvSpPr>
        <dsp:cNvPr id="0" name=""/>
        <dsp:cNvSpPr/>
      </dsp:nvSpPr>
      <dsp:spPr>
        <a:xfrm>
          <a:off x="5148983" y="0"/>
          <a:ext cx="1633602" cy="3452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b="1" kern="1200" dirty="0">
              <a:solidFill>
                <a:schemeClr val="tx1">
                  <a:lumMod val="50000"/>
                </a:schemeClr>
              </a:solidFill>
            </a:rPr>
            <a:t>EOD</a:t>
          </a:r>
        </a:p>
      </dsp:txBody>
      <dsp:txXfrm>
        <a:off x="5148983" y="0"/>
        <a:ext cx="1633602" cy="345251"/>
      </dsp:txXfrm>
    </dsp:sp>
    <dsp:sp modelId="{1278079B-85A5-44A3-8E4E-C4315E9793C8}">
      <dsp:nvSpPr>
        <dsp:cNvPr id="0" name=""/>
        <dsp:cNvSpPr/>
      </dsp:nvSpPr>
      <dsp:spPr>
        <a:xfrm>
          <a:off x="6864266" y="312202"/>
          <a:ext cx="1633602" cy="1921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ADC8CD-8D17-4CAA-A9BE-6E4A3C9B396D}">
      <dsp:nvSpPr>
        <dsp:cNvPr id="0" name=""/>
        <dsp:cNvSpPr/>
      </dsp:nvSpPr>
      <dsp:spPr>
        <a:xfrm>
          <a:off x="6908334" y="342341"/>
          <a:ext cx="120010" cy="12001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B8EDE0-6193-48C9-B0C1-B1D9B750E27F}">
      <dsp:nvSpPr>
        <dsp:cNvPr id="0" name=""/>
        <dsp:cNvSpPr/>
      </dsp:nvSpPr>
      <dsp:spPr>
        <a:xfrm>
          <a:off x="6864266" y="0"/>
          <a:ext cx="1633602" cy="3452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>
                  <a:lumMod val="50000"/>
                </a:schemeClr>
              </a:solidFill>
            </a:rPr>
            <a:t>BOA Mobile</a:t>
          </a:r>
        </a:p>
      </dsp:txBody>
      <dsp:txXfrm>
        <a:off x="6864266" y="0"/>
        <a:ext cx="1633602" cy="3452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226753-B9FE-4ACC-B03E-999A94C385D6}" type="datetimeFigureOut">
              <a:rPr lang="en-US" smtClean="0"/>
              <a:t>17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EAFF98-B650-44EA-B685-CBFEC5A2C6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116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9F2A00-BE8E-4CC2-8090-5D4D31802D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9547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AFF98-B650-44EA-B685-CBFEC5A2C6B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4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567426"/>
      </p:ext>
    </p:extLst>
  </p:cSld>
  <p:clrMapOvr>
    <a:masterClrMapping/>
  </p:clrMapOvr>
  <p:transition spd="slow" advTm="2000">
    <p:cover dir="d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2" hasCustomPrompt="1"/>
          </p:nvPr>
        </p:nvSpPr>
        <p:spPr>
          <a:xfrm>
            <a:off x="964369" y="2050350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3" hasCustomPrompt="1"/>
          </p:nvPr>
        </p:nvSpPr>
        <p:spPr>
          <a:xfrm>
            <a:off x="964369" y="3415102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4" hasCustomPrompt="1"/>
          </p:nvPr>
        </p:nvSpPr>
        <p:spPr>
          <a:xfrm>
            <a:off x="964369" y="4770663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5" hasCustomPrompt="1"/>
          </p:nvPr>
        </p:nvSpPr>
        <p:spPr>
          <a:xfrm>
            <a:off x="4369208" y="2050350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4369208" y="3415102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7" hasCustomPrompt="1"/>
          </p:nvPr>
        </p:nvSpPr>
        <p:spPr>
          <a:xfrm>
            <a:off x="4369208" y="4770663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8" hasCustomPrompt="1"/>
          </p:nvPr>
        </p:nvSpPr>
        <p:spPr>
          <a:xfrm>
            <a:off x="7774046" y="2050350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9" hasCustomPrompt="1"/>
          </p:nvPr>
        </p:nvSpPr>
        <p:spPr>
          <a:xfrm>
            <a:off x="7774046" y="3415102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774046" y="4770663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grpSp>
        <p:nvGrpSpPr>
          <p:cNvPr id="3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3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538711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Portfolio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95767" y="537029"/>
            <a:ext cx="2219325" cy="577668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931206" y="537028"/>
            <a:ext cx="2874508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921828" y="3483428"/>
            <a:ext cx="5762172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921828" y="537028"/>
            <a:ext cx="2874508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931206" y="3483428"/>
            <a:ext cx="2874508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3155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10" grpId="0" animBg="1"/>
      <p:bldP spid="11" grpId="0" animBg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43307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ceBerg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/>
          <p:nvPr userDrawn="1"/>
        </p:nvSpPr>
        <p:spPr>
          <a:xfrm>
            <a:off x="730250" y="6153151"/>
            <a:ext cx="10718976" cy="12"/>
          </a:xfrm>
          <a:prstGeom prst="line">
            <a:avLst/>
          </a:prstGeom>
          <a:ln w="12700">
            <a:solidFill>
              <a:srgbClr val="D6D6D6"/>
            </a:solidFill>
            <a:miter lim="400000"/>
          </a:ln>
        </p:spPr>
        <p:txBody>
          <a:bodyPr lIns="0" tIns="0" rIns="0" bIns="0" anchor="ctr"/>
          <a:lstStyle/>
          <a:p>
            <a:pPr lvl="0" algn="l"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Source Sans Pro" panose="020B0503030403020204" pitchFamily="34" charset="0"/>
              <a:ea typeface="Source Sans Pro" panose="020B050303040302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2700"/>
            <a:ext cx="7086600" cy="6883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08660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64159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08660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4159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08660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64159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39888041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ceBerg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/>
          <p:nvPr userDrawn="1"/>
        </p:nvSpPr>
        <p:spPr>
          <a:xfrm>
            <a:off x="730250" y="6153151"/>
            <a:ext cx="10718976" cy="12"/>
          </a:xfrm>
          <a:prstGeom prst="line">
            <a:avLst/>
          </a:prstGeom>
          <a:ln w="12700">
            <a:solidFill>
              <a:srgbClr val="D6D6D6"/>
            </a:solidFill>
            <a:miter lim="400000"/>
          </a:ln>
        </p:spPr>
        <p:txBody>
          <a:bodyPr lIns="0" tIns="0" rIns="0" bIns="0" anchor="ctr"/>
          <a:lstStyle/>
          <a:p>
            <a:pPr lvl="0" algn="l"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Source Sans Pro" panose="020B0503030403020204" pitchFamily="34" charset="0"/>
              <a:ea typeface="Source Sans Pro" panose="020B050303040302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2700"/>
            <a:ext cx="7086600" cy="6883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08660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64159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08660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4159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08660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64159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3142438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47326" y="487482"/>
            <a:ext cx="2718399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265725" y="487482"/>
            <a:ext cx="2843168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43781" y="487482"/>
            <a:ext cx="2683511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8862180" y="487482"/>
            <a:ext cx="2780876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47326" y="3431817"/>
            <a:ext cx="2718399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8862180" y="3431817"/>
            <a:ext cx="2780876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8721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0"/>
          </p:nvPr>
        </p:nvSpPr>
        <p:spPr>
          <a:xfrm>
            <a:off x="6440488" y="0"/>
            <a:ext cx="5751512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0003753"/>
      </p:ext>
    </p:extLst>
  </p:cSld>
  <p:clrMapOvr>
    <a:masterClrMapping/>
  </p:clrMapOvr>
  <p:transition spd="slow">
    <p:push dir="u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795131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448743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_Top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643987" y="289932"/>
            <a:ext cx="948100" cy="345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090694" y="0"/>
            <a:ext cx="6101306" cy="4586841"/>
          </a:xfrm>
          <a:effectLst/>
        </p:spPr>
        <p:txBody>
          <a:bodyPr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Tahoma" panose="020B060403050404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5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15F8EEF-21E0-42F0-A314-094A8D71B0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4661" y="2544097"/>
            <a:ext cx="7622679" cy="1769806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6508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014440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902713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790986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679259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5902713" y="246999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9679259" y="246999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7790986" y="435826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679259" y="435826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790986" y="2469994"/>
            <a:ext cx="1828799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l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1017537" y="3717013"/>
            <a:ext cx="2850354" cy="895930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035733" y="4612943"/>
            <a:ext cx="4660958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425069726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sim Yer Tutucusu 13">
            <a:extLst>
              <a:ext uri="{FF2B5EF4-FFF2-40B4-BE49-F238E27FC236}">
                <a16:creationId xmlns:a16="http://schemas.microsoft.com/office/drawing/2014/main" id="{4F282935-BCB2-497F-8C76-3ED8A2C561A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624137"/>
            <a:ext cx="12192000" cy="3322638"/>
          </a:xfrm>
          <a:custGeom>
            <a:avLst/>
            <a:gdLst>
              <a:gd name="connsiteX0" fmla="*/ 8949531 w 12192000"/>
              <a:gd name="connsiteY0" fmla="*/ 0 h 3322638"/>
              <a:gd name="connsiteX1" fmla="*/ 8987631 w 12192000"/>
              <a:gd name="connsiteY1" fmla="*/ 0 h 3322638"/>
              <a:gd name="connsiteX2" fmla="*/ 9025731 w 12192000"/>
              <a:gd name="connsiteY2" fmla="*/ 1587 h 3322638"/>
              <a:gd name="connsiteX3" fmla="*/ 9065419 w 12192000"/>
              <a:gd name="connsiteY3" fmla="*/ 3174 h 3322638"/>
              <a:gd name="connsiteX4" fmla="*/ 9103519 w 12192000"/>
              <a:gd name="connsiteY4" fmla="*/ 6349 h 3322638"/>
              <a:gd name="connsiteX5" fmla="*/ 9143206 w 12192000"/>
              <a:gd name="connsiteY5" fmla="*/ 9523 h 3322638"/>
              <a:gd name="connsiteX6" fmla="*/ 9182894 w 12192000"/>
              <a:gd name="connsiteY6" fmla="*/ 15078 h 3322638"/>
              <a:gd name="connsiteX7" fmla="*/ 9263062 w 12192000"/>
              <a:gd name="connsiteY7" fmla="*/ 27775 h 3322638"/>
              <a:gd name="connsiteX8" fmla="*/ 9345612 w 12192000"/>
              <a:gd name="connsiteY8" fmla="*/ 42852 h 3322638"/>
              <a:gd name="connsiteX9" fmla="*/ 9428162 w 12192000"/>
              <a:gd name="connsiteY9" fmla="*/ 62691 h 3322638"/>
              <a:gd name="connsiteX10" fmla="*/ 9512300 w 12192000"/>
              <a:gd name="connsiteY10" fmla="*/ 84118 h 3322638"/>
              <a:gd name="connsiteX11" fmla="*/ 9595644 w 12192000"/>
              <a:gd name="connsiteY11" fmla="*/ 107131 h 3322638"/>
              <a:gd name="connsiteX12" fmla="*/ 9679781 w 12192000"/>
              <a:gd name="connsiteY12" fmla="*/ 134112 h 3322638"/>
              <a:gd name="connsiteX13" fmla="*/ 9763919 w 12192000"/>
              <a:gd name="connsiteY13" fmla="*/ 161886 h 3322638"/>
              <a:gd name="connsiteX14" fmla="*/ 9847262 w 12192000"/>
              <a:gd name="connsiteY14" fmla="*/ 190455 h 3322638"/>
              <a:gd name="connsiteX15" fmla="*/ 9929812 w 12192000"/>
              <a:gd name="connsiteY15" fmla="*/ 221404 h 3322638"/>
              <a:gd name="connsiteX16" fmla="*/ 10012362 w 12192000"/>
              <a:gd name="connsiteY16" fmla="*/ 253146 h 3322638"/>
              <a:gd name="connsiteX17" fmla="*/ 10172700 w 12192000"/>
              <a:gd name="connsiteY17" fmla="*/ 317424 h 3322638"/>
              <a:gd name="connsiteX18" fmla="*/ 10477500 w 12192000"/>
              <a:gd name="connsiteY18" fmla="*/ 442013 h 3322638"/>
              <a:gd name="connsiteX19" fmla="*/ 10616406 w 12192000"/>
              <a:gd name="connsiteY19" fmla="*/ 498356 h 3322638"/>
              <a:gd name="connsiteX20" fmla="*/ 10682288 w 12192000"/>
              <a:gd name="connsiteY20" fmla="*/ 522957 h 3322638"/>
              <a:gd name="connsiteX21" fmla="*/ 10744200 w 12192000"/>
              <a:gd name="connsiteY21" fmla="*/ 545970 h 3322638"/>
              <a:gd name="connsiteX22" fmla="*/ 10803731 w 12192000"/>
              <a:gd name="connsiteY22" fmla="*/ 565809 h 3322638"/>
              <a:gd name="connsiteX23" fmla="*/ 10860088 w 12192000"/>
              <a:gd name="connsiteY23" fmla="*/ 584061 h 3322638"/>
              <a:gd name="connsiteX24" fmla="*/ 10912475 w 12192000"/>
              <a:gd name="connsiteY24" fmla="*/ 597551 h 3322638"/>
              <a:gd name="connsiteX25" fmla="*/ 10960894 w 12192000"/>
              <a:gd name="connsiteY25" fmla="*/ 608661 h 3322638"/>
              <a:gd name="connsiteX26" fmla="*/ 11006931 w 12192000"/>
              <a:gd name="connsiteY26" fmla="*/ 615803 h 3322638"/>
              <a:gd name="connsiteX27" fmla="*/ 11052969 w 12192000"/>
              <a:gd name="connsiteY27" fmla="*/ 622152 h 3322638"/>
              <a:gd name="connsiteX28" fmla="*/ 11098212 w 12192000"/>
              <a:gd name="connsiteY28" fmla="*/ 626913 h 3322638"/>
              <a:gd name="connsiteX29" fmla="*/ 11144250 w 12192000"/>
              <a:gd name="connsiteY29" fmla="*/ 628500 h 3322638"/>
              <a:gd name="connsiteX30" fmla="*/ 11188700 w 12192000"/>
              <a:gd name="connsiteY30" fmla="*/ 630087 h 3322638"/>
              <a:gd name="connsiteX31" fmla="*/ 11232356 w 12192000"/>
              <a:gd name="connsiteY31" fmla="*/ 628500 h 3322638"/>
              <a:gd name="connsiteX32" fmla="*/ 11276806 w 12192000"/>
              <a:gd name="connsiteY32" fmla="*/ 625326 h 3322638"/>
              <a:gd name="connsiteX33" fmla="*/ 11321256 w 12192000"/>
              <a:gd name="connsiteY33" fmla="*/ 618977 h 3322638"/>
              <a:gd name="connsiteX34" fmla="*/ 11364119 w 12192000"/>
              <a:gd name="connsiteY34" fmla="*/ 612629 h 3322638"/>
              <a:gd name="connsiteX35" fmla="*/ 11406188 w 12192000"/>
              <a:gd name="connsiteY35" fmla="*/ 605487 h 3322638"/>
              <a:gd name="connsiteX36" fmla="*/ 11447462 w 12192000"/>
              <a:gd name="connsiteY36" fmla="*/ 594377 h 3322638"/>
              <a:gd name="connsiteX37" fmla="*/ 11490325 w 12192000"/>
              <a:gd name="connsiteY37" fmla="*/ 584061 h 3322638"/>
              <a:gd name="connsiteX38" fmla="*/ 11531600 w 12192000"/>
              <a:gd name="connsiteY38" fmla="*/ 570570 h 3322638"/>
              <a:gd name="connsiteX39" fmla="*/ 11571288 w 12192000"/>
              <a:gd name="connsiteY39" fmla="*/ 556286 h 3322638"/>
              <a:gd name="connsiteX40" fmla="*/ 11610975 w 12192000"/>
              <a:gd name="connsiteY40" fmla="*/ 539621 h 3322638"/>
              <a:gd name="connsiteX41" fmla="*/ 11650662 w 12192000"/>
              <a:gd name="connsiteY41" fmla="*/ 522957 h 3322638"/>
              <a:gd name="connsiteX42" fmla="*/ 11690350 w 12192000"/>
              <a:gd name="connsiteY42" fmla="*/ 503118 h 3322638"/>
              <a:gd name="connsiteX43" fmla="*/ 11728450 w 12192000"/>
              <a:gd name="connsiteY43" fmla="*/ 483279 h 3322638"/>
              <a:gd name="connsiteX44" fmla="*/ 11766550 w 12192000"/>
              <a:gd name="connsiteY44" fmla="*/ 461852 h 3322638"/>
              <a:gd name="connsiteX45" fmla="*/ 11803062 w 12192000"/>
              <a:gd name="connsiteY45" fmla="*/ 438839 h 3322638"/>
              <a:gd name="connsiteX46" fmla="*/ 11839575 w 12192000"/>
              <a:gd name="connsiteY46" fmla="*/ 415032 h 3322638"/>
              <a:gd name="connsiteX47" fmla="*/ 11874500 w 12192000"/>
              <a:gd name="connsiteY47" fmla="*/ 388845 h 3322638"/>
              <a:gd name="connsiteX48" fmla="*/ 11909425 w 12192000"/>
              <a:gd name="connsiteY48" fmla="*/ 362657 h 3322638"/>
              <a:gd name="connsiteX49" fmla="*/ 11945144 w 12192000"/>
              <a:gd name="connsiteY49" fmla="*/ 335676 h 3322638"/>
              <a:gd name="connsiteX50" fmla="*/ 11978481 w 12192000"/>
              <a:gd name="connsiteY50" fmla="*/ 306315 h 3322638"/>
              <a:gd name="connsiteX51" fmla="*/ 12011819 w 12192000"/>
              <a:gd name="connsiteY51" fmla="*/ 276159 h 3322638"/>
              <a:gd name="connsiteX52" fmla="*/ 12044362 w 12192000"/>
              <a:gd name="connsiteY52" fmla="*/ 245210 h 3322638"/>
              <a:gd name="connsiteX53" fmla="*/ 12072938 w 12192000"/>
              <a:gd name="connsiteY53" fmla="*/ 213468 h 3322638"/>
              <a:gd name="connsiteX54" fmla="*/ 12104688 w 12192000"/>
              <a:gd name="connsiteY54" fmla="*/ 180138 h 3322638"/>
              <a:gd name="connsiteX55" fmla="*/ 12134056 w 12192000"/>
              <a:gd name="connsiteY55" fmla="*/ 146015 h 3322638"/>
              <a:gd name="connsiteX56" fmla="*/ 12164219 w 12192000"/>
              <a:gd name="connsiteY56" fmla="*/ 111099 h 3322638"/>
              <a:gd name="connsiteX57" fmla="*/ 12192000 w 12192000"/>
              <a:gd name="connsiteY57" fmla="*/ 76182 h 3322638"/>
              <a:gd name="connsiteX58" fmla="*/ 12192000 w 12192000"/>
              <a:gd name="connsiteY58" fmla="*/ 3322638 h 3322638"/>
              <a:gd name="connsiteX59" fmla="*/ 0 w 12192000"/>
              <a:gd name="connsiteY59" fmla="*/ 3322638 h 3322638"/>
              <a:gd name="connsiteX60" fmla="*/ 0 w 12192000"/>
              <a:gd name="connsiteY60" fmla="*/ 1660129 h 3322638"/>
              <a:gd name="connsiteX61" fmla="*/ 38100 w 12192000"/>
              <a:gd name="connsiteY61" fmla="*/ 1611722 h 3322638"/>
              <a:gd name="connsiteX62" fmla="*/ 77788 w 12192000"/>
              <a:gd name="connsiteY62" fmla="*/ 1565695 h 3322638"/>
              <a:gd name="connsiteX63" fmla="*/ 120650 w 12192000"/>
              <a:gd name="connsiteY63" fmla="*/ 1522049 h 3322638"/>
              <a:gd name="connsiteX64" fmla="*/ 165894 w 12192000"/>
              <a:gd name="connsiteY64" fmla="*/ 1480784 h 3322638"/>
              <a:gd name="connsiteX65" fmla="*/ 213519 w 12192000"/>
              <a:gd name="connsiteY65" fmla="*/ 1441106 h 3322638"/>
              <a:gd name="connsiteX66" fmla="*/ 262731 w 12192000"/>
              <a:gd name="connsiteY66" fmla="*/ 1404602 h 3322638"/>
              <a:gd name="connsiteX67" fmla="*/ 314325 w 12192000"/>
              <a:gd name="connsiteY67" fmla="*/ 1368892 h 3322638"/>
              <a:gd name="connsiteX68" fmla="*/ 367507 w 12192000"/>
              <a:gd name="connsiteY68" fmla="*/ 1337150 h 3322638"/>
              <a:gd name="connsiteX69" fmla="*/ 422275 w 12192000"/>
              <a:gd name="connsiteY69" fmla="*/ 1308582 h 3322638"/>
              <a:gd name="connsiteX70" fmla="*/ 478631 w 12192000"/>
              <a:gd name="connsiteY70" fmla="*/ 1279220 h 3322638"/>
              <a:gd name="connsiteX71" fmla="*/ 536575 w 12192000"/>
              <a:gd name="connsiteY71" fmla="*/ 1254619 h 3322638"/>
              <a:gd name="connsiteX72" fmla="*/ 596107 w 12192000"/>
              <a:gd name="connsiteY72" fmla="*/ 1230813 h 3322638"/>
              <a:gd name="connsiteX73" fmla="*/ 657225 w 12192000"/>
              <a:gd name="connsiteY73" fmla="*/ 1210974 h 3322638"/>
              <a:gd name="connsiteX74" fmla="*/ 719931 w 12192000"/>
              <a:gd name="connsiteY74" fmla="*/ 1191135 h 3322638"/>
              <a:gd name="connsiteX75" fmla="*/ 782638 w 12192000"/>
              <a:gd name="connsiteY75" fmla="*/ 1174470 h 3322638"/>
              <a:gd name="connsiteX76" fmla="*/ 846932 w 12192000"/>
              <a:gd name="connsiteY76" fmla="*/ 1158599 h 3322638"/>
              <a:gd name="connsiteX77" fmla="*/ 910432 w 12192000"/>
              <a:gd name="connsiteY77" fmla="*/ 1146695 h 3322638"/>
              <a:gd name="connsiteX78" fmla="*/ 976313 w 12192000"/>
              <a:gd name="connsiteY78" fmla="*/ 1135585 h 3322638"/>
              <a:gd name="connsiteX79" fmla="*/ 1042194 w 12192000"/>
              <a:gd name="connsiteY79" fmla="*/ 1128443 h 3322638"/>
              <a:gd name="connsiteX80" fmla="*/ 1108869 w 12192000"/>
              <a:gd name="connsiteY80" fmla="*/ 1120508 h 3322638"/>
              <a:gd name="connsiteX81" fmla="*/ 1174750 w 12192000"/>
              <a:gd name="connsiteY81" fmla="*/ 1116540 h 3322638"/>
              <a:gd name="connsiteX82" fmla="*/ 1241425 w 12192000"/>
              <a:gd name="connsiteY82" fmla="*/ 1114953 h 3322638"/>
              <a:gd name="connsiteX83" fmla="*/ 1308894 w 12192000"/>
              <a:gd name="connsiteY83" fmla="*/ 1113366 h 3322638"/>
              <a:gd name="connsiteX84" fmla="*/ 1375569 w 12192000"/>
              <a:gd name="connsiteY84" fmla="*/ 1114953 h 3322638"/>
              <a:gd name="connsiteX85" fmla="*/ 1441450 w 12192000"/>
              <a:gd name="connsiteY85" fmla="*/ 1117333 h 3322638"/>
              <a:gd name="connsiteX86" fmla="*/ 1508919 w 12192000"/>
              <a:gd name="connsiteY86" fmla="*/ 1123682 h 3322638"/>
              <a:gd name="connsiteX87" fmla="*/ 1574007 w 12192000"/>
              <a:gd name="connsiteY87" fmla="*/ 1130030 h 3322638"/>
              <a:gd name="connsiteX88" fmla="*/ 1639888 w 12192000"/>
              <a:gd name="connsiteY88" fmla="*/ 1138760 h 3322638"/>
              <a:gd name="connsiteX89" fmla="*/ 1704182 w 12192000"/>
              <a:gd name="connsiteY89" fmla="*/ 1149869 h 3322638"/>
              <a:gd name="connsiteX90" fmla="*/ 1767681 w 12192000"/>
              <a:gd name="connsiteY90" fmla="*/ 1161773 h 3322638"/>
              <a:gd name="connsiteX91" fmla="*/ 1830388 w 12192000"/>
              <a:gd name="connsiteY91" fmla="*/ 1175263 h 3322638"/>
              <a:gd name="connsiteX92" fmla="*/ 1891507 w 12192000"/>
              <a:gd name="connsiteY92" fmla="*/ 1192722 h 3322638"/>
              <a:gd name="connsiteX93" fmla="*/ 1935957 w 12192000"/>
              <a:gd name="connsiteY93" fmla="*/ 1204625 h 3322638"/>
              <a:gd name="connsiteX94" fmla="*/ 1979613 w 12192000"/>
              <a:gd name="connsiteY94" fmla="*/ 1219703 h 3322638"/>
              <a:gd name="connsiteX95" fmla="*/ 2025650 w 12192000"/>
              <a:gd name="connsiteY95" fmla="*/ 1237955 h 3322638"/>
              <a:gd name="connsiteX96" fmla="*/ 2071688 w 12192000"/>
              <a:gd name="connsiteY96" fmla="*/ 1257794 h 3322638"/>
              <a:gd name="connsiteX97" fmla="*/ 2118519 w 12192000"/>
              <a:gd name="connsiteY97" fmla="*/ 1279220 h 3322638"/>
              <a:gd name="connsiteX98" fmla="*/ 2166144 w 12192000"/>
              <a:gd name="connsiteY98" fmla="*/ 1303820 h 3322638"/>
              <a:gd name="connsiteX99" fmla="*/ 2214563 w 12192000"/>
              <a:gd name="connsiteY99" fmla="*/ 1328421 h 3322638"/>
              <a:gd name="connsiteX100" fmla="*/ 2265363 w 12192000"/>
              <a:gd name="connsiteY100" fmla="*/ 1355402 h 3322638"/>
              <a:gd name="connsiteX101" fmla="*/ 2366169 w 12192000"/>
              <a:gd name="connsiteY101" fmla="*/ 1414919 h 3322638"/>
              <a:gd name="connsiteX102" fmla="*/ 2467769 w 12192000"/>
              <a:gd name="connsiteY102" fmla="*/ 1479197 h 3322638"/>
              <a:gd name="connsiteX103" fmla="*/ 2574925 w 12192000"/>
              <a:gd name="connsiteY103" fmla="*/ 1545856 h 3322638"/>
              <a:gd name="connsiteX104" fmla="*/ 2682875 w 12192000"/>
              <a:gd name="connsiteY104" fmla="*/ 1619657 h 3322638"/>
              <a:gd name="connsiteX105" fmla="*/ 2907507 w 12192000"/>
              <a:gd name="connsiteY105" fmla="*/ 1767260 h 3322638"/>
              <a:gd name="connsiteX106" fmla="*/ 3021807 w 12192000"/>
              <a:gd name="connsiteY106" fmla="*/ 1845028 h 3322638"/>
              <a:gd name="connsiteX107" fmla="*/ 3137694 w 12192000"/>
              <a:gd name="connsiteY107" fmla="*/ 1921210 h 3322638"/>
              <a:gd name="connsiteX108" fmla="*/ 3255169 w 12192000"/>
              <a:gd name="connsiteY108" fmla="*/ 1997392 h 3322638"/>
              <a:gd name="connsiteX109" fmla="*/ 3374232 w 12192000"/>
              <a:gd name="connsiteY109" fmla="*/ 2071987 h 3322638"/>
              <a:gd name="connsiteX110" fmla="*/ 3494882 w 12192000"/>
              <a:gd name="connsiteY110" fmla="*/ 2142614 h 3322638"/>
              <a:gd name="connsiteX111" fmla="*/ 3554413 w 12192000"/>
              <a:gd name="connsiteY111" fmla="*/ 2177530 h 3322638"/>
              <a:gd name="connsiteX112" fmla="*/ 3614738 w 12192000"/>
              <a:gd name="connsiteY112" fmla="*/ 2210860 h 3322638"/>
              <a:gd name="connsiteX113" fmla="*/ 3674269 w 12192000"/>
              <a:gd name="connsiteY113" fmla="*/ 2242602 h 3322638"/>
              <a:gd name="connsiteX114" fmla="*/ 3735388 w 12192000"/>
              <a:gd name="connsiteY114" fmla="*/ 2273551 h 3322638"/>
              <a:gd name="connsiteX115" fmla="*/ 3796507 w 12192000"/>
              <a:gd name="connsiteY115" fmla="*/ 2302119 h 3322638"/>
              <a:gd name="connsiteX116" fmla="*/ 3857625 w 12192000"/>
              <a:gd name="connsiteY116" fmla="*/ 2329894 h 3322638"/>
              <a:gd name="connsiteX117" fmla="*/ 3917157 w 12192000"/>
              <a:gd name="connsiteY117" fmla="*/ 2357669 h 3322638"/>
              <a:gd name="connsiteX118" fmla="*/ 3978275 w 12192000"/>
              <a:gd name="connsiteY118" fmla="*/ 2381475 h 3322638"/>
              <a:gd name="connsiteX119" fmla="*/ 4039394 w 12192000"/>
              <a:gd name="connsiteY119" fmla="*/ 2404489 h 3322638"/>
              <a:gd name="connsiteX120" fmla="*/ 4099719 w 12192000"/>
              <a:gd name="connsiteY120" fmla="*/ 2424328 h 3322638"/>
              <a:gd name="connsiteX121" fmla="*/ 4160838 w 12192000"/>
              <a:gd name="connsiteY121" fmla="*/ 2444167 h 3322638"/>
              <a:gd name="connsiteX122" fmla="*/ 4220369 w 12192000"/>
              <a:gd name="connsiteY122" fmla="*/ 2460831 h 3322638"/>
              <a:gd name="connsiteX123" fmla="*/ 4281488 w 12192000"/>
              <a:gd name="connsiteY123" fmla="*/ 2475115 h 3322638"/>
              <a:gd name="connsiteX124" fmla="*/ 4341019 w 12192000"/>
              <a:gd name="connsiteY124" fmla="*/ 2487019 h 3322638"/>
              <a:gd name="connsiteX125" fmla="*/ 4400550 w 12192000"/>
              <a:gd name="connsiteY125" fmla="*/ 2495748 h 3322638"/>
              <a:gd name="connsiteX126" fmla="*/ 4460081 w 12192000"/>
              <a:gd name="connsiteY126" fmla="*/ 2502097 h 3322638"/>
              <a:gd name="connsiteX127" fmla="*/ 4519613 w 12192000"/>
              <a:gd name="connsiteY127" fmla="*/ 2506858 h 3322638"/>
              <a:gd name="connsiteX128" fmla="*/ 4580731 w 12192000"/>
              <a:gd name="connsiteY128" fmla="*/ 2508445 h 3322638"/>
              <a:gd name="connsiteX129" fmla="*/ 4638675 w 12192000"/>
              <a:gd name="connsiteY129" fmla="*/ 2506858 h 3322638"/>
              <a:gd name="connsiteX130" fmla="*/ 4698206 w 12192000"/>
              <a:gd name="connsiteY130" fmla="*/ 2502097 h 3322638"/>
              <a:gd name="connsiteX131" fmla="*/ 4757738 w 12192000"/>
              <a:gd name="connsiteY131" fmla="*/ 2493367 h 3322638"/>
              <a:gd name="connsiteX132" fmla="*/ 4815681 w 12192000"/>
              <a:gd name="connsiteY132" fmla="*/ 2482258 h 3322638"/>
              <a:gd name="connsiteX133" fmla="*/ 4873625 w 12192000"/>
              <a:gd name="connsiteY133" fmla="*/ 2467180 h 3322638"/>
              <a:gd name="connsiteX134" fmla="*/ 4931569 w 12192000"/>
              <a:gd name="connsiteY134" fmla="*/ 2448928 h 3322638"/>
              <a:gd name="connsiteX135" fmla="*/ 4987925 w 12192000"/>
              <a:gd name="connsiteY135" fmla="*/ 2427502 h 3322638"/>
              <a:gd name="connsiteX136" fmla="*/ 5016501 w 12192000"/>
              <a:gd name="connsiteY136" fmla="*/ 2415598 h 3322638"/>
              <a:gd name="connsiteX137" fmla="*/ 5044282 w 12192000"/>
              <a:gd name="connsiteY137" fmla="*/ 2401314 h 3322638"/>
              <a:gd name="connsiteX138" fmla="*/ 5073650 w 12192000"/>
              <a:gd name="connsiteY138" fmla="*/ 2387824 h 3322638"/>
              <a:gd name="connsiteX139" fmla="*/ 5100638 w 12192000"/>
              <a:gd name="connsiteY139" fmla="*/ 2372746 h 3322638"/>
              <a:gd name="connsiteX140" fmla="*/ 5128419 w 12192000"/>
              <a:gd name="connsiteY140" fmla="*/ 2356081 h 3322638"/>
              <a:gd name="connsiteX141" fmla="*/ 5156995 w 12192000"/>
              <a:gd name="connsiteY141" fmla="*/ 2339417 h 3322638"/>
              <a:gd name="connsiteX142" fmla="*/ 5184776 w 12192000"/>
              <a:gd name="connsiteY142" fmla="*/ 2320371 h 3322638"/>
              <a:gd name="connsiteX143" fmla="*/ 5211763 w 12192000"/>
              <a:gd name="connsiteY143" fmla="*/ 2302119 h 3322638"/>
              <a:gd name="connsiteX144" fmla="*/ 5239545 w 12192000"/>
              <a:gd name="connsiteY144" fmla="*/ 2281487 h 3322638"/>
              <a:gd name="connsiteX145" fmla="*/ 5267325 w 12192000"/>
              <a:gd name="connsiteY145" fmla="*/ 2260061 h 3322638"/>
              <a:gd name="connsiteX146" fmla="*/ 5294313 w 12192000"/>
              <a:gd name="connsiteY146" fmla="*/ 2238634 h 3322638"/>
              <a:gd name="connsiteX147" fmla="*/ 5320506 w 12192000"/>
              <a:gd name="connsiteY147" fmla="*/ 2214034 h 3322638"/>
              <a:gd name="connsiteX148" fmla="*/ 5347494 w 12192000"/>
              <a:gd name="connsiteY148" fmla="*/ 2189434 h 3322638"/>
              <a:gd name="connsiteX149" fmla="*/ 5373688 w 12192000"/>
              <a:gd name="connsiteY149" fmla="*/ 2164040 h 3322638"/>
              <a:gd name="connsiteX150" fmla="*/ 5426869 w 12192000"/>
              <a:gd name="connsiteY150" fmla="*/ 2108490 h 3322638"/>
              <a:gd name="connsiteX151" fmla="*/ 5480844 w 12192000"/>
              <a:gd name="connsiteY151" fmla="*/ 2048974 h 3322638"/>
              <a:gd name="connsiteX152" fmla="*/ 5526088 w 12192000"/>
              <a:gd name="connsiteY152" fmla="*/ 1994218 h 3322638"/>
              <a:gd name="connsiteX153" fmla="*/ 5572126 w 12192000"/>
              <a:gd name="connsiteY153" fmla="*/ 1942636 h 3322638"/>
              <a:gd name="connsiteX154" fmla="*/ 5618163 w 12192000"/>
              <a:gd name="connsiteY154" fmla="*/ 1893436 h 3322638"/>
              <a:gd name="connsiteX155" fmla="*/ 5663406 w 12192000"/>
              <a:gd name="connsiteY155" fmla="*/ 1846616 h 3322638"/>
              <a:gd name="connsiteX156" fmla="*/ 5707856 w 12192000"/>
              <a:gd name="connsiteY156" fmla="*/ 1802176 h 3322638"/>
              <a:gd name="connsiteX157" fmla="*/ 5752307 w 12192000"/>
              <a:gd name="connsiteY157" fmla="*/ 1757737 h 3322638"/>
              <a:gd name="connsiteX158" fmla="*/ 5795963 w 12192000"/>
              <a:gd name="connsiteY158" fmla="*/ 1718059 h 3322638"/>
              <a:gd name="connsiteX159" fmla="*/ 5840413 w 12192000"/>
              <a:gd name="connsiteY159" fmla="*/ 1679174 h 3322638"/>
              <a:gd name="connsiteX160" fmla="*/ 5884863 w 12192000"/>
              <a:gd name="connsiteY160" fmla="*/ 1643464 h 3322638"/>
              <a:gd name="connsiteX161" fmla="*/ 5927725 w 12192000"/>
              <a:gd name="connsiteY161" fmla="*/ 1610135 h 3322638"/>
              <a:gd name="connsiteX162" fmla="*/ 5969794 w 12192000"/>
              <a:gd name="connsiteY162" fmla="*/ 1576805 h 3322638"/>
              <a:gd name="connsiteX163" fmla="*/ 6012656 w 12192000"/>
              <a:gd name="connsiteY163" fmla="*/ 1545856 h 3322638"/>
              <a:gd name="connsiteX164" fmla="*/ 6053931 w 12192000"/>
              <a:gd name="connsiteY164" fmla="*/ 1517288 h 3322638"/>
              <a:gd name="connsiteX165" fmla="*/ 6096794 w 12192000"/>
              <a:gd name="connsiteY165" fmla="*/ 1489513 h 3322638"/>
              <a:gd name="connsiteX166" fmla="*/ 6138069 w 12192000"/>
              <a:gd name="connsiteY166" fmla="*/ 1464119 h 3322638"/>
              <a:gd name="connsiteX167" fmla="*/ 6179344 w 12192000"/>
              <a:gd name="connsiteY167" fmla="*/ 1439519 h 3322638"/>
              <a:gd name="connsiteX168" fmla="*/ 6219031 w 12192000"/>
              <a:gd name="connsiteY168" fmla="*/ 1416506 h 3322638"/>
              <a:gd name="connsiteX169" fmla="*/ 6257131 w 12192000"/>
              <a:gd name="connsiteY169" fmla="*/ 1395080 h 3322638"/>
              <a:gd name="connsiteX170" fmla="*/ 6296819 w 12192000"/>
              <a:gd name="connsiteY170" fmla="*/ 1376828 h 3322638"/>
              <a:gd name="connsiteX171" fmla="*/ 6336506 w 12192000"/>
              <a:gd name="connsiteY171" fmla="*/ 1358576 h 3322638"/>
              <a:gd name="connsiteX172" fmla="*/ 6376194 w 12192000"/>
              <a:gd name="connsiteY172" fmla="*/ 1341911 h 3322638"/>
              <a:gd name="connsiteX173" fmla="*/ 6414294 w 12192000"/>
              <a:gd name="connsiteY173" fmla="*/ 1326833 h 3322638"/>
              <a:gd name="connsiteX174" fmla="*/ 6452394 w 12192000"/>
              <a:gd name="connsiteY174" fmla="*/ 1310962 h 3322638"/>
              <a:gd name="connsiteX175" fmla="*/ 6488906 w 12192000"/>
              <a:gd name="connsiteY175" fmla="*/ 1299059 h 3322638"/>
              <a:gd name="connsiteX176" fmla="*/ 6527006 w 12192000"/>
              <a:gd name="connsiteY176" fmla="*/ 1287155 h 3322638"/>
              <a:gd name="connsiteX177" fmla="*/ 6563519 w 12192000"/>
              <a:gd name="connsiteY177" fmla="*/ 1276046 h 3322638"/>
              <a:gd name="connsiteX178" fmla="*/ 6634956 w 12192000"/>
              <a:gd name="connsiteY178" fmla="*/ 1257794 h 3322638"/>
              <a:gd name="connsiteX179" fmla="*/ 6705600 w 12192000"/>
              <a:gd name="connsiteY179" fmla="*/ 1244303 h 3322638"/>
              <a:gd name="connsiteX180" fmla="*/ 6773863 w 12192000"/>
              <a:gd name="connsiteY180" fmla="*/ 1233193 h 3322638"/>
              <a:gd name="connsiteX181" fmla="*/ 6841331 w 12192000"/>
              <a:gd name="connsiteY181" fmla="*/ 1226051 h 3322638"/>
              <a:gd name="connsiteX182" fmla="*/ 6906419 w 12192000"/>
              <a:gd name="connsiteY182" fmla="*/ 1219703 h 3322638"/>
              <a:gd name="connsiteX183" fmla="*/ 6969125 w 12192000"/>
              <a:gd name="connsiteY183" fmla="*/ 1216529 h 3322638"/>
              <a:gd name="connsiteX184" fmla="*/ 7030244 w 12192000"/>
              <a:gd name="connsiteY184" fmla="*/ 1216529 h 3322638"/>
              <a:gd name="connsiteX185" fmla="*/ 7089775 w 12192000"/>
              <a:gd name="connsiteY185" fmla="*/ 1216529 h 3322638"/>
              <a:gd name="connsiteX186" fmla="*/ 7146131 w 12192000"/>
              <a:gd name="connsiteY186" fmla="*/ 1216529 h 3322638"/>
              <a:gd name="connsiteX187" fmla="*/ 7254875 w 12192000"/>
              <a:gd name="connsiteY187" fmla="*/ 1219703 h 3322638"/>
              <a:gd name="connsiteX188" fmla="*/ 7353300 w 12192000"/>
              <a:gd name="connsiteY188" fmla="*/ 1221290 h 3322638"/>
              <a:gd name="connsiteX189" fmla="*/ 7399338 w 12192000"/>
              <a:gd name="connsiteY189" fmla="*/ 1221290 h 3322638"/>
              <a:gd name="connsiteX190" fmla="*/ 7443788 w 12192000"/>
              <a:gd name="connsiteY190" fmla="*/ 1218116 h 3322638"/>
              <a:gd name="connsiteX191" fmla="*/ 7486650 w 12192000"/>
              <a:gd name="connsiteY191" fmla="*/ 1213354 h 3322638"/>
              <a:gd name="connsiteX192" fmla="*/ 7526338 w 12192000"/>
              <a:gd name="connsiteY192" fmla="*/ 1207799 h 3322638"/>
              <a:gd name="connsiteX193" fmla="*/ 7564438 w 12192000"/>
              <a:gd name="connsiteY193" fmla="*/ 1198277 h 3322638"/>
              <a:gd name="connsiteX194" fmla="*/ 7581106 w 12192000"/>
              <a:gd name="connsiteY194" fmla="*/ 1192722 h 3322638"/>
              <a:gd name="connsiteX195" fmla="*/ 7599363 w 12192000"/>
              <a:gd name="connsiteY195" fmla="*/ 1184786 h 3322638"/>
              <a:gd name="connsiteX196" fmla="*/ 7642225 w 12192000"/>
              <a:gd name="connsiteY196" fmla="*/ 1164947 h 3322638"/>
              <a:gd name="connsiteX197" fmla="*/ 7680325 w 12192000"/>
              <a:gd name="connsiteY197" fmla="*/ 1141934 h 3322638"/>
              <a:gd name="connsiteX198" fmla="*/ 7716838 w 12192000"/>
              <a:gd name="connsiteY198" fmla="*/ 1117333 h 3322638"/>
              <a:gd name="connsiteX199" fmla="*/ 7751763 w 12192000"/>
              <a:gd name="connsiteY199" fmla="*/ 1090352 h 3322638"/>
              <a:gd name="connsiteX200" fmla="*/ 7781925 w 12192000"/>
              <a:gd name="connsiteY200" fmla="*/ 1062578 h 3322638"/>
              <a:gd name="connsiteX201" fmla="*/ 7811294 w 12192000"/>
              <a:gd name="connsiteY201" fmla="*/ 1032422 h 3322638"/>
              <a:gd name="connsiteX202" fmla="*/ 7839075 w 12192000"/>
              <a:gd name="connsiteY202" fmla="*/ 999886 h 3322638"/>
              <a:gd name="connsiteX203" fmla="*/ 7864475 w 12192000"/>
              <a:gd name="connsiteY203" fmla="*/ 966557 h 3322638"/>
              <a:gd name="connsiteX204" fmla="*/ 7889081 w 12192000"/>
              <a:gd name="connsiteY204" fmla="*/ 931640 h 3322638"/>
              <a:gd name="connsiteX205" fmla="*/ 7912100 w 12192000"/>
              <a:gd name="connsiteY205" fmla="*/ 896724 h 3322638"/>
              <a:gd name="connsiteX206" fmla="*/ 7933531 w 12192000"/>
              <a:gd name="connsiteY206" fmla="*/ 858633 h 3322638"/>
              <a:gd name="connsiteX207" fmla="*/ 7954963 w 12192000"/>
              <a:gd name="connsiteY207" fmla="*/ 820542 h 3322638"/>
              <a:gd name="connsiteX208" fmla="*/ 7997031 w 12192000"/>
              <a:gd name="connsiteY208" fmla="*/ 742773 h 3322638"/>
              <a:gd name="connsiteX209" fmla="*/ 8038306 w 12192000"/>
              <a:gd name="connsiteY209" fmla="*/ 663417 h 3322638"/>
              <a:gd name="connsiteX210" fmla="*/ 8081169 w 12192000"/>
              <a:gd name="connsiteY210" fmla="*/ 580886 h 3322638"/>
              <a:gd name="connsiteX211" fmla="*/ 8104188 w 12192000"/>
              <a:gd name="connsiteY211" fmla="*/ 539621 h 3322638"/>
              <a:gd name="connsiteX212" fmla="*/ 8128794 w 12192000"/>
              <a:gd name="connsiteY212" fmla="*/ 499943 h 3322638"/>
              <a:gd name="connsiteX213" fmla="*/ 8154194 w 12192000"/>
              <a:gd name="connsiteY213" fmla="*/ 458678 h 3322638"/>
              <a:gd name="connsiteX214" fmla="*/ 8181975 w 12192000"/>
              <a:gd name="connsiteY214" fmla="*/ 419000 h 3322638"/>
              <a:gd name="connsiteX215" fmla="*/ 8208963 w 12192000"/>
              <a:gd name="connsiteY215" fmla="*/ 379322 h 3322638"/>
              <a:gd name="connsiteX216" fmla="*/ 8241506 w 12192000"/>
              <a:gd name="connsiteY216" fmla="*/ 341231 h 3322638"/>
              <a:gd name="connsiteX217" fmla="*/ 8274844 w 12192000"/>
              <a:gd name="connsiteY217" fmla="*/ 303140 h 3322638"/>
              <a:gd name="connsiteX218" fmla="*/ 8311356 w 12192000"/>
              <a:gd name="connsiteY218" fmla="*/ 266636 h 3322638"/>
              <a:gd name="connsiteX219" fmla="*/ 8351044 w 12192000"/>
              <a:gd name="connsiteY219" fmla="*/ 230133 h 3322638"/>
              <a:gd name="connsiteX220" fmla="*/ 8395494 w 12192000"/>
              <a:gd name="connsiteY220" fmla="*/ 196803 h 3322638"/>
              <a:gd name="connsiteX221" fmla="*/ 8441531 w 12192000"/>
              <a:gd name="connsiteY221" fmla="*/ 163474 h 3322638"/>
              <a:gd name="connsiteX222" fmla="*/ 8491538 w 12192000"/>
              <a:gd name="connsiteY222" fmla="*/ 130938 h 3322638"/>
              <a:gd name="connsiteX223" fmla="*/ 8544719 w 12192000"/>
              <a:gd name="connsiteY223" fmla="*/ 100782 h 3322638"/>
              <a:gd name="connsiteX224" fmla="*/ 8602662 w 12192000"/>
              <a:gd name="connsiteY224" fmla="*/ 73008 h 3322638"/>
              <a:gd name="connsiteX225" fmla="*/ 8635206 w 12192000"/>
              <a:gd name="connsiteY225" fmla="*/ 59517 h 3322638"/>
              <a:gd name="connsiteX226" fmla="*/ 8666956 w 12192000"/>
              <a:gd name="connsiteY226" fmla="*/ 47614 h 3322638"/>
              <a:gd name="connsiteX227" fmla="*/ 8700294 w 12192000"/>
              <a:gd name="connsiteY227" fmla="*/ 36504 h 3322638"/>
              <a:gd name="connsiteX228" fmla="*/ 8734425 w 12192000"/>
              <a:gd name="connsiteY228" fmla="*/ 27775 h 3322638"/>
              <a:gd name="connsiteX229" fmla="*/ 8767762 w 12192000"/>
              <a:gd name="connsiteY229" fmla="*/ 19839 h 3322638"/>
              <a:gd name="connsiteX230" fmla="*/ 8802688 w 12192000"/>
              <a:gd name="connsiteY230" fmla="*/ 13491 h 3322638"/>
              <a:gd name="connsiteX231" fmla="*/ 8839200 w 12192000"/>
              <a:gd name="connsiteY231" fmla="*/ 7936 h 3322638"/>
              <a:gd name="connsiteX232" fmla="*/ 8875712 w 12192000"/>
              <a:gd name="connsiteY232" fmla="*/ 4761 h 3322638"/>
              <a:gd name="connsiteX233" fmla="*/ 8912225 w 12192000"/>
              <a:gd name="connsiteY233" fmla="*/ 1587 h 3322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3322638">
                <a:moveTo>
                  <a:pt x="8949531" y="0"/>
                </a:moveTo>
                <a:lnTo>
                  <a:pt x="8987631" y="0"/>
                </a:lnTo>
                <a:lnTo>
                  <a:pt x="9025731" y="1587"/>
                </a:lnTo>
                <a:lnTo>
                  <a:pt x="9065419" y="3174"/>
                </a:lnTo>
                <a:lnTo>
                  <a:pt x="9103519" y="6349"/>
                </a:lnTo>
                <a:lnTo>
                  <a:pt x="9143206" y="9523"/>
                </a:lnTo>
                <a:lnTo>
                  <a:pt x="9182894" y="15078"/>
                </a:lnTo>
                <a:lnTo>
                  <a:pt x="9263062" y="27775"/>
                </a:lnTo>
                <a:lnTo>
                  <a:pt x="9345612" y="42852"/>
                </a:lnTo>
                <a:lnTo>
                  <a:pt x="9428162" y="62691"/>
                </a:lnTo>
                <a:lnTo>
                  <a:pt x="9512300" y="84118"/>
                </a:lnTo>
                <a:lnTo>
                  <a:pt x="9595644" y="107131"/>
                </a:lnTo>
                <a:lnTo>
                  <a:pt x="9679781" y="134112"/>
                </a:lnTo>
                <a:lnTo>
                  <a:pt x="9763919" y="161886"/>
                </a:lnTo>
                <a:lnTo>
                  <a:pt x="9847262" y="190455"/>
                </a:lnTo>
                <a:lnTo>
                  <a:pt x="9929812" y="221404"/>
                </a:lnTo>
                <a:lnTo>
                  <a:pt x="10012362" y="253146"/>
                </a:lnTo>
                <a:lnTo>
                  <a:pt x="10172700" y="317424"/>
                </a:lnTo>
                <a:lnTo>
                  <a:pt x="10477500" y="442013"/>
                </a:lnTo>
                <a:lnTo>
                  <a:pt x="10616406" y="498356"/>
                </a:lnTo>
                <a:lnTo>
                  <a:pt x="10682288" y="522957"/>
                </a:lnTo>
                <a:lnTo>
                  <a:pt x="10744200" y="545970"/>
                </a:lnTo>
                <a:lnTo>
                  <a:pt x="10803731" y="565809"/>
                </a:lnTo>
                <a:lnTo>
                  <a:pt x="10860088" y="584061"/>
                </a:lnTo>
                <a:lnTo>
                  <a:pt x="10912475" y="597551"/>
                </a:lnTo>
                <a:lnTo>
                  <a:pt x="10960894" y="608661"/>
                </a:lnTo>
                <a:lnTo>
                  <a:pt x="11006931" y="615803"/>
                </a:lnTo>
                <a:lnTo>
                  <a:pt x="11052969" y="622152"/>
                </a:lnTo>
                <a:lnTo>
                  <a:pt x="11098212" y="626913"/>
                </a:lnTo>
                <a:lnTo>
                  <a:pt x="11144250" y="628500"/>
                </a:lnTo>
                <a:lnTo>
                  <a:pt x="11188700" y="630087"/>
                </a:lnTo>
                <a:lnTo>
                  <a:pt x="11232356" y="628500"/>
                </a:lnTo>
                <a:lnTo>
                  <a:pt x="11276806" y="625326"/>
                </a:lnTo>
                <a:lnTo>
                  <a:pt x="11321256" y="618977"/>
                </a:lnTo>
                <a:lnTo>
                  <a:pt x="11364119" y="612629"/>
                </a:lnTo>
                <a:lnTo>
                  <a:pt x="11406188" y="605487"/>
                </a:lnTo>
                <a:lnTo>
                  <a:pt x="11447462" y="594377"/>
                </a:lnTo>
                <a:lnTo>
                  <a:pt x="11490325" y="584061"/>
                </a:lnTo>
                <a:lnTo>
                  <a:pt x="11531600" y="570570"/>
                </a:lnTo>
                <a:lnTo>
                  <a:pt x="11571288" y="556286"/>
                </a:lnTo>
                <a:lnTo>
                  <a:pt x="11610975" y="539621"/>
                </a:lnTo>
                <a:lnTo>
                  <a:pt x="11650662" y="522957"/>
                </a:lnTo>
                <a:lnTo>
                  <a:pt x="11690350" y="503118"/>
                </a:lnTo>
                <a:lnTo>
                  <a:pt x="11728450" y="483279"/>
                </a:lnTo>
                <a:lnTo>
                  <a:pt x="11766550" y="461852"/>
                </a:lnTo>
                <a:lnTo>
                  <a:pt x="11803062" y="438839"/>
                </a:lnTo>
                <a:lnTo>
                  <a:pt x="11839575" y="415032"/>
                </a:lnTo>
                <a:lnTo>
                  <a:pt x="11874500" y="388845"/>
                </a:lnTo>
                <a:lnTo>
                  <a:pt x="11909425" y="362657"/>
                </a:lnTo>
                <a:lnTo>
                  <a:pt x="11945144" y="335676"/>
                </a:lnTo>
                <a:lnTo>
                  <a:pt x="11978481" y="306315"/>
                </a:lnTo>
                <a:lnTo>
                  <a:pt x="12011819" y="276159"/>
                </a:lnTo>
                <a:lnTo>
                  <a:pt x="12044362" y="245210"/>
                </a:lnTo>
                <a:lnTo>
                  <a:pt x="12072938" y="213468"/>
                </a:lnTo>
                <a:lnTo>
                  <a:pt x="12104688" y="180138"/>
                </a:lnTo>
                <a:lnTo>
                  <a:pt x="12134056" y="146015"/>
                </a:lnTo>
                <a:lnTo>
                  <a:pt x="12164219" y="111099"/>
                </a:lnTo>
                <a:lnTo>
                  <a:pt x="12192000" y="76182"/>
                </a:lnTo>
                <a:lnTo>
                  <a:pt x="12192000" y="3322638"/>
                </a:lnTo>
                <a:lnTo>
                  <a:pt x="0" y="3322638"/>
                </a:lnTo>
                <a:lnTo>
                  <a:pt x="0" y="1660129"/>
                </a:lnTo>
                <a:lnTo>
                  <a:pt x="38100" y="1611722"/>
                </a:lnTo>
                <a:lnTo>
                  <a:pt x="77788" y="1565695"/>
                </a:lnTo>
                <a:lnTo>
                  <a:pt x="120650" y="1522049"/>
                </a:lnTo>
                <a:lnTo>
                  <a:pt x="165894" y="1480784"/>
                </a:lnTo>
                <a:lnTo>
                  <a:pt x="213519" y="1441106"/>
                </a:lnTo>
                <a:lnTo>
                  <a:pt x="262731" y="1404602"/>
                </a:lnTo>
                <a:lnTo>
                  <a:pt x="314325" y="1368892"/>
                </a:lnTo>
                <a:lnTo>
                  <a:pt x="367507" y="1337150"/>
                </a:lnTo>
                <a:lnTo>
                  <a:pt x="422275" y="1308582"/>
                </a:lnTo>
                <a:lnTo>
                  <a:pt x="478631" y="1279220"/>
                </a:lnTo>
                <a:lnTo>
                  <a:pt x="536575" y="1254619"/>
                </a:lnTo>
                <a:lnTo>
                  <a:pt x="596107" y="1230813"/>
                </a:lnTo>
                <a:lnTo>
                  <a:pt x="657225" y="1210974"/>
                </a:lnTo>
                <a:lnTo>
                  <a:pt x="719931" y="1191135"/>
                </a:lnTo>
                <a:lnTo>
                  <a:pt x="782638" y="1174470"/>
                </a:lnTo>
                <a:lnTo>
                  <a:pt x="846932" y="1158599"/>
                </a:lnTo>
                <a:lnTo>
                  <a:pt x="910432" y="1146695"/>
                </a:lnTo>
                <a:lnTo>
                  <a:pt x="976313" y="1135585"/>
                </a:lnTo>
                <a:lnTo>
                  <a:pt x="1042194" y="1128443"/>
                </a:lnTo>
                <a:lnTo>
                  <a:pt x="1108869" y="1120508"/>
                </a:lnTo>
                <a:lnTo>
                  <a:pt x="1174750" y="1116540"/>
                </a:lnTo>
                <a:lnTo>
                  <a:pt x="1241425" y="1114953"/>
                </a:lnTo>
                <a:lnTo>
                  <a:pt x="1308894" y="1113366"/>
                </a:lnTo>
                <a:lnTo>
                  <a:pt x="1375569" y="1114953"/>
                </a:lnTo>
                <a:lnTo>
                  <a:pt x="1441450" y="1117333"/>
                </a:lnTo>
                <a:lnTo>
                  <a:pt x="1508919" y="1123682"/>
                </a:lnTo>
                <a:lnTo>
                  <a:pt x="1574007" y="1130030"/>
                </a:lnTo>
                <a:lnTo>
                  <a:pt x="1639888" y="1138760"/>
                </a:lnTo>
                <a:lnTo>
                  <a:pt x="1704182" y="1149869"/>
                </a:lnTo>
                <a:lnTo>
                  <a:pt x="1767681" y="1161773"/>
                </a:lnTo>
                <a:lnTo>
                  <a:pt x="1830388" y="1175263"/>
                </a:lnTo>
                <a:lnTo>
                  <a:pt x="1891507" y="1192722"/>
                </a:lnTo>
                <a:lnTo>
                  <a:pt x="1935957" y="1204625"/>
                </a:lnTo>
                <a:lnTo>
                  <a:pt x="1979613" y="1219703"/>
                </a:lnTo>
                <a:lnTo>
                  <a:pt x="2025650" y="1237955"/>
                </a:lnTo>
                <a:lnTo>
                  <a:pt x="2071688" y="1257794"/>
                </a:lnTo>
                <a:lnTo>
                  <a:pt x="2118519" y="1279220"/>
                </a:lnTo>
                <a:lnTo>
                  <a:pt x="2166144" y="1303820"/>
                </a:lnTo>
                <a:lnTo>
                  <a:pt x="2214563" y="1328421"/>
                </a:lnTo>
                <a:lnTo>
                  <a:pt x="2265363" y="1355402"/>
                </a:lnTo>
                <a:lnTo>
                  <a:pt x="2366169" y="1414919"/>
                </a:lnTo>
                <a:lnTo>
                  <a:pt x="2467769" y="1479197"/>
                </a:lnTo>
                <a:lnTo>
                  <a:pt x="2574925" y="1545856"/>
                </a:lnTo>
                <a:lnTo>
                  <a:pt x="2682875" y="1619657"/>
                </a:lnTo>
                <a:lnTo>
                  <a:pt x="2907507" y="1767260"/>
                </a:lnTo>
                <a:lnTo>
                  <a:pt x="3021807" y="1845028"/>
                </a:lnTo>
                <a:lnTo>
                  <a:pt x="3137694" y="1921210"/>
                </a:lnTo>
                <a:lnTo>
                  <a:pt x="3255169" y="1997392"/>
                </a:lnTo>
                <a:lnTo>
                  <a:pt x="3374232" y="2071987"/>
                </a:lnTo>
                <a:lnTo>
                  <a:pt x="3494882" y="2142614"/>
                </a:lnTo>
                <a:lnTo>
                  <a:pt x="3554413" y="2177530"/>
                </a:lnTo>
                <a:lnTo>
                  <a:pt x="3614738" y="2210860"/>
                </a:lnTo>
                <a:lnTo>
                  <a:pt x="3674269" y="2242602"/>
                </a:lnTo>
                <a:lnTo>
                  <a:pt x="3735388" y="2273551"/>
                </a:lnTo>
                <a:lnTo>
                  <a:pt x="3796507" y="2302119"/>
                </a:lnTo>
                <a:lnTo>
                  <a:pt x="3857625" y="2329894"/>
                </a:lnTo>
                <a:lnTo>
                  <a:pt x="3917157" y="2357669"/>
                </a:lnTo>
                <a:lnTo>
                  <a:pt x="3978275" y="2381475"/>
                </a:lnTo>
                <a:lnTo>
                  <a:pt x="4039394" y="2404489"/>
                </a:lnTo>
                <a:lnTo>
                  <a:pt x="4099719" y="2424328"/>
                </a:lnTo>
                <a:lnTo>
                  <a:pt x="4160838" y="2444167"/>
                </a:lnTo>
                <a:lnTo>
                  <a:pt x="4220369" y="2460831"/>
                </a:lnTo>
                <a:lnTo>
                  <a:pt x="4281488" y="2475115"/>
                </a:lnTo>
                <a:lnTo>
                  <a:pt x="4341019" y="2487019"/>
                </a:lnTo>
                <a:lnTo>
                  <a:pt x="4400550" y="2495748"/>
                </a:lnTo>
                <a:lnTo>
                  <a:pt x="4460081" y="2502097"/>
                </a:lnTo>
                <a:lnTo>
                  <a:pt x="4519613" y="2506858"/>
                </a:lnTo>
                <a:lnTo>
                  <a:pt x="4580731" y="2508445"/>
                </a:lnTo>
                <a:lnTo>
                  <a:pt x="4638675" y="2506858"/>
                </a:lnTo>
                <a:lnTo>
                  <a:pt x="4698206" y="2502097"/>
                </a:lnTo>
                <a:lnTo>
                  <a:pt x="4757738" y="2493367"/>
                </a:lnTo>
                <a:lnTo>
                  <a:pt x="4815681" y="2482258"/>
                </a:lnTo>
                <a:lnTo>
                  <a:pt x="4873625" y="2467180"/>
                </a:lnTo>
                <a:lnTo>
                  <a:pt x="4931569" y="2448928"/>
                </a:lnTo>
                <a:lnTo>
                  <a:pt x="4987925" y="2427502"/>
                </a:lnTo>
                <a:lnTo>
                  <a:pt x="5016501" y="2415598"/>
                </a:lnTo>
                <a:lnTo>
                  <a:pt x="5044282" y="2401314"/>
                </a:lnTo>
                <a:lnTo>
                  <a:pt x="5073650" y="2387824"/>
                </a:lnTo>
                <a:lnTo>
                  <a:pt x="5100638" y="2372746"/>
                </a:lnTo>
                <a:lnTo>
                  <a:pt x="5128419" y="2356081"/>
                </a:lnTo>
                <a:lnTo>
                  <a:pt x="5156995" y="2339417"/>
                </a:lnTo>
                <a:lnTo>
                  <a:pt x="5184776" y="2320371"/>
                </a:lnTo>
                <a:lnTo>
                  <a:pt x="5211763" y="2302119"/>
                </a:lnTo>
                <a:lnTo>
                  <a:pt x="5239545" y="2281487"/>
                </a:lnTo>
                <a:lnTo>
                  <a:pt x="5267325" y="2260061"/>
                </a:lnTo>
                <a:lnTo>
                  <a:pt x="5294313" y="2238634"/>
                </a:lnTo>
                <a:lnTo>
                  <a:pt x="5320506" y="2214034"/>
                </a:lnTo>
                <a:lnTo>
                  <a:pt x="5347494" y="2189434"/>
                </a:lnTo>
                <a:lnTo>
                  <a:pt x="5373688" y="2164040"/>
                </a:lnTo>
                <a:lnTo>
                  <a:pt x="5426869" y="2108490"/>
                </a:lnTo>
                <a:lnTo>
                  <a:pt x="5480844" y="2048974"/>
                </a:lnTo>
                <a:lnTo>
                  <a:pt x="5526088" y="1994218"/>
                </a:lnTo>
                <a:lnTo>
                  <a:pt x="5572126" y="1942636"/>
                </a:lnTo>
                <a:lnTo>
                  <a:pt x="5618163" y="1893436"/>
                </a:lnTo>
                <a:lnTo>
                  <a:pt x="5663406" y="1846616"/>
                </a:lnTo>
                <a:lnTo>
                  <a:pt x="5707856" y="1802176"/>
                </a:lnTo>
                <a:lnTo>
                  <a:pt x="5752307" y="1757737"/>
                </a:lnTo>
                <a:lnTo>
                  <a:pt x="5795963" y="1718059"/>
                </a:lnTo>
                <a:lnTo>
                  <a:pt x="5840413" y="1679174"/>
                </a:lnTo>
                <a:lnTo>
                  <a:pt x="5884863" y="1643464"/>
                </a:lnTo>
                <a:lnTo>
                  <a:pt x="5927725" y="1610135"/>
                </a:lnTo>
                <a:lnTo>
                  <a:pt x="5969794" y="1576805"/>
                </a:lnTo>
                <a:lnTo>
                  <a:pt x="6012656" y="1545856"/>
                </a:lnTo>
                <a:lnTo>
                  <a:pt x="6053931" y="1517288"/>
                </a:lnTo>
                <a:lnTo>
                  <a:pt x="6096794" y="1489513"/>
                </a:lnTo>
                <a:lnTo>
                  <a:pt x="6138069" y="1464119"/>
                </a:lnTo>
                <a:lnTo>
                  <a:pt x="6179344" y="1439519"/>
                </a:lnTo>
                <a:lnTo>
                  <a:pt x="6219031" y="1416506"/>
                </a:lnTo>
                <a:lnTo>
                  <a:pt x="6257131" y="1395080"/>
                </a:lnTo>
                <a:lnTo>
                  <a:pt x="6296819" y="1376828"/>
                </a:lnTo>
                <a:lnTo>
                  <a:pt x="6336506" y="1358576"/>
                </a:lnTo>
                <a:lnTo>
                  <a:pt x="6376194" y="1341911"/>
                </a:lnTo>
                <a:lnTo>
                  <a:pt x="6414294" y="1326833"/>
                </a:lnTo>
                <a:lnTo>
                  <a:pt x="6452394" y="1310962"/>
                </a:lnTo>
                <a:lnTo>
                  <a:pt x="6488906" y="1299059"/>
                </a:lnTo>
                <a:lnTo>
                  <a:pt x="6527006" y="1287155"/>
                </a:lnTo>
                <a:lnTo>
                  <a:pt x="6563519" y="1276046"/>
                </a:lnTo>
                <a:lnTo>
                  <a:pt x="6634956" y="1257794"/>
                </a:lnTo>
                <a:lnTo>
                  <a:pt x="6705600" y="1244303"/>
                </a:lnTo>
                <a:lnTo>
                  <a:pt x="6773863" y="1233193"/>
                </a:lnTo>
                <a:lnTo>
                  <a:pt x="6841331" y="1226051"/>
                </a:lnTo>
                <a:lnTo>
                  <a:pt x="6906419" y="1219703"/>
                </a:lnTo>
                <a:lnTo>
                  <a:pt x="6969125" y="1216529"/>
                </a:lnTo>
                <a:lnTo>
                  <a:pt x="7030244" y="1216529"/>
                </a:lnTo>
                <a:lnTo>
                  <a:pt x="7089775" y="1216529"/>
                </a:lnTo>
                <a:lnTo>
                  <a:pt x="7146131" y="1216529"/>
                </a:lnTo>
                <a:lnTo>
                  <a:pt x="7254875" y="1219703"/>
                </a:lnTo>
                <a:lnTo>
                  <a:pt x="7353300" y="1221290"/>
                </a:lnTo>
                <a:lnTo>
                  <a:pt x="7399338" y="1221290"/>
                </a:lnTo>
                <a:lnTo>
                  <a:pt x="7443788" y="1218116"/>
                </a:lnTo>
                <a:lnTo>
                  <a:pt x="7486650" y="1213354"/>
                </a:lnTo>
                <a:lnTo>
                  <a:pt x="7526338" y="1207799"/>
                </a:lnTo>
                <a:lnTo>
                  <a:pt x="7564438" y="1198277"/>
                </a:lnTo>
                <a:lnTo>
                  <a:pt x="7581106" y="1192722"/>
                </a:lnTo>
                <a:lnTo>
                  <a:pt x="7599363" y="1184786"/>
                </a:lnTo>
                <a:lnTo>
                  <a:pt x="7642225" y="1164947"/>
                </a:lnTo>
                <a:lnTo>
                  <a:pt x="7680325" y="1141934"/>
                </a:lnTo>
                <a:lnTo>
                  <a:pt x="7716838" y="1117333"/>
                </a:lnTo>
                <a:lnTo>
                  <a:pt x="7751763" y="1090352"/>
                </a:lnTo>
                <a:lnTo>
                  <a:pt x="7781925" y="1062578"/>
                </a:lnTo>
                <a:lnTo>
                  <a:pt x="7811294" y="1032422"/>
                </a:lnTo>
                <a:lnTo>
                  <a:pt x="7839075" y="999886"/>
                </a:lnTo>
                <a:lnTo>
                  <a:pt x="7864475" y="966557"/>
                </a:lnTo>
                <a:lnTo>
                  <a:pt x="7889081" y="931640"/>
                </a:lnTo>
                <a:lnTo>
                  <a:pt x="7912100" y="896724"/>
                </a:lnTo>
                <a:lnTo>
                  <a:pt x="7933531" y="858633"/>
                </a:lnTo>
                <a:lnTo>
                  <a:pt x="7954963" y="820542"/>
                </a:lnTo>
                <a:lnTo>
                  <a:pt x="7997031" y="742773"/>
                </a:lnTo>
                <a:lnTo>
                  <a:pt x="8038306" y="663417"/>
                </a:lnTo>
                <a:lnTo>
                  <a:pt x="8081169" y="580886"/>
                </a:lnTo>
                <a:lnTo>
                  <a:pt x="8104188" y="539621"/>
                </a:lnTo>
                <a:lnTo>
                  <a:pt x="8128794" y="499943"/>
                </a:lnTo>
                <a:lnTo>
                  <a:pt x="8154194" y="458678"/>
                </a:lnTo>
                <a:lnTo>
                  <a:pt x="8181975" y="419000"/>
                </a:lnTo>
                <a:lnTo>
                  <a:pt x="8208963" y="379322"/>
                </a:lnTo>
                <a:lnTo>
                  <a:pt x="8241506" y="341231"/>
                </a:lnTo>
                <a:lnTo>
                  <a:pt x="8274844" y="303140"/>
                </a:lnTo>
                <a:lnTo>
                  <a:pt x="8311356" y="266636"/>
                </a:lnTo>
                <a:lnTo>
                  <a:pt x="8351044" y="230133"/>
                </a:lnTo>
                <a:lnTo>
                  <a:pt x="8395494" y="196803"/>
                </a:lnTo>
                <a:lnTo>
                  <a:pt x="8441531" y="163474"/>
                </a:lnTo>
                <a:lnTo>
                  <a:pt x="8491538" y="130938"/>
                </a:lnTo>
                <a:lnTo>
                  <a:pt x="8544719" y="100782"/>
                </a:lnTo>
                <a:lnTo>
                  <a:pt x="8602662" y="73008"/>
                </a:lnTo>
                <a:lnTo>
                  <a:pt x="8635206" y="59517"/>
                </a:lnTo>
                <a:lnTo>
                  <a:pt x="8666956" y="47614"/>
                </a:lnTo>
                <a:lnTo>
                  <a:pt x="8700294" y="36504"/>
                </a:lnTo>
                <a:lnTo>
                  <a:pt x="8734425" y="27775"/>
                </a:lnTo>
                <a:lnTo>
                  <a:pt x="8767762" y="19839"/>
                </a:lnTo>
                <a:lnTo>
                  <a:pt x="8802688" y="13491"/>
                </a:lnTo>
                <a:lnTo>
                  <a:pt x="8839200" y="7936"/>
                </a:lnTo>
                <a:lnTo>
                  <a:pt x="8875712" y="4761"/>
                </a:lnTo>
                <a:lnTo>
                  <a:pt x="8912225" y="1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0" name="Freeform 11">
            <a:extLst>
              <a:ext uri="{FF2B5EF4-FFF2-40B4-BE49-F238E27FC236}">
                <a16:creationId xmlns:a16="http://schemas.microsoft.com/office/drawing/2014/main" id="{BEF76E81-A3CD-448B-AD1A-24D6D3510D44}"/>
              </a:ext>
            </a:extLst>
          </p:cNvPr>
          <p:cNvSpPr>
            <a:spLocks/>
          </p:cNvSpPr>
          <p:nvPr userDrawn="1"/>
        </p:nvSpPr>
        <p:spPr bwMode="auto">
          <a:xfrm>
            <a:off x="0" y="4767262"/>
            <a:ext cx="12192000" cy="2090738"/>
          </a:xfrm>
          <a:custGeom>
            <a:avLst/>
            <a:gdLst>
              <a:gd name="T0" fmla="*/ 15204 w 15360"/>
              <a:gd name="T1" fmla="*/ 4 h 2634"/>
              <a:gd name="T2" fmla="*/ 14762 w 15360"/>
              <a:gd name="T3" fmla="*/ 34 h 2634"/>
              <a:gd name="T4" fmla="*/ 14361 w 15360"/>
              <a:gd name="T5" fmla="*/ 90 h 2634"/>
              <a:gd name="T6" fmla="*/ 13994 w 15360"/>
              <a:gd name="T7" fmla="*/ 167 h 2634"/>
              <a:gd name="T8" fmla="*/ 13655 w 15360"/>
              <a:gd name="T9" fmla="*/ 261 h 2634"/>
              <a:gd name="T10" fmla="*/ 13336 w 15360"/>
              <a:gd name="T11" fmla="*/ 369 h 2634"/>
              <a:gd name="T12" fmla="*/ 12933 w 15360"/>
              <a:gd name="T13" fmla="*/ 522 h 2634"/>
              <a:gd name="T14" fmla="*/ 12333 w 15360"/>
              <a:gd name="T15" fmla="*/ 753 h 2634"/>
              <a:gd name="T16" fmla="*/ 12024 w 15360"/>
              <a:gd name="T17" fmla="*/ 860 h 2634"/>
              <a:gd name="T18" fmla="*/ 11697 w 15360"/>
              <a:gd name="T19" fmla="*/ 955 h 2634"/>
              <a:gd name="T20" fmla="*/ 11401 w 15360"/>
              <a:gd name="T21" fmla="*/ 1018 h 2634"/>
              <a:gd name="T22" fmla="*/ 11223 w 15360"/>
              <a:gd name="T23" fmla="*/ 1030 h 2634"/>
              <a:gd name="T24" fmla="*/ 11140 w 15360"/>
              <a:gd name="T25" fmla="*/ 1024 h 2634"/>
              <a:gd name="T26" fmla="*/ 11073 w 15360"/>
              <a:gd name="T27" fmla="*/ 1008 h 2634"/>
              <a:gd name="T28" fmla="*/ 11021 w 15360"/>
              <a:gd name="T29" fmla="*/ 983 h 2634"/>
              <a:gd name="T30" fmla="*/ 10967 w 15360"/>
              <a:gd name="T31" fmla="*/ 941 h 2634"/>
              <a:gd name="T32" fmla="*/ 10907 w 15360"/>
              <a:gd name="T33" fmla="*/ 859 h 2634"/>
              <a:gd name="T34" fmla="*/ 10838 w 15360"/>
              <a:gd name="T35" fmla="*/ 730 h 2634"/>
              <a:gd name="T36" fmla="*/ 10767 w 15360"/>
              <a:gd name="T37" fmla="*/ 632 h 2634"/>
              <a:gd name="T38" fmla="*/ 10702 w 15360"/>
              <a:gd name="T39" fmla="*/ 570 h 2634"/>
              <a:gd name="T40" fmla="*/ 10638 w 15360"/>
              <a:gd name="T41" fmla="*/ 528 h 2634"/>
              <a:gd name="T42" fmla="*/ 10560 w 15360"/>
              <a:gd name="T43" fmla="*/ 490 h 2634"/>
              <a:gd name="T44" fmla="*/ 10464 w 15360"/>
              <a:gd name="T45" fmla="*/ 459 h 2634"/>
              <a:gd name="T46" fmla="*/ 10346 w 15360"/>
              <a:gd name="T47" fmla="*/ 434 h 2634"/>
              <a:gd name="T48" fmla="*/ 10206 w 15360"/>
              <a:gd name="T49" fmla="*/ 419 h 2634"/>
              <a:gd name="T50" fmla="*/ 10048 w 15360"/>
              <a:gd name="T51" fmla="*/ 411 h 2634"/>
              <a:gd name="T52" fmla="*/ 9887 w 15360"/>
              <a:gd name="T53" fmla="*/ 419 h 2634"/>
              <a:gd name="T54" fmla="*/ 9724 w 15360"/>
              <a:gd name="T55" fmla="*/ 436 h 2634"/>
              <a:gd name="T56" fmla="*/ 9397 w 15360"/>
              <a:gd name="T57" fmla="*/ 499 h 2634"/>
              <a:gd name="T58" fmla="*/ 9065 w 15360"/>
              <a:gd name="T59" fmla="*/ 593 h 2634"/>
              <a:gd name="T60" fmla="*/ 8734 w 15360"/>
              <a:gd name="T61" fmla="*/ 713 h 2634"/>
              <a:gd name="T62" fmla="*/ 8171 w 15360"/>
              <a:gd name="T63" fmla="*/ 932 h 2634"/>
              <a:gd name="T64" fmla="*/ 7719 w 15360"/>
              <a:gd name="T65" fmla="*/ 1106 h 2634"/>
              <a:gd name="T66" fmla="*/ 7381 w 15360"/>
              <a:gd name="T67" fmla="*/ 1222 h 2634"/>
              <a:gd name="T68" fmla="*/ 7041 w 15360"/>
              <a:gd name="T69" fmla="*/ 1314 h 2634"/>
              <a:gd name="T70" fmla="*/ 6705 w 15360"/>
              <a:gd name="T71" fmla="*/ 1374 h 2634"/>
              <a:gd name="T72" fmla="*/ 6411 w 15360"/>
              <a:gd name="T73" fmla="*/ 1398 h 2634"/>
              <a:gd name="T74" fmla="*/ 5809 w 15360"/>
              <a:gd name="T75" fmla="*/ 1431 h 2634"/>
              <a:gd name="T76" fmla="*/ 4914 w 15360"/>
              <a:gd name="T77" fmla="*/ 1458 h 2634"/>
              <a:gd name="T78" fmla="*/ 3471 w 15360"/>
              <a:gd name="T79" fmla="*/ 1475 h 2634"/>
              <a:gd name="T80" fmla="*/ 2056 w 15360"/>
              <a:gd name="T81" fmla="*/ 1475 h 2634"/>
              <a:gd name="T82" fmla="*/ 0 w 15360"/>
              <a:gd name="T83" fmla="*/ 1460 h 2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5360" h="2634">
                <a:moveTo>
                  <a:pt x="15360" y="2634"/>
                </a:moveTo>
                <a:lnTo>
                  <a:pt x="15360" y="0"/>
                </a:lnTo>
                <a:lnTo>
                  <a:pt x="15204" y="4"/>
                </a:lnTo>
                <a:lnTo>
                  <a:pt x="15051" y="11"/>
                </a:lnTo>
                <a:lnTo>
                  <a:pt x="14905" y="21"/>
                </a:lnTo>
                <a:lnTo>
                  <a:pt x="14762" y="34"/>
                </a:lnTo>
                <a:lnTo>
                  <a:pt x="14624" y="50"/>
                </a:lnTo>
                <a:lnTo>
                  <a:pt x="14489" y="69"/>
                </a:lnTo>
                <a:lnTo>
                  <a:pt x="14361" y="90"/>
                </a:lnTo>
                <a:lnTo>
                  <a:pt x="14236" y="113"/>
                </a:lnTo>
                <a:lnTo>
                  <a:pt x="14113" y="140"/>
                </a:lnTo>
                <a:lnTo>
                  <a:pt x="13994" y="167"/>
                </a:lnTo>
                <a:lnTo>
                  <a:pt x="13878" y="198"/>
                </a:lnTo>
                <a:lnTo>
                  <a:pt x="13765" y="228"/>
                </a:lnTo>
                <a:lnTo>
                  <a:pt x="13655" y="261"/>
                </a:lnTo>
                <a:lnTo>
                  <a:pt x="13546" y="296"/>
                </a:lnTo>
                <a:lnTo>
                  <a:pt x="13440" y="332"/>
                </a:lnTo>
                <a:lnTo>
                  <a:pt x="13336" y="369"/>
                </a:lnTo>
                <a:lnTo>
                  <a:pt x="13233" y="405"/>
                </a:lnTo>
                <a:lnTo>
                  <a:pt x="13131" y="444"/>
                </a:lnTo>
                <a:lnTo>
                  <a:pt x="12933" y="522"/>
                </a:lnTo>
                <a:lnTo>
                  <a:pt x="12735" y="599"/>
                </a:lnTo>
                <a:lnTo>
                  <a:pt x="12535" y="678"/>
                </a:lnTo>
                <a:lnTo>
                  <a:pt x="12333" y="753"/>
                </a:lnTo>
                <a:lnTo>
                  <a:pt x="12232" y="789"/>
                </a:lnTo>
                <a:lnTo>
                  <a:pt x="12130" y="826"/>
                </a:lnTo>
                <a:lnTo>
                  <a:pt x="12024" y="860"/>
                </a:lnTo>
                <a:lnTo>
                  <a:pt x="11918" y="893"/>
                </a:lnTo>
                <a:lnTo>
                  <a:pt x="11809" y="926"/>
                </a:lnTo>
                <a:lnTo>
                  <a:pt x="11697" y="955"/>
                </a:lnTo>
                <a:lnTo>
                  <a:pt x="11588" y="982"/>
                </a:lnTo>
                <a:lnTo>
                  <a:pt x="11490" y="1003"/>
                </a:lnTo>
                <a:lnTo>
                  <a:pt x="11401" y="1018"/>
                </a:lnTo>
                <a:lnTo>
                  <a:pt x="11323" y="1026"/>
                </a:lnTo>
                <a:lnTo>
                  <a:pt x="11253" y="1030"/>
                </a:lnTo>
                <a:lnTo>
                  <a:pt x="11223" y="1030"/>
                </a:lnTo>
                <a:lnTo>
                  <a:pt x="11194" y="1030"/>
                </a:lnTo>
                <a:lnTo>
                  <a:pt x="11165" y="1028"/>
                </a:lnTo>
                <a:lnTo>
                  <a:pt x="11140" y="1024"/>
                </a:lnTo>
                <a:lnTo>
                  <a:pt x="11117" y="1020"/>
                </a:lnTo>
                <a:lnTo>
                  <a:pt x="11094" y="1014"/>
                </a:lnTo>
                <a:lnTo>
                  <a:pt x="11073" y="1008"/>
                </a:lnTo>
                <a:lnTo>
                  <a:pt x="11055" y="1001"/>
                </a:lnTo>
                <a:lnTo>
                  <a:pt x="11036" y="993"/>
                </a:lnTo>
                <a:lnTo>
                  <a:pt x="11021" y="983"/>
                </a:lnTo>
                <a:lnTo>
                  <a:pt x="11007" y="974"/>
                </a:lnTo>
                <a:lnTo>
                  <a:pt x="10992" y="964"/>
                </a:lnTo>
                <a:lnTo>
                  <a:pt x="10967" y="941"/>
                </a:lnTo>
                <a:lnTo>
                  <a:pt x="10944" y="916"/>
                </a:lnTo>
                <a:lnTo>
                  <a:pt x="10925" y="887"/>
                </a:lnTo>
                <a:lnTo>
                  <a:pt x="10907" y="859"/>
                </a:lnTo>
                <a:lnTo>
                  <a:pt x="10890" y="828"/>
                </a:lnTo>
                <a:lnTo>
                  <a:pt x="10856" y="764"/>
                </a:lnTo>
                <a:lnTo>
                  <a:pt x="10838" y="730"/>
                </a:lnTo>
                <a:lnTo>
                  <a:pt x="10817" y="697"/>
                </a:lnTo>
                <a:lnTo>
                  <a:pt x="10794" y="664"/>
                </a:lnTo>
                <a:lnTo>
                  <a:pt x="10767" y="632"/>
                </a:lnTo>
                <a:lnTo>
                  <a:pt x="10738" y="601"/>
                </a:lnTo>
                <a:lnTo>
                  <a:pt x="10721" y="586"/>
                </a:lnTo>
                <a:lnTo>
                  <a:pt x="10702" y="570"/>
                </a:lnTo>
                <a:lnTo>
                  <a:pt x="10683" y="555"/>
                </a:lnTo>
                <a:lnTo>
                  <a:pt x="10661" y="542"/>
                </a:lnTo>
                <a:lnTo>
                  <a:pt x="10638" y="528"/>
                </a:lnTo>
                <a:lnTo>
                  <a:pt x="10613" y="515"/>
                </a:lnTo>
                <a:lnTo>
                  <a:pt x="10588" y="503"/>
                </a:lnTo>
                <a:lnTo>
                  <a:pt x="10560" y="490"/>
                </a:lnTo>
                <a:lnTo>
                  <a:pt x="10529" y="480"/>
                </a:lnTo>
                <a:lnTo>
                  <a:pt x="10496" y="469"/>
                </a:lnTo>
                <a:lnTo>
                  <a:pt x="10464" y="459"/>
                </a:lnTo>
                <a:lnTo>
                  <a:pt x="10427" y="449"/>
                </a:lnTo>
                <a:lnTo>
                  <a:pt x="10387" y="442"/>
                </a:lnTo>
                <a:lnTo>
                  <a:pt x="10346" y="434"/>
                </a:lnTo>
                <a:lnTo>
                  <a:pt x="10302" y="428"/>
                </a:lnTo>
                <a:lnTo>
                  <a:pt x="10256" y="422"/>
                </a:lnTo>
                <a:lnTo>
                  <a:pt x="10206" y="419"/>
                </a:lnTo>
                <a:lnTo>
                  <a:pt x="10154" y="415"/>
                </a:lnTo>
                <a:lnTo>
                  <a:pt x="10102" y="413"/>
                </a:lnTo>
                <a:lnTo>
                  <a:pt x="10048" y="411"/>
                </a:lnTo>
                <a:lnTo>
                  <a:pt x="9995" y="413"/>
                </a:lnTo>
                <a:lnTo>
                  <a:pt x="9941" y="415"/>
                </a:lnTo>
                <a:lnTo>
                  <a:pt x="9887" y="419"/>
                </a:lnTo>
                <a:lnTo>
                  <a:pt x="9833" y="422"/>
                </a:lnTo>
                <a:lnTo>
                  <a:pt x="9779" y="428"/>
                </a:lnTo>
                <a:lnTo>
                  <a:pt x="9724" y="436"/>
                </a:lnTo>
                <a:lnTo>
                  <a:pt x="9616" y="453"/>
                </a:lnTo>
                <a:lnTo>
                  <a:pt x="9507" y="474"/>
                </a:lnTo>
                <a:lnTo>
                  <a:pt x="9397" y="499"/>
                </a:lnTo>
                <a:lnTo>
                  <a:pt x="9287" y="528"/>
                </a:lnTo>
                <a:lnTo>
                  <a:pt x="9176" y="559"/>
                </a:lnTo>
                <a:lnTo>
                  <a:pt x="9065" y="593"/>
                </a:lnTo>
                <a:lnTo>
                  <a:pt x="8955" y="632"/>
                </a:lnTo>
                <a:lnTo>
                  <a:pt x="8845" y="670"/>
                </a:lnTo>
                <a:lnTo>
                  <a:pt x="8734" y="713"/>
                </a:lnTo>
                <a:lnTo>
                  <a:pt x="8621" y="755"/>
                </a:lnTo>
                <a:lnTo>
                  <a:pt x="8398" y="843"/>
                </a:lnTo>
                <a:lnTo>
                  <a:pt x="8171" y="932"/>
                </a:lnTo>
                <a:lnTo>
                  <a:pt x="7946" y="1022"/>
                </a:lnTo>
                <a:lnTo>
                  <a:pt x="7833" y="1064"/>
                </a:lnTo>
                <a:lnTo>
                  <a:pt x="7719" y="1106"/>
                </a:lnTo>
                <a:lnTo>
                  <a:pt x="7606" y="1147"/>
                </a:lnTo>
                <a:lnTo>
                  <a:pt x="7493" y="1187"/>
                </a:lnTo>
                <a:lnTo>
                  <a:pt x="7381" y="1222"/>
                </a:lnTo>
                <a:lnTo>
                  <a:pt x="7268" y="1256"/>
                </a:lnTo>
                <a:lnTo>
                  <a:pt x="7154" y="1287"/>
                </a:lnTo>
                <a:lnTo>
                  <a:pt x="7041" y="1314"/>
                </a:lnTo>
                <a:lnTo>
                  <a:pt x="6928" y="1339"/>
                </a:lnTo>
                <a:lnTo>
                  <a:pt x="6816" y="1358"/>
                </a:lnTo>
                <a:lnTo>
                  <a:pt x="6705" y="1374"/>
                </a:lnTo>
                <a:lnTo>
                  <a:pt x="6649" y="1381"/>
                </a:lnTo>
                <a:lnTo>
                  <a:pt x="6591" y="1385"/>
                </a:lnTo>
                <a:lnTo>
                  <a:pt x="6411" y="1398"/>
                </a:lnTo>
                <a:lnTo>
                  <a:pt x="6219" y="1410"/>
                </a:lnTo>
                <a:lnTo>
                  <a:pt x="6019" y="1422"/>
                </a:lnTo>
                <a:lnTo>
                  <a:pt x="5809" y="1431"/>
                </a:lnTo>
                <a:lnTo>
                  <a:pt x="5594" y="1439"/>
                </a:lnTo>
                <a:lnTo>
                  <a:pt x="5373" y="1447"/>
                </a:lnTo>
                <a:lnTo>
                  <a:pt x="4914" y="1458"/>
                </a:lnTo>
                <a:lnTo>
                  <a:pt x="4441" y="1468"/>
                </a:lnTo>
                <a:lnTo>
                  <a:pt x="3957" y="1473"/>
                </a:lnTo>
                <a:lnTo>
                  <a:pt x="3471" y="1475"/>
                </a:lnTo>
                <a:lnTo>
                  <a:pt x="2986" y="1477"/>
                </a:lnTo>
                <a:lnTo>
                  <a:pt x="2514" y="1477"/>
                </a:lnTo>
                <a:lnTo>
                  <a:pt x="2056" y="1475"/>
                </a:lnTo>
                <a:lnTo>
                  <a:pt x="1213" y="1470"/>
                </a:lnTo>
                <a:lnTo>
                  <a:pt x="509" y="1462"/>
                </a:lnTo>
                <a:lnTo>
                  <a:pt x="0" y="1460"/>
                </a:lnTo>
                <a:lnTo>
                  <a:pt x="0" y="2634"/>
                </a:lnTo>
                <a:lnTo>
                  <a:pt x="15360" y="263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28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B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41"/>
          <p:cNvSpPr/>
          <p:nvPr userDrawn="1"/>
        </p:nvSpPr>
        <p:spPr>
          <a:xfrm>
            <a:off x="115" y="65"/>
            <a:ext cx="12191770" cy="685787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99" tIns="25399" rIns="25399" bIns="25399" anchor="ctr"/>
          <a:lstStyle/>
          <a:p>
            <a:pPr algn="ctr" defTabSz="412724" hangingPunct="0">
              <a:defRPr sz="3200">
                <a:solidFill>
                  <a:srgbClr val="FEFDFF">
                    <a:alpha val="12190"/>
                  </a:srgbClr>
                </a:solidFill>
              </a:defRPr>
            </a:pPr>
            <a:endParaRPr sz="1600" kern="0">
              <a:solidFill>
                <a:schemeClr val="accent1">
                  <a:alpha val="12190"/>
                </a:schemeClr>
              </a:solidFill>
              <a:sym typeface="Source Sans Pro"/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479550" y="667643"/>
            <a:ext cx="5030873" cy="5522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21297379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56904" y="2249716"/>
            <a:ext cx="4845611" cy="3875312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548105" y="2249716"/>
            <a:ext cx="4845611" cy="3875312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23970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2808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284661" y="2544097"/>
            <a:ext cx="7622679" cy="1769806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85638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577050" y="1393017"/>
            <a:ext cx="4106528" cy="4106528"/>
            <a:chOff x="1220118" y="2343274"/>
            <a:chExt cx="2450851" cy="2450851"/>
          </a:xfrm>
          <a:effectLst/>
        </p:grpSpPr>
        <p:sp>
          <p:nvSpPr>
            <p:cNvPr id="4" name="Oval 3"/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1">
                <a:alpha val="9000"/>
              </a:schemeClr>
            </a:solidFill>
            <a:ln>
              <a:noFill/>
            </a:ln>
            <a:effectLst>
              <a:outerShdw blurRad="8255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/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1">
                <a:alpha val="18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1580469" y="2703625"/>
              <a:ext cx="1730150" cy="17301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latin typeface="Source Sans Pro" panose="020B0503030403020204" pitchFamily="34" charset="0"/>
              </a:endParaRPr>
            </a:p>
          </p:txBody>
        </p:sp>
      </p:grpSp>
      <p:grpSp>
        <p:nvGrpSpPr>
          <p:cNvPr id="7" name="Group 6"/>
          <p:cNvGrpSpPr/>
          <p:nvPr userDrawn="1"/>
        </p:nvGrpSpPr>
        <p:grpSpPr>
          <a:xfrm>
            <a:off x="3658431" y="3715873"/>
            <a:ext cx="2669259" cy="2669259"/>
            <a:chOff x="1220118" y="2343274"/>
            <a:chExt cx="2450851" cy="2450851"/>
          </a:xfrm>
          <a:effectLst/>
        </p:grpSpPr>
        <p:sp>
          <p:nvSpPr>
            <p:cNvPr id="8" name="Oval 7"/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2">
                <a:alpha val="9000"/>
              </a:schemeClr>
            </a:solidFill>
            <a:ln>
              <a:noFill/>
            </a:ln>
            <a:effectLst>
              <a:outerShdw blurRad="8255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2">
                <a:alpha val="18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1580469" y="2703625"/>
              <a:ext cx="1730150" cy="17301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latin typeface="Source Sans Pro" panose="020B0503030403020204" pitchFamily="34" charset="0"/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3249243" y="252984"/>
            <a:ext cx="2280066" cy="2280066"/>
            <a:chOff x="1220118" y="2343274"/>
            <a:chExt cx="2450851" cy="2450851"/>
          </a:xfrm>
          <a:effectLst/>
        </p:grpSpPr>
        <p:sp>
          <p:nvSpPr>
            <p:cNvPr id="12" name="Oval 11"/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3">
                <a:alpha val="9000"/>
              </a:schemeClr>
            </a:solidFill>
            <a:ln>
              <a:noFill/>
            </a:ln>
            <a:effectLst>
              <a:outerShdw blurRad="8255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3">
                <a:alpha val="18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1580469" y="2703625"/>
              <a:ext cx="1730150" cy="17301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latin typeface="Source Sans Pro" panose="020B0503030403020204" pitchFamily="34" charset="0"/>
              </a:endParaRPr>
            </a:p>
          </p:txBody>
        </p:sp>
      </p:grpSp>
      <p:sp>
        <p:nvSpPr>
          <p:cNvPr id="16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1250689" y="2066656"/>
            <a:ext cx="2759249" cy="2759249"/>
          </a:xfrm>
          <a:prstGeom prst="ellipse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4120750" y="4182993"/>
            <a:ext cx="1735017" cy="1735017"/>
          </a:xfrm>
          <a:prstGeom prst="ellipse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3647906" y="651647"/>
            <a:ext cx="1482739" cy="1482739"/>
          </a:xfrm>
          <a:prstGeom prst="ellipse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518989" y="1782335"/>
            <a:ext cx="3434443" cy="19226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90000"/>
              </a:lnSpc>
              <a:defRPr sz="3600" b="0" i="0"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518989" y="1489102"/>
            <a:ext cx="3434443" cy="3905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+mn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8108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id_Portfolio">
    <p:bg>
      <p:bgPr>
        <a:gradFill>
          <a:gsLst>
            <a:gs pos="17000">
              <a:schemeClr val="accent1"/>
            </a:gs>
            <a:gs pos="100000">
              <a:schemeClr val="accent5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/>
          <p:cNvSpPr/>
          <p:nvPr userDrawn="1"/>
        </p:nvSpPr>
        <p:spPr>
          <a:xfrm rot="18900000">
            <a:off x="7569201" y="-561766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 rot="18900000">
            <a:off x="7688312" y="-444747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26271" y="1369103"/>
            <a:ext cx="4520945" cy="1180198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36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6271" y="1119412"/>
            <a:ext cx="3434443" cy="3905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0" i="0" spc="300">
                <a:solidFill>
                  <a:schemeClr val="bg1"/>
                </a:solidFill>
                <a:latin typeface="+mn-lt"/>
                <a:cs typeface="Tahoma" panose="020B060403050404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Rectangle: Rounded Corners 7"/>
          <p:cNvSpPr/>
          <p:nvPr userDrawn="1"/>
        </p:nvSpPr>
        <p:spPr>
          <a:xfrm rot="18900000">
            <a:off x="7902108" y="2618432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4" hasCustomPrompt="1"/>
          </p:nvPr>
        </p:nvSpPr>
        <p:spPr>
          <a:xfrm rot="18900000">
            <a:off x="8021219" y="2735451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10" name="Rectangle: Rounded Corners 9"/>
          <p:cNvSpPr/>
          <p:nvPr userDrawn="1"/>
        </p:nvSpPr>
        <p:spPr>
          <a:xfrm rot="18900000">
            <a:off x="4542091" y="2449159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5" hasCustomPrompt="1"/>
          </p:nvPr>
        </p:nvSpPr>
        <p:spPr>
          <a:xfrm rot="18900000">
            <a:off x="4661202" y="2566178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12" name="Rectangle: Rounded Corners 11"/>
          <p:cNvSpPr/>
          <p:nvPr userDrawn="1"/>
        </p:nvSpPr>
        <p:spPr>
          <a:xfrm rot="18900000">
            <a:off x="10929219" y="-387370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6" hasCustomPrompt="1"/>
          </p:nvPr>
        </p:nvSpPr>
        <p:spPr>
          <a:xfrm rot="18900000">
            <a:off x="11048330" y="-270351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18" name="Rectangle: Rounded Corners 17"/>
          <p:cNvSpPr/>
          <p:nvPr userDrawn="1"/>
        </p:nvSpPr>
        <p:spPr>
          <a:xfrm rot="18900000">
            <a:off x="4876500" y="5618794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7" hasCustomPrompt="1"/>
          </p:nvPr>
        </p:nvSpPr>
        <p:spPr>
          <a:xfrm rot="18900000">
            <a:off x="4995611" y="5735813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0" name="Rectangle: Rounded Corners 19"/>
          <p:cNvSpPr/>
          <p:nvPr userDrawn="1"/>
        </p:nvSpPr>
        <p:spPr>
          <a:xfrm rot="18900000">
            <a:off x="1520940" y="5454961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18" hasCustomPrompt="1"/>
          </p:nvPr>
        </p:nvSpPr>
        <p:spPr>
          <a:xfrm rot="18900000">
            <a:off x="1640051" y="5571980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2" name="Rectangle: Rounded Corners 21"/>
          <p:cNvSpPr/>
          <p:nvPr userDrawn="1"/>
        </p:nvSpPr>
        <p:spPr>
          <a:xfrm rot="18900000">
            <a:off x="8235213" y="5793191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9" hasCustomPrompt="1"/>
          </p:nvPr>
        </p:nvSpPr>
        <p:spPr>
          <a:xfrm rot="18900000">
            <a:off x="8354324" y="5910210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  <p:sp>
        <p:nvSpPr>
          <p:cNvPr id="24" name="Rectangle: Rounded Corners 23"/>
          <p:cNvSpPr/>
          <p:nvPr userDrawn="1"/>
        </p:nvSpPr>
        <p:spPr>
          <a:xfrm rot="18900000">
            <a:off x="11257668" y="2792830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0" hasCustomPrompt="1"/>
          </p:nvPr>
        </p:nvSpPr>
        <p:spPr>
          <a:xfrm rot="18900000">
            <a:off x="11376779" y="2909849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and Drop Image He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222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84880" y="-110446"/>
            <a:ext cx="3040387" cy="1748747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2587624" y="4295775"/>
            <a:ext cx="2165067" cy="268992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85030" y="2482444"/>
            <a:ext cx="2637728" cy="222554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467600" y="2692400"/>
            <a:ext cx="4838699" cy="244568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 flipH="1">
            <a:off x="7448607" y="-67732"/>
            <a:ext cx="4864174" cy="2790347"/>
          </a:xfrm>
          <a:prstGeom prst="rect">
            <a:avLst/>
          </a:prstGeom>
          <a:solidFill>
            <a:schemeClr val="accent5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 flipH="1">
            <a:off x="4752691" y="4272118"/>
            <a:ext cx="7560090" cy="2605125"/>
          </a:xfrm>
          <a:prstGeom prst="rect">
            <a:avLst/>
          </a:prstGeom>
          <a:solidFill>
            <a:schemeClr val="accent1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flipH="1">
            <a:off x="4381500" y="1635718"/>
            <a:ext cx="3065021" cy="2636395"/>
          </a:xfrm>
          <a:prstGeom prst="rect">
            <a:avLst/>
          </a:prstGeom>
          <a:solidFill>
            <a:schemeClr val="accent2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flipH="1">
            <a:off x="2569633" y="2482443"/>
            <a:ext cx="1809429" cy="1788989"/>
          </a:xfrm>
          <a:prstGeom prst="rect">
            <a:avLst/>
          </a:prstGeom>
          <a:solidFill>
            <a:schemeClr val="accent3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26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  <p:bldP spid="9" grpId="0" animBg="1"/>
      <p:bldP spid="3" grpId="0" animBg="1"/>
      <p:bldP spid="5" grpId="0" animBg="1"/>
      <p:bldP spid="6" grpId="0" animBg="1"/>
      <p:bldP spid="7" grpId="0" animBg="1"/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07200" y="0"/>
            <a:ext cx="53848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412067" y="0"/>
            <a:ext cx="3397673" cy="22758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412067" y="4582160"/>
            <a:ext cx="3397673" cy="22758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2296160"/>
            <a:ext cx="3410373" cy="22758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70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 animBg="1"/>
      <p:bldP spid="12" grpId="0" animBg="1"/>
      <p:bldP spid="13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57315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045588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933861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822134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045588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9822134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7933861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822134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933861" y="2489044"/>
            <a:ext cx="1828799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l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380769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269042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4157084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2268811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045473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4156969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80769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2268811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380769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434387906"/>
      </p:ext>
    </p:extLst>
  </p:cSld>
  <p:clrMapOvr>
    <a:masterClrMapping/>
  </p:clrMapOvr>
  <p:transition spd="slow" advTm="2000">
    <p:cover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763406" y="1913999"/>
            <a:ext cx="5239701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9500" y="1913999"/>
            <a:ext cx="5239701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6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9814800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6352358" y="1896743"/>
            <a:ext cx="5239701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607313" y="1896744"/>
            <a:ext cx="5605346" cy="19939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607312" y="4042314"/>
            <a:ext cx="1828800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2495585" y="4042314"/>
            <a:ext cx="1828800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383858" y="4042314"/>
            <a:ext cx="1828800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80771300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772350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463048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6143950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8811194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8676744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44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767399" y="1936700"/>
            <a:ext cx="5239701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45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767399" y="4042314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46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3463048" y="4042314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47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6126187" y="1936700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48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134967" y="4042313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821160" y="4042313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8811377" y="1936700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8245695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ne 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7318852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005744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93234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-1019277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1343873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331363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166140" y="2473174"/>
            <a:ext cx="1861466" cy="3304508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grpSp>
        <p:nvGrpSpPr>
          <p:cNvPr id="3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1342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4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114373" y="456502"/>
            <a:ext cx="9210034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132569" y="942857"/>
            <a:ext cx="9191838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326287" y="4287560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5129648" y="3182081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8724451" y="942857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10514239" y="-235160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016275" y="1791063"/>
            <a:ext cx="1901952" cy="3931920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orthographicFront">
              <a:rot lat="2400000" lon="2400000" rev="3630000"/>
            </a:camera>
            <a:lightRig rig="threePt" dir="t"/>
          </a:scene3d>
          <a:sp3d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742180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532881" y="2418930"/>
            <a:ext cx="1755775" cy="3107216"/>
          </a:xfr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/>
          <a:lstStyle/>
          <a:p>
            <a:endParaRPr lang="en-US" dirty="0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36378603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sz="3200">
                <a:latin typeface="+mj-lt"/>
                <a:ea typeface="Roboto Black" panose="02000000000000000000" pitchFamily="2" charset="0"/>
              </a:defRPr>
            </a:lvl1pPr>
            <a:lvl2pPr>
              <a:defRPr sz="12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+mj-lt"/>
                <a:ea typeface="Roboto Black" panose="02000000000000000000" pitchFamily="2" charset="0"/>
              </a:defRPr>
            </a:lvl1pPr>
            <a:lvl2pPr>
              <a:defRPr sz="12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82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grpSp>
        <p:nvGrpSpPr>
          <p:cNvPr id="83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8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7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90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1891211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25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919118" y="2600562"/>
            <a:ext cx="1672284" cy="2967716"/>
          </a:xfrm>
          <a:custGeom>
            <a:avLst/>
            <a:gdLst>
              <a:gd name="connsiteX0" fmla="*/ 0 w 1672284"/>
              <a:gd name="connsiteY0" fmla="*/ 0 h 2967716"/>
              <a:gd name="connsiteX1" fmla="*/ 1672284 w 1672284"/>
              <a:gd name="connsiteY1" fmla="*/ 0 h 2967716"/>
              <a:gd name="connsiteX2" fmla="*/ 1672284 w 1672284"/>
              <a:gd name="connsiteY2" fmla="*/ 2967716 h 2967716"/>
              <a:gd name="connsiteX3" fmla="*/ 0 w 1672284"/>
              <a:gd name="connsiteY3" fmla="*/ 2967716 h 296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2284" h="2967716">
                <a:moveTo>
                  <a:pt x="0" y="0"/>
                </a:moveTo>
                <a:lnTo>
                  <a:pt x="1672284" y="0"/>
                </a:lnTo>
                <a:lnTo>
                  <a:pt x="1672284" y="2967716"/>
                </a:lnTo>
                <a:lnTo>
                  <a:pt x="0" y="2967716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8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6600599" y="2600562"/>
            <a:ext cx="1672284" cy="2967716"/>
          </a:xfrm>
          <a:custGeom>
            <a:avLst/>
            <a:gdLst>
              <a:gd name="connsiteX0" fmla="*/ 0 w 1672284"/>
              <a:gd name="connsiteY0" fmla="*/ 0 h 2967716"/>
              <a:gd name="connsiteX1" fmla="*/ 1672284 w 1672284"/>
              <a:gd name="connsiteY1" fmla="*/ 0 h 2967716"/>
              <a:gd name="connsiteX2" fmla="*/ 1672284 w 1672284"/>
              <a:gd name="connsiteY2" fmla="*/ 2967716 h 2967716"/>
              <a:gd name="connsiteX3" fmla="*/ 0 w 1672284"/>
              <a:gd name="connsiteY3" fmla="*/ 2967716 h 296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2284" h="2967716">
                <a:moveTo>
                  <a:pt x="0" y="0"/>
                </a:moveTo>
                <a:lnTo>
                  <a:pt x="1672284" y="0"/>
                </a:lnTo>
                <a:lnTo>
                  <a:pt x="1672284" y="2967716"/>
                </a:lnTo>
                <a:lnTo>
                  <a:pt x="0" y="2967716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134187" y="2248886"/>
            <a:ext cx="1923627" cy="3413760"/>
          </a:xfrm>
          <a:custGeom>
            <a:avLst/>
            <a:gdLst>
              <a:gd name="connsiteX0" fmla="*/ 0 w 1923627"/>
              <a:gd name="connsiteY0" fmla="*/ 0 h 3413760"/>
              <a:gd name="connsiteX1" fmla="*/ 1923627 w 1923627"/>
              <a:gd name="connsiteY1" fmla="*/ 0 h 3413760"/>
              <a:gd name="connsiteX2" fmla="*/ 1923627 w 1923627"/>
              <a:gd name="connsiteY2" fmla="*/ 3413760 h 3413760"/>
              <a:gd name="connsiteX3" fmla="*/ 0 w 1923627"/>
              <a:gd name="connsiteY3" fmla="*/ 3413760 h 341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23627" h="3413760">
                <a:moveTo>
                  <a:pt x="0" y="0"/>
                </a:moveTo>
                <a:lnTo>
                  <a:pt x="1923627" y="0"/>
                </a:lnTo>
                <a:lnTo>
                  <a:pt x="1923627" y="3413760"/>
                </a:lnTo>
                <a:lnTo>
                  <a:pt x="0" y="3413760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7199399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314025" y="2204778"/>
            <a:ext cx="1923627" cy="3413760"/>
          </a:xfrm>
          <a:custGeom>
            <a:avLst/>
            <a:gdLst>
              <a:gd name="connsiteX0" fmla="*/ 0 w 1923627"/>
              <a:gd name="connsiteY0" fmla="*/ 0 h 3413760"/>
              <a:gd name="connsiteX1" fmla="*/ 1923627 w 1923627"/>
              <a:gd name="connsiteY1" fmla="*/ 0 h 3413760"/>
              <a:gd name="connsiteX2" fmla="*/ 1923627 w 1923627"/>
              <a:gd name="connsiteY2" fmla="*/ 3413760 h 3413760"/>
              <a:gd name="connsiteX3" fmla="*/ 0 w 1923627"/>
              <a:gd name="connsiteY3" fmla="*/ 3413760 h 341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23627" h="3413760">
                <a:moveTo>
                  <a:pt x="0" y="0"/>
                </a:moveTo>
                <a:lnTo>
                  <a:pt x="1923627" y="0"/>
                </a:lnTo>
                <a:lnTo>
                  <a:pt x="1923627" y="3413760"/>
                </a:lnTo>
                <a:lnTo>
                  <a:pt x="0" y="3413760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3536972" y="2204778"/>
            <a:ext cx="1923627" cy="3413760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53719720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747991" y="2194267"/>
            <a:ext cx="1923627" cy="3413760"/>
          </a:xfrm>
          <a:custGeom>
            <a:avLst/>
            <a:gdLst>
              <a:gd name="connsiteX0" fmla="*/ 0 w 1923627"/>
              <a:gd name="connsiteY0" fmla="*/ 0 h 3413760"/>
              <a:gd name="connsiteX1" fmla="*/ 1923627 w 1923627"/>
              <a:gd name="connsiteY1" fmla="*/ 0 h 3413760"/>
              <a:gd name="connsiteX2" fmla="*/ 1923627 w 1923627"/>
              <a:gd name="connsiteY2" fmla="*/ 3413760 h 3413760"/>
              <a:gd name="connsiteX3" fmla="*/ 0 w 1923627"/>
              <a:gd name="connsiteY3" fmla="*/ 3413760 h 341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23627" h="3413760">
                <a:moveTo>
                  <a:pt x="0" y="0"/>
                </a:moveTo>
                <a:lnTo>
                  <a:pt x="1923627" y="0"/>
                </a:lnTo>
                <a:lnTo>
                  <a:pt x="1923627" y="3413760"/>
                </a:lnTo>
                <a:lnTo>
                  <a:pt x="0" y="3413760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2878636" y="2194267"/>
            <a:ext cx="1923627" cy="3413760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5009281" y="2194267"/>
            <a:ext cx="1923627" cy="3413760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06125104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3364249" y="2579857"/>
            <a:ext cx="1632511" cy="2897131"/>
          </a:xfrm>
          <a:custGeom>
            <a:avLst/>
            <a:gdLst>
              <a:gd name="connsiteX0" fmla="*/ 0 w 1632511"/>
              <a:gd name="connsiteY0" fmla="*/ 0 h 2897131"/>
              <a:gd name="connsiteX1" fmla="*/ 1632511 w 1632511"/>
              <a:gd name="connsiteY1" fmla="*/ 0 h 2897131"/>
              <a:gd name="connsiteX2" fmla="*/ 1632511 w 1632511"/>
              <a:gd name="connsiteY2" fmla="*/ 2897131 h 2897131"/>
              <a:gd name="connsiteX3" fmla="*/ 0 w 1632511"/>
              <a:gd name="connsiteY3" fmla="*/ 2897131 h 289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2511" h="2897131">
                <a:moveTo>
                  <a:pt x="0" y="0"/>
                </a:moveTo>
                <a:lnTo>
                  <a:pt x="1632511" y="0"/>
                </a:lnTo>
                <a:lnTo>
                  <a:pt x="1632511" y="2897131"/>
                </a:lnTo>
                <a:lnTo>
                  <a:pt x="0" y="2897131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1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7212686" y="2579857"/>
            <a:ext cx="1632511" cy="2897131"/>
          </a:xfrm>
          <a:custGeom>
            <a:avLst/>
            <a:gdLst>
              <a:gd name="connsiteX0" fmla="*/ 0 w 1632511"/>
              <a:gd name="connsiteY0" fmla="*/ 0 h 2897131"/>
              <a:gd name="connsiteX1" fmla="*/ 1632511 w 1632511"/>
              <a:gd name="connsiteY1" fmla="*/ 0 h 2897131"/>
              <a:gd name="connsiteX2" fmla="*/ 1632511 w 1632511"/>
              <a:gd name="connsiteY2" fmla="*/ 2897131 h 2897131"/>
              <a:gd name="connsiteX3" fmla="*/ 0 w 1632511"/>
              <a:gd name="connsiteY3" fmla="*/ 2897131 h 289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2511" h="2897131">
                <a:moveTo>
                  <a:pt x="0" y="0"/>
                </a:moveTo>
                <a:lnTo>
                  <a:pt x="1632511" y="0"/>
                </a:lnTo>
                <a:lnTo>
                  <a:pt x="1632511" y="2897131"/>
                </a:lnTo>
                <a:lnTo>
                  <a:pt x="0" y="2897131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64747621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ch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763248" y="3088577"/>
            <a:ext cx="1271780" cy="1582037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198536" y="3088577"/>
            <a:ext cx="1271780" cy="1582037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5417303" y="3009475"/>
            <a:ext cx="1398958" cy="1740241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34481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-876957" y="2093530"/>
            <a:ext cx="5070075" cy="2870272"/>
          </a:xfrm>
          <a:custGeom>
            <a:avLst/>
            <a:gdLst>
              <a:gd name="connsiteX0" fmla="*/ 0 w 5070075"/>
              <a:gd name="connsiteY0" fmla="*/ 0 h 2849779"/>
              <a:gd name="connsiteX1" fmla="*/ 5070075 w 5070075"/>
              <a:gd name="connsiteY1" fmla="*/ 0 h 2849779"/>
              <a:gd name="connsiteX2" fmla="*/ 5070075 w 5070075"/>
              <a:gd name="connsiteY2" fmla="*/ 2849779 h 2849779"/>
              <a:gd name="connsiteX3" fmla="*/ 0 w 5070075"/>
              <a:gd name="connsiteY3" fmla="*/ 2849779 h 2849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0075" h="2849779">
                <a:moveTo>
                  <a:pt x="0" y="0"/>
                </a:moveTo>
                <a:lnTo>
                  <a:pt x="5070075" y="0"/>
                </a:lnTo>
                <a:lnTo>
                  <a:pt x="5070075" y="2849779"/>
                </a:lnTo>
                <a:lnTo>
                  <a:pt x="0" y="2849779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62307410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cku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542643" y="1988755"/>
            <a:ext cx="5070075" cy="2870272"/>
          </a:xfrm>
          <a:custGeom>
            <a:avLst/>
            <a:gdLst>
              <a:gd name="connsiteX0" fmla="*/ 0 w 5070075"/>
              <a:gd name="connsiteY0" fmla="*/ 0 h 2849779"/>
              <a:gd name="connsiteX1" fmla="*/ 5070075 w 5070075"/>
              <a:gd name="connsiteY1" fmla="*/ 0 h 2849779"/>
              <a:gd name="connsiteX2" fmla="*/ 5070075 w 5070075"/>
              <a:gd name="connsiteY2" fmla="*/ 2849779 h 2849779"/>
              <a:gd name="connsiteX3" fmla="*/ 0 w 5070075"/>
              <a:gd name="connsiteY3" fmla="*/ 2849779 h 2849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0075" h="2849779">
                <a:moveTo>
                  <a:pt x="0" y="0"/>
                </a:moveTo>
                <a:lnTo>
                  <a:pt x="5070075" y="0"/>
                </a:lnTo>
                <a:lnTo>
                  <a:pt x="5070075" y="2849779"/>
                </a:lnTo>
                <a:lnTo>
                  <a:pt x="0" y="2849779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4268649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2" y="456502"/>
            <a:ext cx="8894481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8496728" y="1857127"/>
            <a:ext cx="2929281" cy="3898603"/>
          </a:xfrm>
          <a:custGeom>
            <a:avLst/>
            <a:gdLst>
              <a:gd name="connsiteX0" fmla="*/ 0 w 2929281"/>
              <a:gd name="connsiteY0" fmla="*/ 0 h 3898603"/>
              <a:gd name="connsiteX1" fmla="*/ 2929281 w 2929281"/>
              <a:gd name="connsiteY1" fmla="*/ 0 h 3898603"/>
              <a:gd name="connsiteX2" fmla="*/ 2929281 w 2929281"/>
              <a:gd name="connsiteY2" fmla="*/ 3898603 h 3898603"/>
              <a:gd name="connsiteX3" fmla="*/ 0 w 2929281"/>
              <a:gd name="connsiteY3" fmla="*/ 3898603 h 3898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29281" h="3898603">
                <a:moveTo>
                  <a:pt x="0" y="0"/>
                </a:moveTo>
                <a:lnTo>
                  <a:pt x="2929281" y="0"/>
                </a:lnTo>
                <a:lnTo>
                  <a:pt x="2929281" y="3898603"/>
                </a:lnTo>
                <a:lnTo>
                  <a:pt x="0" y="3898603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267904" y="2180516"/>
            <a:ext cx="2929281" cy="3898603"/>
          </a:xfrm>
          <a:custGeom>
            <a:avLst/>
            <a:gdLst>
              <a:gd name="connsiteX0" fmla="*/ 0 w 2929281"/>
              <a:gd name="connsiteY0" fmla="*/ 0 h 3898603"/>
              <a:gd name="connsiteX1" fmla="*/ 2929281 w 2929281"/>
              <a:gd name="connsiteY1" fmla="*/ 0 h 3898603"/>
              <a:gd name="connsiteX2" fmla="*/ 2929281 w 2929281"/>
              <a:gd name="connsiteY2" fmla="*/ 3898603 h 3898603"/>
              <a:gd name="connsiteX3" fmla="*/ 0 w 2929281"/>
              <a:gd name="connsiteY3" fmla="*/ 3898603 h 3898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29281" h="3898603">
                <a:moveTo>
                  <a:pt x="0" y="0"/>
                </a:moveTo>
                <a:lnTo>
                  <a:pt x="2929281" y="0"/>
                </a:lnTo>
                <a:lnTo>
                  <a:pt x="2929281" y="3898603"/>
                </a:lnTo>
                <a:lnTo>
                  <a:pt x="0" y="3898603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9278726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46803" y="2049724"/>
            <a:ext cx="5067049" cy="3166953"/>
          </a:xfrm>
          <a:custGeom>
            <a:avLst/>
            <a:gdLst>
              <a:gd name="connsiteX0" fmla="*/ 0 w 5067049"/>
              <a:gd name="connsiteY0" fmla="*/ 0 h 3166953"/>
              <a:gd name="connsiteX1" fmla="*/ 5067049 w 5067049"/>
              <a:gd name="connsiteY1" fmla="*/ 0 h 3166953"/>
              <a:gd name="connsiteX2" fmla="*/ 5067049 w 5067049"/>
              <a:gd name="connsiteY2" fmla="*/ 3166953 h 3166953"/>
              <a:gd name="connsiteX3" fmla="*/ 0 w 5067049"/>
              <a:gd name="connsiteY3" fmla="*/ 3166953 h 316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049" h="3166953">
                <a:moveTo>
                  <a:pt x="0" y="0"/>
                </a:moveTo>
                <a:lnTo>
                  <a:pt x="5067049" y="0"/>
                </a:lnTo>
                <a:lnTo>
                  <a:pt x="5067049" y="3166953"/>
                </a:lnTo>
                <a:lnTo>
                  <a:pt x="0" y="3166953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44649576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577842" y="243841"/>
            <a:ext cx="6614159" cy="6614160"/>
          </a:xfrm>
          <a:custGeom>
            <a:avLst/>
            <a:gdLst>
              <a:gd name="connsiteX0" fmla="*/ 6614159 w 6614159"/>
              <a:gd name="connsiteY0" fmla="*/ 0 h 6614160"/>
              <a:gd name="connsiteX1" fmla="*/ 6614159 w 6614159"/>
              <a:gd name="connsiteY1" fmla="*/ 3418065 h 6614160"/>
              <a:gd name="connsiteX2" fmla="*/ 3418064 w 6614159"/>
              <a:gd name="connsiteY2" fmla="*/ 6614160 h 6614160"/>
              <a:gd name="connsiteX3" fmla="*/ 0 w 6614159"/>
              <a:gd name="connsiteY3" fmla="*/ 6614160 h 6614160"/>
              <a:gd name="connsiteX4" fmla="*/ 6614159 w 6614159"/>
              <a:gd name="connsiteY4" fmla="*/ 0 h 6614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59" h="6614160">
                <a:moveTo>
                  <a:pt x="6614159" y="0"/>
                </a:moveTo>
                <a:lnTo>
                  <a:pt x="6614159" y="3418065"/>
                </a:lnTo>
                <a:cubicBezTo>
                  <a:pt x="4849004" y="3418065"/>
                  <a:pt x="3418064" y="4849006"/>
                  <a:pt x="3418064" y="6614160"/>
                </a:cubicBezTo>
                <a:lnTo>
                  <a:pt x="0" y="6614160"/>
                </a:lnTo>
                <a:cubicBezTo>
                  <a:pt x="0" y="2961260"/>
                  <a:pt x="2961259" y="0"/>
                  <a:pt x="6614159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883406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534160"/>
            <a:ext cx="12192000" cy="5323840"/>
          </a:xfrm>
        </p:spPr>
        <p:txBody>
          <a:bodyPr/>
          <a:lstStyle>
            <a:lvl1pPr>
              <a:defRPr sz="3200">
                <a:latin typeface="+mj-lt"/>
                <a:ea typeface="Roboto Black" panose="02000000000000000000" pitchFamily="2" charset="0"/>
              </a:defRPr>
            </a:lvl1pPr>
            <a:lvl2pPr>
              <a:defRPr sz="12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8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8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grpSp>
        <p:nvGrpSpPr>
          <p:cNvPr id="82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8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6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89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65163796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43841"/>
            <a:ext cx="6614160" cy="6614160"/>
          </a:xfrm>
          <a:custGeom>
            <a:avLst/>
            <a:gdLst>
              <a:gd name="connsiteX0" fmla="*/ 0 w 6614160"/>
              <a:gd name="connsiteY0" fmla="*/ 0 h 6614160"/>
              <a:gd name="connsiteX1" fmla="*/ 6614160 w 6614160"/>
              <a:gd name="connsiteY1" fmla="*/ 6614160 h 6614160"/>
              <a:gd name="connsiteX2" fmla="*/ 3196095 w 6614160"/>
              <a:gd name="connsiteY2" fmla="*/ 6614160 h 6614160"/>
              <a:gd name="connsiteX3" fmla="*/ 0 w 6614160"/>
              <a:gd name="connsiteY3" fmla="*/ 3418065 h 6614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14160" h="6614160">
                <a:moveTo>
                  <a:pt x="0" y="0"/>
                </a:moveTo>
                <a:cubicBezTo>
                  <a:pt x="3652900" y="0"/>
                  <a:pt x="6614160" y="2961260"/>
                  <a:pt x="6614160" y="6614160"/>
                </a:cubicBezTo>
                <a:lnTo>
                  <a:pt x="3196095" y="6614160"/>
                </a:lnTo>
                <a:cubicBezTo>
                  <a:pt x="3196095" y="4849006"/>
                  <a:pt x="1765155" y="3418065"/>
                  <a:pt x="0" y="3418065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725188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6614160" cy="6614159"/>
          </a:xfrm>
          <a:custGeom>
            <a:avLst/>
            <a:gdLst>
              <a:gd name="connsiteX0" fmla="*/ 3196095 w 6614160"/>
              <a:gd name="connsiteY0" fmla="*/ 0 h 6614159"/>
              <a:gd name="connsiteX1" fmla="*/ 6614160 w 6614160"/>
              <a:gd name="connsiteY1" fmla="*/ 0 h 6614159"/>
              <a:gd name="connsiteX2" fmla="*/ 0 w 6614160"/>
              <a:gd name="connsiteY2" fmla="*/ 6614159 h 6614159"/>
              <a:gd name="connsiteX3" fmla="*/ 0 w 6614160"/>
              <a:gd name="connsiteY3" fmla="*/ 3196094 h 6614159"/>
              <a:gd name="connsiteX4" fmla="*/ 3196095 w 6614160"/>
              <a:gd name="connsiteY4" fmla="*/ 0 h 661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60" h="6614159">
                <a:moveTo>
                  <a:pt x="3196095" y="0"/>
                </a:moveTo>
                <a:lnTo>
                  <a:pt x="6614160" y="0"/>
                </a:lnTo>
                <a:cubicBezTo>
                  <a:pt x="6614160" y="3652899"/>
                  <a:pt x="3652900" y="6614159"/>
                  <a:pt x="0" y="6614159"/>
                </a:cubicBezTo>
                <a:lnTo>
                  <a:pt x="0" y="3196094"/>
                </a:lnTo>
                <a:cubicBezTo>
                  <a:pt x="1765155" y="3196094"/>
                  <a:pt x="3196095" y="1765154"/>
                  <a:pt x="3196095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" name="Shape 2"/>
          <p:cNvSpPr/>
          <p:nvPr userDrawn="1"/>
        </p:nvSpPr>
        <p:spPr>
          <a:xfrm>
            <a:off x="0" y="-10347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</p:spTree>
    <p:extLst>
      <p:ext uri="{BB962C8B-B14F-4D97-AF65-F5344CB8AC3E}">
        <p14:creationId xmlns:p14="http://schemas.microsoft.com/office/powerpoint/2010/main" val="13201200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577842" y="1"/>
            <a:ext cx="6614159" cy="6614159"/>
          </a:xfrm>
          <a:custGeom>
            <a:avLst/>
            <a:gdLst>
              <a:gd name="connsiteX0" fmla="*/ 0 w 6614159"/>
              <a:gd name="connsiteY0" fmla="*/ 0 h 6614159"/>
              <a:gd name="connsiteX1" fmla="*/ 3418064 w 6614159"/>
              <a:gd name="connsiteY1" fmla="*/ 0 h 6614159"/>
              <a:gd name="connsiteX2" fmla="*/ 6614159 w 6614159"/>
              <a:gd name="connsiteY2" fmla="*/ 3196094 h 6614159"/>
              <a:gd name="connsiteX3" fmla="*/ 6614159 w 6614159"/>
              <a:gd name="connsiteY3" fmla="*/ 6614159 h 6614159"/>
              <a:gd name="connsiteX4" fmla="*/ 0 w 6614159"/>
              <a:gd name="connsiteY4" fmla="*/ 0 h 661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59" h="6614159">
                <a:moveTo>
                  <a:pt x="0" y="0"/>
                </a:moveTo>
                <a:lnTo>
                  <a:pt x="3418064" y="0"/>
                </a:lnTo>
                <a:cubicBezTo>
                  <a:pt x="3418064" y="1765154"/>
                  <a:pt x="4849004" y="3196094"/>
                  <a:pt x="6614159" y="3196094"/>
                </a:cubicBezTo>
                <a:lnTo>
                  <a:pt x="6614159" y="6614159"/>
                </a:lnTo>
                <a:cubicBezTo>
                  <a:pt x="2961259" y="6614159"/>
                  <a:pt x="0" y="3652899"/>
                  <a:pt x="0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40895425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Timelin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 userDrawn="1"/>
        </p:nvGrpSpPr>
        <p:grpSpPr>
          <a:xfrm>
            <a:off x="3935078" y="18080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8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9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0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2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8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9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0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2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3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4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5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6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7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0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1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2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6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7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8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9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72" name="Shape 922"/>
          <p:cNvSpPr>
            <a:spLocks noGrp="1"/>
          </p:cNvSpPr>
          <p:nvPr>
            <p:ph type="body" sz="quarter" idx="17" hasCustomPrompt="1"/>
          </p:nvPr>
        </p:nvSpPr>
        <p:spPr>
          <a:xfrm>
            <a:off x="1070321" y="1407494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grpSp>
        <p:nvGrpSpPr>
          <p:cNvPr id="77" name="Группа 76"/>
          <p:cNvGrpSpPr/>
          <p:nvPr userDrawn="1"/>
        </p:nvGrpSpPr>
        <p:grpSpPr>
          <a:xfrm flipH="1">
            <a:off x="6415077" y="18079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78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3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9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1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2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3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4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5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6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7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8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9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0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1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2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3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4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5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6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7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8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9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0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1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2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3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4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5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6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7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8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9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1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2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3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4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125" name="Shape 922"/>
          <p:cNvSpPr>
            <a:spLocks noGrp="1"/>
          </p:cNvSpPr>
          <p:nvPr>
            <p:ph type="body" sz="quarter" idx="25" hasCustomPrompt="1"/>
          </p:nvPr>
        </p:nvSpPr>
        <p:spPr>
          <a:xfrm>
            <a:off x="4648122" y="3574802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sp>
        <p:nvSpPr>
          <p:cNvPr id="128" name="Shape 922"/>
          <p:cNvSpPr>
            <a:spLocks noGrp="1"/>
          </p:cNvSpPr>
          <p:nvPr>
            <p:ph type="body" sz="quarter" idx="28" hasCustomPrompt="1"/>
          </p:nvPr>
        </p:nvSpPr>
        <p:spPr>
          <a:xfrm>
            <a:off x="8249188" y="1411355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11136014" y="1810489"/>
            <a:ext cx="1055987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Равнобедренный треугольник 3"/>
          <p:cNvSpPr/>
          <p:nvPr userDrawn="1"/>
        </p:nvSpPr>
        <p:spPr>
          <a:xfrm>
            <a:off x="7163772" y="5062598"/>
            <a:ext cx="3619162" cy="179540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29" name="Равнобедренный треугольник 128"/>
          <p:cNvSpPr/>
          <p:nvPr userDrawn="1"/>
        </p:nvSpPr>
        <p:spPr>
          <a:xfrm>
            <a:off x="9326432" y="5640738"/>
            <a:ext cx="3619162" cy="1232908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0" name="Равнобедренный треугольник 129"/>
          <p:cNvSpPr/>
          <p:nvPr userDrawn="1"/>
        </p:nvSpPr>
        <p:spPr>
          <a:xfrm>
            <a:off x="1972095" y="6456453"/>
            <a:ext cx="2560373" cy="417940"/>
          </a:xfrm>
          <a:prstGeom prst="triangle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1" name="Текст 7"/>
          <p:cNvSpPr>
            <a:spLocks noGrp="1"/>
          </p:cNvSpPr>
          <p:nvPr>
            <p:ph type="body" sz="quarter" idx="39" hasCustomPrompt="1"/>
          </p:nvPr>
        </p:nvSpPr>
        <p:spPr>
          <a:xfrm>
            <a:off x="1061406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132" name="Текст 7"/>
          <p:cNvSpPr>
            <a:spLocks noGrp="1"/>
          </p:cNvSpPr>
          <p:nvPr>
            <p:ph type="body" sz="quarter" idx="38" hasCustomPrompt="1"/>
          </p:nvPr>
        </p:nvSpPr>
        <p:spPr>
          <a:xfrm>
            <a:off x="1061406" y="3244361"/>
            <a:ext cx="2542662" cy="1267419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  <p:sp>
        <p:nvSpPr>
          <p:cNvPr id="133" name="Текст 7"/>
          <p:cNvSpPr>
            <a:spLocks noGrp="1"/>
          </p:cNvSpPr>
          <p:nvPr>
            <p:ph type="body" sz="quarter" idx="40" hasCustomPrompt="1"/>
          </p:nvPr>
        </p:nvSpPr>
        <p:spPr>
          <a:xfrm>
            <a:off x="4653514" y="4684393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134" name="Текст 7"/>
          <p:cNvSpPr>
            <a:spLocks noGrp="1"/>
          </p:cNvSpPr>
          <p:nvPr>
            <p:ph type="body" sz="quarter" idx="41" hasCustomPrompt="1"/>
          </p:nvPr>
        </p:nvSpPr>
        <p:spPr>
          <a:xfrm>
            <a:off x="4653513" y="5222005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  <p:sp>
        <p:nvSpPr>
          <p:cNvPr id="135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8263437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136" name="Текст 7"/>
          <p:cNvSpPr>
            <a:spLocks noGrp="1"/>
          </p:cNvSpPr>
          <p:nvPr>
            <p:ph type="body" sz="quarter" idx="43" hasCustomPrompt="1"/>
          </p:nvPr>
        </p:nvSpPr>
        <p:spPr>
          <a:xfrm>
            <a:off x="8263436" y="3244362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</p:spTree>
    <p:extLst>
      <p:ext uri="{BB962C8B-B14F-4D97-AF65-F5344CB8AC3E}">
        <p14:creationId xmlns:p14="http://schemas.microsoft.com/office/powerpoint/2010/main" val="7120316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Click="0" advTm="4000">
        <p15:prstTrans prst="pageCurlDouble"/>
      </p:transition>
    </mc:Choice>
    <mc:Fallback xmlns="">
      <p:transition spd="slow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6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600" fill="hold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00" fill="hold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decel="83333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9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8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800" fill="hold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6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600" fill="hold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00" fill="hold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8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8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8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600"/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600" fill="hold"/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00" fill="hold"/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5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1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2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3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4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4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5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6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6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Timeline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 userDrawn="1"/>
        </p:nvGrpSpPr>
        <p:grpSpPr>
          <a:xfrm>
            <a:off x="3935078" y="18080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8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9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0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2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8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9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0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2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3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4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5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6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7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0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1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2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6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7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8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9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72" name="Shape 922"/>
          <p:cNvSpPr>
            <a:spLocks noGrp="1"/>
          </p:cNvSpPr>
          <p:nvPr>
            <p:ph type="body" sz="quarter" idx="17" hasCustomPrompt="1"/>
          </p:nvPr>
        </p:nvSpPr>
        <p:spPr>
          <a:xfrm>
            <a:off x="1070321" y="1407494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grpSp>
        <p:nvGrpSpPr>
          <p:cNvPr id="77" name="Группа 76"/>
          <p:cNvGrpSpPr/>
          <p:nvPr userDrawn="1"/>
        </p:nvGrpSpPr>
        <p:grpSpPr>
          <a:xfrm flipH="1">
            <a:off x="6415077" y="18079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78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3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9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1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2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3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4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5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6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7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8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9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0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1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2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3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4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5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6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7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8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9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0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1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2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3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4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5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6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7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8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9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1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2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3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4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125" name="Shape 922"/>
          <p:cNvSpPr>
            <a:spLocks noGrp="1"/>
          </p:cNvSpPr>
          <p:nvPr>
            <p:ph type="body" sz="quarter" idx="25" hasCustomPrompt="1"/>
          </p:nvPr>
        </p:nvSpPr>
        <p:spPr>
          <a:xfrm>
            <a:off x="4648122" y="3574802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sp>
        <p:nvSpPr>
          <p:cNvPr id="128" name="Shape 922"/>
          <p:cNvSpPr>
            <a:spLocks noGrp="1"/>
          </p:cNvSpPr>
          <p:nvPr>
            <p:ph type="body" sz="quarter" idx="28" hasCustomPrompt="1"/>
          </p:nvPr>
        </p:nvSpPr>
        <p:spPr>
          <a:xfrm>
            <a:off x="8249188" y="1411355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1810489"/>
            <a:ext cx="748316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Равнобедренный треугольник 128"/>
          <p:cNvSpPr/>
          <p:nvPr userDrawn="1"/>
        </p:nvSpPr>
        <p:spPr>
          <a:xfrm>
            <a:off x="-2867637" y="5640738"/>
            <a:ext cx="3619162" cy="1232908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0" name="Равнобедренный треугольник 129"/>
          <p:cNvSpPr/>
          <p:nvPr userDrawn="1"/>
        </p:nvSpPr>
        <p:spPr>
          <a:xfrm>
            <a:off x="115297" y="5062598"/>
            <a:ext cx="3619162" cy="179540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2" name="Равнобедренный треугольник 131"/>
          <p:cNvSpPr/>
          <p:nvPr userDrawn="1"/>
        </p:nvSpPr>
        <p:spPr>
          <a:xfrm>
            <a:off x="2354307" y="5776223"/>
            <a:ext cx="2213687" cy="1098171"/>
          </a:xfrm>
          <a:prstGeom prst="triangle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3" name="Равнобедренный треугольник 132"/>
          <p:cNvSpPr/>
          <p:nvPr userDrawn="1"/>
        </p:nvSpPr>
        <p:spPr>
          <a:xfrm>
            <a:off x="7464320" y="5088482"/>
            <a:ext cx="3619162" cy="1764034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4" name="Равнобедренный треугольник 133"/>
          <p:cNvSpPr/>
          <p:nvPr userDrawn="1"/>
        </p:nvSpPr>
        <p:spPr>
          <a:xfrm>
            <a:off x="8941291" y="3627713"/>
            <a:ext cx="6515426" cy="323218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cxnSp>
        <p:nvCxnSpPr>
          <p:cNvPr id="136" name="Прямая соединительная линия 135"/>
          <p:cNvCxnSpPr/>
          <p:nvPr userDrawn="1"/>
        </p:nvCxnSpPr>
        <p:spPr>
          <a:xfrm>
            <a:off x="11136014" y="1810489"/>
            <a:ext cx="1055987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Текст 7"/>
          <p:cNvSpPr>
            <a:spLocks noGrp="1"/>
          </p:cNvSpPr>
          <p:nvPr>
            <p:ph type="body" sz="quarter" idx="39" hasCustomPrompt="1"/>
          </p:nvPr>
        </p:nvSpPr>
        <p:spPr>
          <a:xfrm>
            <a:off x="1061406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135" name="Текст 7"/>
          <p:cNvSpPr>
            <a:spLocks noGrp="1"/>
          </p:cNvSpPr>
          <p:nvPr>
            <p:ph type="body" sz="quarter" idx="38" hasCustomPrompt="1"/>
          </p:nvPr>
        </p:nvSpPr>
        <p:spPr>
          <a:xfrm>
            <a:off x="1061406" y="3244361"/>
            <a:ext cx="2542662" cy="1267419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  <p:sp>
        <p:nvSpPr>
          <p:cNvPr id="137" name="Текст 7"/>
          <p:cNvSpPr>
            <a:spLocks noGrp="1"/>
          </p:cNvSpPr>
          <p:nvPr>
            <p:ph type="body" sz="quarter" idx="40" hasCustomPrompt="1"/>
          </p:nvPr>
        </p:nvSpPr>
        <p:spPr>
          <a:xfrm>
            <a:off x="4653514" y="4684393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138" name="Текст 7"/>
          <p:cNvSpPr>
            <a:spLocks noGrp="1"/>
          </p:cNvSpPr>
          <p:nvPr>
            <p:ph type="body" sz="quarter" idx="41" hasCustomPrompt="1"/>
          </p:nvPr>
        </p:nvSpPr>
        <p:spPr>
          <a:xfrm>
            <a:off x="4653513" y="5222005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  <p:sp>
        <p:nvSpPr>
          <p:cNvPr id="13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8263437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140" name="Текст 7"/>
          <p:cNvSpPr>
            <a:spLocks noGrp="1"/>
          </p:cNvSpPr>
          <p:nvPr>
            <p:ph type="body" sz="quarter" idx="43" hasCustomPrompt="1"/>
          </p:nvPr>
        </p:nvSpPr>
        <p:spPr>
          <a:xfrm>
            <a:off x="8263436" y="3244362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</p:spTree>
    <p:extLst>
      <p:ext uri="{BB962C8B-B14F-4D97-AF65-F5344CB8AC3E}">
        <p14:creationId xmlns:p14="http://schemas.microsoft.com/office/powerpoint/2010/main" val="2965327675"/>
      </p:ext>
    </p:extLst>
  </p:cSld>
  <p:clrMapOvr>
    <a:masterClrMapping/>
  </p:clrMapOvr>
  <p:transition spd="slow" advClick="0" advTm="4000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6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6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9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800"/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800" fill="hold"/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600"/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600" fill="hold"/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00" fill="hold"/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800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800" fill="hold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800" fill="hold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600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600" fill="hold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600" fill="hold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100"/>
                            </p:stCondLst>
                            <p:childTnLst>
                              <p:par>
                                <p:cTn id="52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1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5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7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8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8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9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40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Timeline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0" y="1810489"/>
            <a:ext cx="748316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Равнобедренный треугольник 132"/>
          <p:cNvSpPr/>
          <p:nvPr userDrawn="1"/>
        </p:nvSpPr>
        <p:spPr>
          <a:xfrm>
            <a:off x="695299" y="4776407"/>
            <a:ext cx="4259431" cy="2076111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4" name="Равнобедренный треугольник 133"/>
          <p:cNvSpPr/>
          <p:nvPr userDrawn="1"/>
        </p:nvSpPr>
        <p:spPr>
          <a:xfrm>
            <a:off x="-3257713" y="3627713"/>
            <a:ext cx="6515426" cy="323218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1" name="Равнобедренный треугольник 130"/>
          <p:cNvSpPr/>
          <p:nvPr userDrawn="1"/>
        </p:nvSpPr>
        <p:spPr>
          <a:xfrm>
            <a:off x="2110503" y="1625473"/>
            <a:ext cx="11675503" cy="5234428"/>
          </a:xfrm>
          <a:prstGeom prst="triangle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953069" y="901721"/>
            <a:ext cx="7867362" cy="434047"/>
            <a:chOff x="15743759" y="496690"/>
            <a:chExt cx="15564675" cy="865783"/>
          </a:xfrm>
        </p:grpSpPr>
        <p:sp>
          <p:nvSpPr>
            <p:cNvPr id="5" name="Волна 4"/>
            <p:cNvSpPr/>
            <p:nvPr userDrawn="1"/>
          </p:nvSpPr>
          <p:spPr>
            <a:xfrm>
              <a:off x="15743759" y="49669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35" name="Волна 134"/>
            <p:cNvSpPr/>
            <p:nvPr userDrawn="1"/>
          </p:nvSpPr>
          <p:spPr>
            <a:xfrm>
              <a:off x="17034782" y="5030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37" name="Волна 136"/>
            <p:cNvSpPr/>
            <p:nvPr userDrawn="1"/>
          </p:nvSpPr>
          <p:spPr>
            <a:xfrm>
              <a:off x="18334787" y="5030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0" name="Волна 139"/>
            <p:cNvSpPr/>
            <p:nvPr userDrawn="1"/>
          </p:nvSpPr>
          <p:spPr>
            <a:xfrm>
              <a:off x="19634792" y="50046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1" name="Волна 140"/>
            <p:cNvSpPr/>
            <p:nvPr userDrawn="1"/>
          </p:nvSpPr>
          <p:spPr>
            <a:xfrm>
              <a:off x="20925815" y="5068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2" name="Волна 141"/>
            <p:cNvSpPr/>
            <p:nvPr userDrawn="1"/>
          </p:nvSpPr>
          <p:spPr>
            <a:xfrm>
              <a:off x="22225820" y="5068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3" name="Волна 142"/>
            <p:cNvSpPr/>
            <p:nvPr userDrawn="1"/>
          </p:nvSpPr>
          <p:spPr>
            <a:xfrm>
              <a:off x="23525825" y="50939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4" name="Волна 143"/>
            <p:cNvSpPr/>
            <p:nvPr userDrawn="1"/>
          </p:nvSpPr>
          <p:spPr>
            <a:xfrm>
              <a:off x="24816848" y="5157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5" name="Волна 144"/>
            <p:cNvSpPr/>
            <p:nvPr userDrawn="1"/>
          </p:nvSpPr>
          <p:spPr>
            <a:xfrm>
              <a:off x="26116853" y="5157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6" name="Волна 145"/>
            <p:cNvSpPr/>
            <p:nvPr userDrawn="1"/>
          </p:nvSpPr>
          <p:spPr>
            <a:xfrm>
              <a:off x="27416858" y="51316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7" name="Волна 146"/>
            <p:cNvSpPr/>
            <p:nvPr userDrawn="1"/>
          </p:nvSpPr>
          <p:spPr>
            <a:xfrm>
              <a:off x="28707881" y="5195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8" name="Волна 147"/>
            <p:cNvSpPr/>
            <p:nvPr userDrawn="1"/>
          </p:nvSpPr>
          <p:spPr>
            <a:xfrm>
              <a:off x="30007886" y="5195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</p:grpSp>
      <p:sp>
        <p:nvSpPr>
          <p:cNvPr id="7" name="Прямоугольник 6"/>
          <p:cNvSpPr/>
          <p:nvPr userDrawn="1"/>
        </p:nvSpPr>
        <p:spPr>
          <a:xfrm>
            <a:off x="8512092" y="721854"/>
            <a:ext cx="3679908" cy="7218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72" name="Shape 922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70321" y="1407494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  <a:endParaRPr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39" hasCustomPrompt="1"/>
          </p:nvPr>
        </p:nvSpPr>
        <p:spPr>
          <a:xfrm>
            <a:off x="1061406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Title_02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38" hasCustomPrompt="1"/>
          </p:nvPr>
        </p:nvSpPr>
        <p:spPr>
          <a:xfrm>
            <a:off x="1061406" y="3244361"/>
            <a:ext cx="2542662" cy="1267419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Base text_02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 flipV="1">
            <a:off x="7948254" y="904102"/>
            <a:ext cx="0" cy="723753"/>
          </a:xfrm>
          <a:prstGeom prst="line">
            <a:avLst/>
          </a:prstGeom>
          <a:ln w="254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138"/>
          <p:cNvSpPr/>
          <p:nvPr userDrawn="1"/>
        </p:nvSpPr>
        <p:spPr>
          <a:xfrm>
            <a:off x="2381" y="727458"/>
            <a:ext cx="7937020" cy="7218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</p:spTree>
    <p:extLst>
      <p:ext uri="{BB962C8B-B14F-4D97-AF65-F5344CB8AC3E}">
        <p14:creationId xmlns:p14="http://schemas.microsoft.com/office/powerpoint/2010/main" val="2495312773"/>
      </p:ext>
    </p:extLst>
  </p:cSld>
  <p:clrMapOvr>
    <a:masterClrMapping/>
  </p:clrMapOvr>
  <p:transition spd="slow" advTm="3000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decel="33333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96296E-6 L -0.10872 -2.96296E-6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8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8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8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6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6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6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28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29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0795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5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1638301" y="2447925"/>
            <a:ext cx="1962150" cy="19621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1"/>
          </p:nvPr>
        </p:nvSpPr>
        <p:spPr>
          <a:xfrm>
            <a:off x="5114926" y="2447925"/>
            <a:ext cx="1962150" cy="19621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" name="Рисунок 3"/>
          <p:cNvSpPr>
            <a:spLocks noGrp="1"/>
          </p:cNvSpPr>
          <p:nvPr>
            <p:ph type="pic" sz="quarter" idx="12"/>
          </p:nvPr>
        </p:nvSpPr>
        <p:spPr>
          <a:xfrm>
            <a:off x="8591551" y="2447925"/>
            <a:ext cx="1962150" cy="19621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05055"/>
      </p:ext>
    </p:extLst>
  </p:cSld>
  <p:clrMapOvr>
    <a:masterClrMapping/>
  </p:clrMapOvr>
  <p:transition spd="med" advClick="0" advTm="2000">
    <p:push dir="d"/>
  </p:transition>
  <p:extLst>
    <p:ext uri="{DCECCB84-F9BA-43D5-87BE-67443E8EF086}">
      <p15:sldGuideLst xmlns:p15="http://schemas.microsoft.com/office/powerpoint/2012/main">
        <p15:guide id="1" pos="7680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pos="14484">
          <p15:clr>
            <a:srgbClr val="FBAE40"/>
          </p15:clr>
        </p15:guide>
        <p15:guide id="4" pos="8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08363" y="1142999"/>
            <a:ext cx="4987637" cy="4572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</p:spPr>
      </p:sp>
    </p:spTree>
    <p:extLst>
      <p:ext uri="{BB962C8B-B14F-4D97-AF65-F5344CB8AC3E}">
        <p14:creationId xmlns:p14="http://schemas.microsoft.com/office/powerpoint/2010/main" val="458016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lo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4486012" y="692079"/>
            <a:ext cx="3219973" cy="3219973"/>
          </a:xfrm>
          <a:custGeom>
            <a:avLst/>
            <a:gdLst>
              <a:gd name="connsiteX0" fmla="*/ 2467620 w 4935242"/>
              <a:gd name="connsiteY0" fmla="*/ 1233811 h 4935242"/>
              <a:gd name="connsiteX1" fmla="*/ 1233810 w 4935242"/>
              <a:gd name="connsiteY1" fmla="*/ 2467621 h 4935242"/>
              <a:gd name="connsiteX2" fmla="*/ 2467620 w 4935242"/>
              <a:gd name="connsiteY2" fmla="*/ 3701431 h 4935242"/>
              <a:gd name="connsiteX3" fmla="*/ 3701430 w 4935242"/>
              <a:gd name="connsiteY3" fmla="*/ 2467621 h 4935242"/>
              <a:gd name="connsiteX4" fmla="*/ 2467620 w 4935242"/>
              <a:gd name="connsiteY4" fmla="*/ 1233811 h 4935242"/>
              <a:gd name="connsiteX5" fmla="*/ 2467621 w 4935242"/>
              <a:gd name="connsiteY5" fmla="*/ 0 h 4935242"/>
              <a:gd name="connsiteX6" fmla="*/ 4935242 w 4935242"/>
              <a:gd name="connsiteY6" fmla="*/ 2467621 h 4935242"/>
              <a:gd name="connsiteX7" fmla="*/ 2467621 w 4935242"/>
              <a:gd name="connsiteY7" fmla="*/ 4935242 h 4935242"/>
              <a:gd name="connsiteX8" fmla="*/ 0 w 4935242"/>
              <a:gd name="connsiteY8" fmla="*/ 2467621 h 4935242"/>
              <a:gd name="connsiteX9" fmla="*/ 2467621 w 4935242"/>
              <a:gd name="connsiteY9" fmla="*/ 0 h 4935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35242" h="4935242">
                <a:moveTo>
                  <a:pt x="2467620" y="1233811"/>
                </a:moveTo>
                <a:cubicBezTo>
                  <a:pt x="1786206" y="1233811"/>
                  <a:pt x="1233810" y="1786207"/>
                  <a:pt x="1233810" y="2467621"/>
                </a:cubicBezTo>
                <a:cubicBezTo>
                  <a:pt x="1233810" y="3149035"/>
                  <a:pt x="1786206" y="3701431"/>
                  <a:pt x="2467620" y="3701431"/>
                </a:cubicBezTo>
                <a:cubicBezTo>
                  <a:pt x="3149034" y="3701431"/>
                  <a:pt x="3701430" y="3149035"/>
                  <a:pt x="3701430" y="2467621"/>
                </a:cubicBezTo>
                <a:cubicBezTo>
                  <a:pt x="3701430" y="1786207"/>
                  <a:pt x="3149034" y="1233811"/>
                  <a:pt x="2467620" y="1233811"/>
                </a:cubicBezTo>
                <a:close/>
                <a:moveTo>
                  <a:pt x="2467621" y="0"/>
                </a:moveTo>
                <a:cubicBezTo>
                  <a:pt x="3830450" y="0"/>
                  <a:pt x="4935242" y="1104792"/>
                  <a:pt x="4935242" y="2467621"/>
                </a:cubicBezTo>
                <a:cubicBezTo>
                  <a:pt x="4935242" y="3830450"/>
                  <a:pt x="3830450" y="4935242"/>
                  <a:pt x="2467621" y="4935242"/>
                </a:cubicBezTo>
                <a:cubicBezTo>
                  <a:pt x="1104792" y="4935242"/>
                  <a:pt x="0" y="3830450"/>
                  <a:pt x="0" y="2467621"/>
                </a:cubicBezTo>
                <a:cubicBezTo>
                  <a:pt x="0" y="1104792"/>
                  <a:pt x="1104792" y="0"/>
                  <a:pt x="2467621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5356166" y="1542537"/>
            <a:ext cx="1479666" cy="1479666"/>
          </a:xfrm>
          <a:custGeom>
            <a:avLst/>
            <a:gdLst>
              <a:gd name="connsiteX0" fmla="*/ 739833 w 1479666"/>
              <a:gd name="connsiteY0" fmla="*/ 0 h 1479666"/>
              <a:gd name="connsiteX1" fmla="*/ 1479666 w 1479666"/>
              <a:gd name="connsiteY1" fmla="*/ 739833 h 1479666"/>
              <a:gd name="connsiteX2" fmla="*/ 739833 w 1479666"/>
              <a:gd name="connsiteY2" fmla="*/ 1479666 h 1479666"/>
              <a:gd name="connsiteX3" fmla="*/ 0 w 1479666"/>
              <a:gd name="connsiteY3" fmla="*/ 739833 h 1479666"/>
              <a:gd name="connsiteX4" fmla="*/ 739833 w 1479666"/>
              <a:gd name="connsiteY4" fmla="*/ 0 h 1479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666" h="1479666">
                <a:moveTo>
                  <a:pt x="739833" y="0"/>
                </a:moveTo>
                <a:cubicBezTo>
                  <a:pt x="1148431" y="0"/>
                  <a:pt x="1479666" y="331235"/>
                  <a:pt x="1479666" y="739833"/>
                </a:cubicBezTo>
                <a:cubicBezTo>
                  <a:pt x="1479666" y="1148431"/>
                  <a:pt x="1148431" y="1479666"/>
                  <a:pt x="739833" y="1479666"/>
                </a:cubicBezTo>
                <a:cubicBezTo>
                  <a:pt x="331235" y="1479666"/>
                  <a:pt x="0" y="1148431"/>
                  <a:pt x="0" y="739833"/>
                </a:cubicBezTo>
                <a:cubicBezTo>
                  <a:pt x="0" y="331235"/>
                  <a:pt x="331235" y="0"/>
                  <a:pt x="739833" y="0"/>
                </a:cubicBezTo>
                <a:close/>
              </a:path>
            </a:pathLst>
          </a:custGeom>
          <a:pattFill prst="pct5">
            <a:fgClr>
              <a:schemeClr val="tx1">
                <a:lumMod val="40000"/>
                <a:lumOff val="60000"/>
              </a:schemeClr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346541" y="3873733"/>
            <a:ext cx="2601739" cy="471202"/>
          </a:xfrm>
        </p:spPr>
        <p:txBody>
          <a:bodyPr>
            <a:noAutofit/>
          </a:bodyPr>
          <a:lstStyle>
            <a:lvl1pPr marL="0" indent="0">
              <a:buNone/>
              <a:defRPr sz="3200">
                <a:latin typeface="Source Sans Pro Light" panose="020B0403030403020204" pitchFamily="34" charset="0"/>
              </a:defRPr>
            </a:lvl1pPr>
            <a:lvl2pPr marL="457200" indent="0">
              <a:buNone/>
              <a:defRPr sz="3200">
                <a:latin typeface="Source Sans Pro Light" panose="020B0403030403020204" pitchFamily="34" charset="0"/>
              </a:defRPr>
            </a:lvl2pPr>
            <a:lvl3pPr marL="914400" indent="0">
              <a:buNone/>
              <a:defRPr sz="3200">
                <a:latin typeface="Source Sans Pro Light" panose="020B0403030403020204" pitchFamily="34" charset="0"/>
              </a:defRPr>
            </a:lvl3pPr>
            <a:lvl4pPr marL="1371600" indent="0">
              <a:buNone/>
              <a:defRPr sz="3200">
                <a:latin typeface="Source Sans Pro Light" panose="020B0403030403020204" pitchFamily="34" charset="0"/>
              </a:defRPr>
            </a:lvl4pPr>
            <a:lvl5pPr marL="1828800" indent="0">
              <a:buNone/>
              <a:defRPr sz="3200"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365449" y="4344935"/>
            <a:ext cx="2601739" cy="299359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Source Sans Pro Light" panose="020B0403030403020204" pitchFamily="34" charset="0"/>
              </a:defRPr>
            </a:lvl1pPr>
            <a:lvl2pPr marL="457200" indent="0">
              <a:buNone/>
              <a:defRPr sz="3200">
                <a:latin typeface="Source Sans Pro Light" panose="020B0403030403020204" pitchFamily="34" charset="0"/>
              </a:defRPr>
            </a:lvl2pPr>
            <a:lvl3pPr marL="914400" indent="0">
              <a:buNone/>
              <a:defRPr sz="3200">
                <a:latin typeface="Source Sans Pro Light" panose="020B0403030403020204" pitchFamily="34" charset="0"/>
              </a:defRPr>
            </a:lvl3pPr>
            <a:lvl4pPr marL="1371600" indent="0">
              <a:buNone/>
              <a:defRPr sz="3200">
                <a:latin typeface="Source Sans Pro Light" panose="020B0403030403020204" pitchFamily="34" charset="0"/>
              </a:defRPr>
            </a:lvl4pPr>
            <a:lvl5pPr marL="1828800" indent="0">
              <a:buNone/>
              <a:defRPr sz="3200"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</a:t>
            </a:r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02242228"/>
      </p:ext>
    </p:extLst>
  </p:cSld>
  <p:clrMapOvr>
    <a:masterClrMapping/>
  </p:clrMapOvr>
  <p:transition spd="slow" advTm="2000">
    <p:cover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5334001" y="3515822"/>
            <a:ext cx="3337711" cy="1962266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>
          <a:xfrm>
            <a:off x="6713914" y="1"/>
            <a:ext cx="1962568" cy="3347244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8854290" y="1379913"/>
            <a:ext cx="3337711" cy="196226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8854290" y="3515822"/>
            <a:ext cx="1957798" cy="3342178"/>
          </a:xfrm>
        </p:spPr>
        <p:txBody>
          <a:bodyPr/>
          <a:lstStyle/>
          <a:p>
            <a:endParaRPr lang="en-US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221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Portfolio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8"/>
          <p:cNvSpPr/>
          <p:nvPr userDrawn="1"/>
        </p:nvSpPr>
        <p:spPr>
          <a:xfrm>
            <a:off x="8838632" y="2117"/>
            <a:ext cx="3353368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3271378" y="914400"/>
            <a:ext cx="2827267" cy="2521986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095394" y="914997"/>
            <a:ext cx="5492548" cy="2521389"/>
          </a:xfrm>
          <a:custGeom>
            <a:avLst/>
            <a:gdLst>
              <a:gd name="connsiteX0" fmla="*/ 0 w 5334606"/>
              <a:gd name="connsiteY0" fmla="*/ 0 h 2521389"/>
              <a:gd name="connsiteX1" fmla="*/ 5334606 w 5334606"/>
              <a:gd name="connsiteY1" fmla="*/ 0 h 2521389"/>
              <a:gd name="connsiteX2" fmla="*/ 5334606 w 5334606"/>
              <a:gd name="connsiteY2" fmla="*/ 2521389 h 2521389"/>
              <a:gd name="connsiteX3" fmla="*/ 0 w 5334606"/>
              <a:gd name="connsiteY3" fmla="*/ 2521389 h 2521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34606" h="2521389">
                <a:moveTo>
                  <a:pt x="0" y="0"/>
                </a:moveTo>
                <a:lnTo>
                  <a:pt x="5334606" y="0"/>
                </a:lnTo>
                <a:lnTo>
                  <a:pt x="5334606" y="2521389"/>
                </a:lnTo>
                <a:lnTo>
                  <a:pt x="0" y="252138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271378" y="3431811"/>
            <a:ext cx="2827268" cy="2540011"/>
          </a:xfrm>
          <a:custGeom>
            <a:avLst/>
            <a:gdLst>
              <a:gd name="connsiteX0" fmla="*/ 0 w 2819401"/>
              <a:gd name="connsiteY0" fmla="*/ 0 h 2540011"/>
              <a:gd name="connsiteX1" fmla="*/ 2819401 w 2819401"/>
              <a:gd name="connsiteY1" fmla="*/ 0 h 2540011"/>
              <a:gd name="connsiteX2" fmla="*/ 2819401 w 2819401"/>
              <a:gd name="connsiteY2" fmla="*/ 2540011 h 2540011"/>
              <a:gd name="connsiteX3" fmla="*/ 0 w 2819401"/>
              <a:gd name="connsiteY3" fmla="*/ 2540011 h 2540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40011">
                <a:moveTo>
                  <a:pt x="0" y="0"/>
                </a:moveTo>
                <a:lnTo>
                  <a:pt x="2819401" y="0"/>
                </a:lnTo>
                <a:lnTo>
                  <a:pt x="2819401" y="2540011"/>
                </a:lnTo>
                <a:lnTo>
                  <a:pt x="0" y="2540011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095394" y="3431813"/>
            <a:ext cx="2827266" cy="2540009"/>
          </a:xfrm>
          <a:custGeom>
            <a:avLst/>
            <a:gdLst>
              <a:gd name="connsiteX0" fmla="*/ 0 w 2819401"/>
              <a:gd name="connsiteY0" fmla="*/ 0 h 2540009"/>
              <a:gd name="connsiteX1" fmla="*/ 2819401 w 2819401"/>
              <a:gd name="connsiteY1" fmla="*/ 0 h 2540009"/>
              <a:gd name="connsiteX2" fmla="*/ 2819401 w 2819401"/>
              <a:gd name="connsiteY2" fmla="*/ 2540009 h 2540009"/>
              <a:gd name="connsiteX3" fmla="*/ 0 w 2819401"/>
              <a:gd name="connsiteY3" fmla="*/ 2540009 h 2540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40009">
                <a:moveTo>
                  <a:pt x="0" y="0"/>
                </a:moveTo>
                <a:lnTo>
                  <a:pt x="2819401" y="0"/>
                </a:lnTo>
                <a:lnTo>
                  <a:pt x="2819401" y="2540009"/>
                </a:lnTo>
                <a:lnTo>
                  <a:pt x="0" y="254000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" y="914399"/>
            <a:ext cx="3271378" cy="2521987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3428998"/>
            <a:ext cx="1659156" cy="2542824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1659156" y="3432284"/>
            <a:ext cx="1612222" cy="2539538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8922660" y="3436386"/>
            <a:ext cx="2665282" cy="2535436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582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Portfolio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95767" y="537029"/>
            <a:ext cx="2219325" cy="577668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931206" y="537028"/>
            <a:ext cx="2874508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921828" y="3483428"/>
            <a:ext cx="5762172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921828" y="537028"/>
            <a:ext cx="2874508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931206" y="3483428"/>
            <a:ext cx="2874508" cy="28302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d-ID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6416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10" grpId="0" animBg="1"/>
      <p:bldP spid="11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017784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ceBerg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/>
          <p:nvPr userDrawn="1"/>
        </p:nvSpPr>
        <p:spPr>
          <a:xfrm>
            <a:off x="730250" y="6153151"/>
            <a:ext cx="10718976" cy="12"/>
          </a:xfrm>
          <a:prstGeom prst="line">
            <a:avLst/>
          </a:prstGeom>
          <a:ln w="12700">
            <a:solidFill>
              <a:srgbClr val="D6D6D6"/>
            </a:solidFill>
            <a:miter lim="400000"/>
          </a:ln>
        </p:spPr>
        <p:txBody>
          <a:bodyPr lIns="0" tIns="0" rIns="0" bIns="0" anchor="ctr"/>
          <a:lstStyle/>
          <a:p>
            <a:pPr lvl="0" algn="l"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Source Sans Pro" panose="020B0503030403020204" pitchFamily="34" charset="0"/>
              <a:ea typeface="Source Sans Pro" panose="020B050303040302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2700"/>
            <a:ext cx="7086600" cy="6883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08660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64159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08660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4159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08660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64159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8913375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ceBerg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/>
          <p:nvPr userDrawn="1"/>
        </p:nvSpPr>
        <p:spPr>
          <a:xfrm>
            <a:off x="730250" y="6153151"/>
            <a:ext cx="10718976" cy="12"/>
          </a:xfrm>
          <a:prstGeom prst="line">
            <a:avLst/>
          </a:prstGeom>
          <a:ln w="12700">
            <a:solidFill>
              <a:srgbClr val="D6D6D6"/>
            </a:solidFill>
            <a:miter lim="400000"/>
          </a:ln>
        </p:spPr>
        <p:txBody>
          <a:bodyPr lIns="0" tIns="0" rIns="0" bIns="0" anchor="ctr"/>
          <a:lstStyle/>
          <a:p>
            <a:pPr lvl="0" algn="l"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Source Sans Pro" panose="020B0503030403020204" pitchFamily="34" charset="0"/>
              <a:ea typeface="Source Sans Pro" panose="020B050303040302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2700"/>
            <a:ext cx="7086600" cy="6883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08660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641590" y="-12700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08660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41590" y="2349502"/>
            <a:ext cx="2542994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08660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641590" y="4711702"/>
            <a:ext cx="2542994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289409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47326" y="487482"/>
            <a:ext cx="2718399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265725" y="487482"/>
            <a:ext cx="2843168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43781" y="487482"/>
            <a:ext cx="2683511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8862180" y="487482"/>
            <a:ext cx="2780876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47326" y="3431817"/>
            <a:ext cx="2718399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8862180" y="3431817"/>
            <a:ext cx="2780876" cy="294781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840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0"/>
          </p:nvPr>
        </p:nvSpPr>
        <p:spPr>
          <a:xfrm>
            <a:off x="6440488" y="0"/>
            <a:ext cx="5751512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716399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08783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16046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560554" y="1767953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142011" y="3377288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560553" y="4986624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  <p:sp>
        <p:nvSpPr>
          <p:cNvPr id="55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931043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912847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3263431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_Top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643987" y="289932"/>
            <a:ext cx="948100" cy="345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090694" y="0"/>
            <a:ext cx="6101306" cy="4586841"/>
          </a:xfrm>
          <a:effectLst/>
        </p:spPr>
        <p:txBody>
          <a:bodyPr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Tahoma" panose="020B060403050404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34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" y="771873"/>
            <a:ext cx="4194270" cy="53550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77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B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41"/>
          <p:cNvSpPr/>
          <p:nvPr userDrawn="1"/>
        </p:nvSpPr>
        <p:spPr>
          <a:xfrm>
            <a:off x="115" y="65"/>
            <a:ext cx="12191770" cy="685787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399" tIns="25399" rIns="25399" bIns="25399" anchor="ctr"/>
          <a:lstStyle/>
          <a:p>
            <a:pPr algn="ctr" defTabSz="412724" hangingPunct="0">
              <a:defRPr sz="3200">
                <a:solidFill>
                  <a:srgbClr val="FEFDFF">
                    <a:alpha val="12190"/>
                  </a:srgbClr>
                </a:solidFill>
              </a:defRPr>
            </a:pPr>
            <a:endParaRPr sz="1600" kern="0" dirty="0">
              <a:solidFill>
                <a:schemeClr val="accent1">
                  <a:alpha val="12190"/>
                </a:schemeClr>
              </a:solidFill>
              <a:sym typeface="Source Sans Pro"/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479550" y="667643"/>
            <a:ext cx="5030873" cy="5522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Drag &amp; </a:t>
            </a:r>
            <a:r>
              <a:rPr lang="en-US"/>
              <a:t>Drop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4801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56904" y="2249716"/>
            <a:ext cx="4845611" cy="3875312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548105" y="2249716"/>
            <a:ext cx="4845611" cy="3875312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97805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01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284661" y="2544097"/>
            <a:ext cx="7622679" cy="1769806"/>
          </a:xfrm>
          <a:custGeom>
            <a:avLst/>
            <a:gdLst>
              <a:gd name="connsiteX0" fmla="*/ 28865 w 3658381"/>
              <a:gd name="connsiteY0" fmla="*/ 0 h 6725265"/>
              <a:gd name="connsiteX1" fmla="*/ 3629516 w 3658381"/>
              <a:gd name="connsiteY1" fmla="*/ 0 h 6725265"/>
              <a:gd name="connsiteX2" fmla="*/ 3658381 w 3658381"/>
              <a:gd name="connsiteY2" fmla="*/ 28865 h 6725265"/>
              <a:gd name="connsiteX3" fmla="*/ 3658381 w 3658381"/>
              <a:gd name="connsiteY3" fmla="*/ 6696400 h 6725265"/>
              <a:gd name="connsiteX4" fmla="*/ 3629516 w 3658381"/>
              <a:gd name="connsiteY4" fmla="*/ 6725265 h 6725265"/>
              <a:gd name="connsiteX5" fmla="*/ 28865 w 3658381"/>
              <a:gd name="connsiteY5" fmla="*/ 6725265 h 6725265"/>
              <a:gd name="connsiteX6" fmla="*/ 0 w 3658381"/>
              <a:gd name="connsiteY6" fmla="*/ 6696400 h 6725265"/>
              <a:gd name="connsiteX7" fmla="*/ 0 w 3658381"/>
              <a:gd name="connsiteY7" fmla="*/ 28865 h 6725265"/>
              <a:gd name="connsiteX8" fmla="*/ 28865 w 3658381"/>
              <a:gd name="connsiteY8" fmla="*/ 0 h 672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58381" h="6725265">
                <a:moveTo>
                  <a:pt x="28865" y="0"/>
                </a:moveTo>
                <a:lnTo>
                  <a:pt x="3629516" y="0"/>
                </a:lnTo>
                <a:cubicBezTo>
                  <a:pt x="3645458" y="0"/>
                  <a:pt x="3658381" y="12923"/>
                  <a:pt x="3658381" y="28865"/>
                </a:cubicBezTo>
                <a:lnTo>
                  <a:pt x="3658381" y="6696400"/>
                </a:lnTo>
                <a:cubicBezTo>
                  <a:pt x="3658381" y="6712342"/>
                  <a:pt x="3645458" y="6725265"/>
                  <a:pt x="3629516" y="6725265"/>
                </a:cubicBezTo>
                <a:lnTo>
                  <a:pt x="28865" y="6725265"/>
                </a:lnTo>
                <a:cubicBezTo>
                  <a:pt x="12923" y="6725265"/>
                  <a:pt x="0" y="6712342"/>
                  <a:pt x="0" y="6696400"/>
                </a:cubicBezTo>
                <a:lnTo>
                  <a:pt x="0" y="28865"/>
                </a:lnTo>
                <a:cubicBezTo>
                  <a:pt x="0" y="12923"/>
                  <a:pt x="12923" y="0"/>
                  <a:pt x="28865" y="0"/>
                </a:cubicBezTo>
                <a:close/>
              </a:path>
            </a:pathLst>
          </a:custGeom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089734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577050" y="1393017"/>
            <a:ext cx="4106528" cy="4106528"/>
            <a:chOff x="1220118" y="2343274"/>
            <a:chExt cx="2450851" cy="2450851"/>
          </a:xfrm>
          <a:effectLst/>
        </p:grpSpPr>
        <p:sp>
          <p:nvSpPr>
            <p:cNvPr id="4" name="Oval 3"/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1">
                <a:alpha val="9000"/>
              </a:schemeClr>
            </a:solidFill>
            <a:ln>
              <a:noFill/>
            </a:ln>
            <a:effectLst>
              <a:outerShdw blurRad="8255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/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1">
                <a:alpha val="18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1580469" y="2703625"/>
              <a:ext cx="1730150" cy="17301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dirty="0">
                <a:latin typeface="Source Sans Pro" panose="020B0503030403020204" pitchFamily="34" charset="0"/>
              </a:endParaRPr>
            </a:p>
          </p:txBody>
        </p:sp>
      </p:grpSp>
      <p:grpSp>
        <p:nvGrpSpPr>
          <p:cNvPr id="7" name="Group 6"/>
          <p:cNvGrpSpPr/>
          <p:nvPr userDrawn="1"/>
        </p:nvGrpSpPr>
        <p:grpSpPr>
          <a:xfrm>
            <a:off x="3658431" y="3715873"/>
            <a:ext cx="2669259" cy="2669259"/>
            <a:chOff x="1220118" y="2343274"/>
            <a:chExt cx="2450851" cy="2450851"/>
          </a:xfrm>
          <a:effectLst/>
        </p:grpSpPr>
        <p:sp>
          <p:nvSpPr>
            <p:cNvPr id="8" name="Oval 7"/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2">
                <a:alpha val="9000"/>
              </a:schemeClr>
            </a:solidFill>
            <a:ln>
              <a:noFill/>
            </a:ln>
            <a:effectLst>
              <a:outerShdw blurRad="8255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2">
                <a:alpha val="18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1580469" y="2703625"/>
              <a:ext cx="1730150" cy="17301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dirty="0">
                <a:latin typeface="Source Sans Pro" panose="020B0503030403020204" pitchFamily="34" charset="0"/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3249243" y="252984"/>
            <a:ext cx="2280066" cy="2280066"/>
            <a:chOff x="1220118" y="2343274"/>
            <a:chExt cx="2450851" cy="2450851"/>
          </a:xfrm>
          <a:effectLst/>
        </p:grpSpPr>
        <p:sp>
          <p:nvSpPr>
            <p:cNvPr id="12" name="Oval 11"/>
            <p:cNvSpPr/>
            <p:nvPr/>
          </p:nvSpPr>
          <p:spPr>
            <a:xfrm>
              <a:off x="1220118" y="2343274"/>
              <a:ext cx="2450851" cy="2450851"/>
            </a:xfrm>
            <a:prstGeom prst="ellipse">
              <a:avLst/>
            </a:prstGeom>
            <a:solidFill>
              <a:schemeClr val="accent3">
                <a:alpha val="9000"/>
              </a:schemeClr>
            </a:solidFill>
            <a:ln>
              <a:noFill/>
            </a:ln>
            <a:effectLst>
              <a:outerShdw blurRad="8255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395764" y="2518920"/>
              <a:ext cx="2099561" cy="2099561"/>
            </a:xfrm>
            <a:prstGeom prst="ellipse">
              <a:avLst/>
            </a:prstGeom>
            <a:solidFill>
              <a:schemeClr val="accent3">
                <a:alpha val="18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1580469" y="2703625"/>
              <a:ext cx="1730150" cy="17301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dirty="0">
                <a:latin typeface="Source Sans Pro" panose="020B0503030403020204" pitchFamily="34" charset="0"/>
              </a:endParaRPr>
            </a:p>
          </p:txBody>
        </p:sp>
      </p:grpSp>
      <p:sp>
        <p:nvSpPr>
          <p:cNvPr id="16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1250689" y="2066656"/>
            <a:ext cx="2759249" cy="2759249"/>
          </a:xfrm>
          <a:prstGeom prst="ellipse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4120750" y="4182993"/>
            <a:ext cx="1735017" cy="1735017"/>
          </a:xfrm>
          <a:prstGeom prst="ellipse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3647906" y="651647"/>
            <a:ext cx="1482739" cy="1482739"/>
          </a:xfrm>
          <a:prstGeom prst="ellipse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518989" y="1782335"/>
            <a:ext cx="3434443" cy="19226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90000"/>
              </a:lnSpc>
              <a:defRPr sz="3600" b="0" i="0">
                <a:latin typeface="Source Sans Pro SemiBold" panose="020B0603030403020204" pitchFamily="34" charset="0"/>
                <a:ea typeface="Source Sans Pro SemiBold" panose="020B06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518989" y="1489102"/>
            <a:ext cx="3434443" cy="3905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0" i="0" spc="300">
                <a:solidFill>
                  <a:schemeClr val="bg1">
                    <a:lumMod val="75000"/>
                  </a:schemeClr>
                </a:solidFill>
                <a:latin typeface="+mn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10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id_Portfolio">
    <p:bg>
      <p:bgPr>
        <a:gradFill>
          <a:gsLst>
            <a:gs pos="17000">
              <a:schemeClr val="accent1"/>
            </a:gs>
            <a:gs pos="100000">
              <a:schemeClr val="accent5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/>
          <p:cNvSpPr/>
          <p:nvPr userDrawn="1"/>
        </p:nvSpPr>
        <p:spPr>
          <a:xfrm rot="18900000">
            <a:off x="7569201" y="-561766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 rot="18900000">
            <a:off x="7688312" y="-444747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26271" y="1369103"/>
            <a:ext cx="4520945" cy="1180198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36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6271" y="1119412"/>
            <a:ext cx="3434443" cy="3905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="0" i="0" spc="300">
                <a:solidFill>
                  <a:schemeClr val="bg1"/>
                </a:solidFill>
                <a:latin typeface="+mn-lt"/>
                <a:cs typeface="Tahoma" panose="020B060403050404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: Rounded Corners 7"/>
          <p:cNvSpPr/>
          <p:nvPr userDrawn="1"/>
        </p:nvSpPr>
        <p:spPr>
          <a:xfrm rot="18900000">
            <a:off x="7902108" y="2618432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4" hasCustomPrompt="1"/>
          </p:nvPr>
        </p:nvSpPr>
        <p:spPr>
          <a:xfrm rot="18900000">
            <a:off x="8021219" y="2735451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10" name="Rectangle: Rounded Corners 9"/>
          <p:cNvSpPr/>
          <p:nvPr userDrawn="1"/>
        </p:nvSpPr>
        <p:spPr>
          <a:xfrm rot="18900000">
            <a:off x="4542091" y="2449159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5" hasCustomPrompt="1"/>
          </p:nvPr>
        </p:nvSpPr>
        <p:spPr>
          <a:xfrm rot="18900000">
            <a:off x="4661202" y="2566178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12" name="Rectangle: Rounded Corners 11"/>
          <p:cNvSpPr/>
          <p:nvPr userDrawn="1"/>
        </p:nvSpPr>
        <p:spPr>
          <a:xfrm rot="18900000">
            <a:off x="10929219" y="-387370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6" hasCustomPrompt="1"/>
          </p:nvPr>
        </p:nvSpPr>
        <p:spPr>
          <a:xfrm rot="18900000">
            <a:off x="11048330" y="-270351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18" name="Rectangle: Rounded Corners 17"/>
          <p:cNvSpPr/>
          <p:nvPr userDrawn="1"/>
        </p:nvSpPr>
        <p:spPr>
          <a:xfrm rot="18900000">
            <a:off x="4876500" y="5618794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7" hasCustomPrompt="1"/>
          </p:nvPr>
        </p:nvSpPr>
        <p:spPr>
          <a:xfrm rot="18900000">
            <a:off x="4995611" y="5735813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20" name="Rectangle: Rounded Corners 19"/>
          <p:cNvSpPr/>
          <p:nvPr userDrawn="1"/>
        </p:nvSpPr>
        <p:spPr>
          <a:xfrm rot="18900000">
            <a:off x="1520940" y="5454961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18" hasCustomPrompt="1"/>
          </p:nvPr>
        </p:nvSpPr>
        <p:spPr>
          <a:xfrm rot="18900000">
            <a:off x="1640051" y="5571980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22" name="Rectangle: Rounded Corners 21"/>
          <p:cNvSpPr/>
          <p:nvPr userDrawn="1"/>
        </p:nvSpPr>
        <p:spPr>
          <a:xfrm rot="18900000">
            <a:off x="8235213" y="5793191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9" hasCustomPrompt="1"/>
          </p:nvPr>
        </p:nvSpPr>
        <p:spPr>
          <a:xfrm rot="18900000">
            <a:off x="8354324" y="5910210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  <p:sp>
        <p:nvSpPr>
          <p:cNvPr id="24" name="Rectangle: Rounded Corners 23"/>
          <p:cNvSpPr/>
          <p:nvPr userDrawn="1"/>
        </p:nvSpPr>
        <p:spPr>
          <a:xfrm rot="18900000">
            <a:off x="11257668" y="2792830"/>
            <a:ext cx="4064000" cy="2322286"/>
          </a:xfrm>
          <a:prstGeom prst="roundRect">
            <a:avLst>
              <a:gd name="adj" fmla="val 1260"/>
            </a:avLst>
          </a:prstGeom>
          <a:solidFill>
            <a:schemeClr val="bg1"/>
          </a:solidFill>
          <a:ln>
            <a:noFill/>
          </a:ln>
          <a:effectLst>
            <a:outerShdw blurRad="749300" dist="50800" dir="5400000" sx="104000" sy="104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0" hasCustomPrompt="1"/>
          </p:nvPr>
        </p:nvSpPr>
        <p:spPr>
          <a:xfrm rot="18900000">
            <a:off x="11376779" y="2909849"/>
            <a:ext cx="3821518" cy="209368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01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84880" y="-110446"/>
            <a:ext cx="3040387" cy="1748747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2587624" y="4295775"/>
            <a:ext cx="2165067" cy="268992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-85030" y="2482444"/>
            <a:ext cx="2637728" cy="222554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467600" y="2692400"/>
            <a:ext cx="4838699" cy="244568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mpd="sng">
            <a:solidFill>
              <a:srgbClr val="FFFFFF"/>
            </a:solidFill>
          </a:ln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 flipH="1">
            <a:off x="7448607" y="-67732"/>
            <a:ext cx="4864174" cy="2790347"/>
          </a:xfrm>
          <a:prstGeom prst="rect">
            <a:avLst/>
          </a:prstGeom>
          <a:solidFill>
            <a:schemeClr val="accent5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 flipH="1">
            <a:off x="4752691" y="4272118"/>
            <a:ext cx="7560090" cy="2605125"/>
          </a:xfrm>
          <a:prstGeom prst="rect">
            <a:avLst/>
          </a:prstGeom>
          <a:solidFill>
            <a:schemeClr val="accent1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flipH="1">
            <a:off x="4381500" y="1635718"/>
            <a:ext cx="3065021" cy="2636395"/>
          </a:xfrm>
          <a:prstGeom prst="rect">
            <a:avLst/>
          </a:prstGeom>
          <a:solidFill>
            <a:schemeClr val="accent2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flipH="1">
            <a:off x="2569633" y="2482443"/>
            <a:ext cx="1809429" cy="1788989"/>
          </a:xfrm>
          <a:prstGeom prst="rect">
            <a:avLst/>
          </a:prstGeom>
          <a:solidFill>
            <a:schemeClr val="accent3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76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  <p:bldP spid="9" grpId="0" animBg="1"/>
      <p:bldP spid="3" grpId="0" animBg="1"/>
      <p:bldP spid="5" grpId="0" animBg="1"/>
      <p:bldP spid="6" grpId="0" animBg="1"/>
      <p:bldP spid="7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07200" y="0"/>
            <a:ext cx="53848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412067" y="0"/>
            <a:ext cx="3397673" cy="22758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412067" y="4582160"/>
            <a:ext cx="3397673" cy="22758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2296160"/>
            <a:ext cx="3410373" cy="22758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/>
          <a:lstStyle>
            <a:lvl1pPr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58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 animBg="1"/>
      <p:bldP spid="12" grpId="0" animBg="1"/>
      <p:bldP spid="13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550107" y="1155206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195701" y="2813063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550107" y="4373877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927087924"/>
      </p:ext>
    </p:extLst>
  </p:cSld>
  <p:clrMapOvr>
    <a:masterClrMapping/>
  </p:clrMapOvr>
  <p:transition spd="slow" advTm="2000">
    <p:cover dir="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7569464"/>
      </p:ext>
    </p:extLst>
  </p:cSld>
  <p:clrMapOvr>
    <a:masterClrMapping/>
  </p:clrMapOvr>
  <p:transition spd="slow" advTm="2000">
    <p:cover dir="d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sz="3200">
                <a:latin typeface="+mj-lt"/>
                <a:ea typeface="Roboto Black" panose="02000000000000000000" pitchFamily="2" charset="0"/>
              </a:defRPr>
            </a:lvl1pPr>
            <a:lvl2pPr>
              <a:defRPr sz="12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+mj-lt"/>
                <a:ea typeface="Roboto Black" panose="02000000000000000000" pitchFamily="2" charset="0"/>
              </a:defRPr>
            </a:lvl1pPr>
            <a:lvl2pPr>
              <a:defRPr sz="12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82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grpSp>
        <p:nvGrpSpPr>
          <p:cNvPr id="83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8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7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90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8780945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534160"/>
            <a:ext cx="12192000" cy="5323840"/>
          </a:xfrm>
        </p:spPr>
        <p:txBody>
          <a:bodyPr/>
          <a:lstStyle>
            <a:lvl1pPr>
              <a:defRPr sz="3200">
                <a:latin typeface="+mj-lt"/>
                <a:ea typeface="Roboto Black" panose="02000000000000000000" pitchFamily="2" charset="0"/>
              </a:defRPr>
            </a:lvl1pPr>
            <a:lvl2pPr>
              <a:defRPr sz="1200"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8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8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grpSp>
        <p:nvGrpSpPr>
          <p:cNvPr id="82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8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6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89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5208782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lo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4486012" y="692079"/>
            <a:ext cx="3219973" cy="3219973"/>
          </a:xfrm>
          <a:custGeom>
            <a:avLst/>
            <a:gdLst>
              <a:gd name="connsiteX0" fmla="*/ 2467620 w 4935242"/>
              <a:gd name="connsiteY0" fmla="*/ 1233811 h 4935242"/>
              <a:gd name="connsiteX1" fmla="*/ 1233810 w 4935242"/>
              <a:gd name="connsiteY1" fmla="*/ 2467621 h 4935242"/>
              <a:gd name="connsiteX2" fmla="*/ 2467620 w 4935242"/>
              <a:gd name="connsiteY2" fmla="*/ 3701431 h 4935242"/>
              <a:gd name="connsiteX3" fmla="*/ 3701430 w 4935242"/>
              <a:gd name="connsiteY3" fmla="*/ 2467621 h 4935242"/>
              <a:gd name="connsiteX4" fmla="*/ 2467620 w 4935242"/>
              <a:gd name="connsiteY4" fmla="*/ 1233811 h 4935242"/>
              <a:gd name="connsiteX5" fmla="*/ 2467621 w 4935242"/>
              <a:gd name="connsiteY5" fmla="*/ 0 h 4935242"/>
              <a:gd name="connsiteX6" fmla="*/ 4935242 w 4935242"/>
              <a:gd name="connsiteY6" fmla="*/ 2467621 h 4935242"/>
              <a:gd name="connsiteX7" fmla="*/ 2467621 w 4935242"/>
              <a:gd name="connsiteY7" fmla="*/ 4935242 h 4935242"/>
              <a:gd name="connsiteX8" fmla="*/ 0 w 4935242"/>
              <a:gd name="connsiteY8" fmla="*/ 2467621 h 4935242"/>
              <a:gd name="connsiteX9" fmla="*/ 2467621 w 4935242"/>
              <a:gd name="connsiteY9" fmla="*/ 0 h 4935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35242" h="4935242">
                <a:moveTo>
                  <a:pt x="2467620" y="1233811"/>
                </a:moveTo>
                <a:cubicBezTo>
                  <a:pt x="1786206" y="1233811"/>
                  <a:pt x="1233810" y="1786207"/>
                  <a:pt x="1233810" y="2467621"/>
                </a:cubicBezTo>
                <a:cubicBezTo>
                  <a:pt x="1233810" y="3149035"/>
                  <a:pt x="1786206" y="3701431"/>
                  <a:pt x="2467620" y="3701431"/>
                </a:cubicBezTo>
                <a:cubicBezTo>
                  <a:pt x="3149034" y="3701431"/>
                  <a:pt x="3701430" y="3149035"/>
                  <a:pt x="3701430" y="2467621"/>
                </a:cubicBezTo>
                <a:cubicBezTo>
                  <a:pt x="3701430" y="1786207"/>
                  <a:pt x="3149034" y="1233811"/>
                  <a:pt x="2467620" y="1233811"/>
                </a:cubicBezTo>
                <a:close/>
                <a:moveTo>
                  <a:pt x="2467621" y="0"/>
                </a:moveTo>
                <a:cubicBezTo>
                  <a:pt x="3830450" y="0"/>
                  <a:pt x="4935242" y="1104792"/>
                  <a:pt x="4935242" y="2467621"/>
                </a:cubicBezTo>
                <a:cubicBezTo>
                  <a:pt x="4935242" y="3830450"/>
                  <a:pt x="3830450" y="4935242"/>
                  <a:pt x="2467621" y="4935242"/>
                </a:cubicBezTo>
                <a:cubicBezTo>
                  <a:pt x="1104792" y="4935242"/>
                  <a:pt x="0" y="3830450"/>
                  <a:pt x="0" y="2467621"/>
                </a:cubicBezTo>
                <a:cubicBezTo>
                  <a:pt x="0" y="1104792"/>
                  <a:pt x="1104792" y="0"/>
                  <a:pt x="2467621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5356166" y="1542537"/>
            <a:ext cx="1479666" cy="1479666"/>
          </a:xfrm>
          <a:custGeom>
            <a:avLst/>
            <a:gdLst>
              <a:gd name="connsiteX0" fmla="*/ 739833 w 1479666"/>
              <a:gd name="connsiteY0" fmla="*/ 0 h 1479666"/>
              <a:gd name="connsiteX1" fmla="*/ 1479666 w 1479666"/>
              <a:gd name="connsiteY1" fmla="*/ 739833 h 1479666"/>
              <a:gd name="connsiteX2" fmla="*/ 739833 w 1479666"/>
              <a:gd name="connsiteY2" fmla="*/ 1479666 h 1479666"/>
              <a:gd name="connsiteX3" fmla="*/ 0 w 1479666"/>
              <a:gd name="connsiteY3" fmla="*/ 739833 h 1479666"/>
              <a:gd name="connsiteX4" fmla="*/ 739833 w 1479666"/>
              <a:gd name="connsiteY4" fmla="*/ 0 h 1479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666" h="1479666">
                <a:moveTo>
                  <a:pt x="739833" y="0"/>
                </a:moveTo>
                <a:cubicBezTo>
                  <a:pt x="1148431" y="0"/>
                  <a:pt x="1479666" y="331235"/>
                  <a:pt x="1479666" y="739833"/>
                </a:cubicBezTo>
                <a:cubicBezTo>
                  <a:pt x="1479666" y="1148431"/>
                  <a:pt x="1148431" y="1479666"/>
                  <a:pt x="739833" y="1479666"/>
                </a:cubicBezTo>
                <a:cubicBezTo>
                  <a:pt x="331235" y="1479666"/>
                  <a:pt x="0" y="1148431"/>
                  <a:pt x="0" y="739833"/>
                </a:cubicBezTo>
                <a:cubicBezTo>
                  <a:pt x="0" y="331235"/>
                  <a:pt x="331235" y="0"/>
                  <a:pt x="739833" y="0"/>
                </a:cubicBezTo>
                <a:close/>
              </a:path>
            </a:pathLst>
          </a:custGeom>
          <a:pattFill prst="pct5">
            <a:fgClr>
              <a:schemeClr val="tx1">
                <a:lumMod val="40000"/>
                <a:lumOff val="60000"/>
              </a:schemeClr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346541" y="3873733"/>
            <a:ext cx="2601739" cy="471202"/>
          </a:xfrm>
        </p:spPr>
        <p:txBody>
          <a:bodyPr>
            <a:noAutofit/>
          </a:bodyPr>
          <a:lstStyle>
            <a:lvl1pPr marL="0" indent="0">
              <a:buNone/>
              <a:defRPr sz="3200">
                <a:latin typeface="Source Sans Pro Light" panose="020B0403030403020204" pitchFamily="34" charset="0"/>
              </a:defRPr>
            </a:lvl1pPr>
            <a:lvl2pPr marL="457200" indent="0">
              <a:buNone/>
              <a:defRPr sz="3200">
                <a:latin typeface="Source Sans Pro Light" panose="020B0403030403020204" pitchFamily="34" charset="0"/>
              </a:defRPr>
            </a:lvl2pPr>
            <a:lvl3pPr marL="914400" indent="0">
              <a:buNone/>
              <a:defRPr sz="3200">
                <a:latin typeface="Source Sans Pro Light" panose="020B0403030403020204" pitchFamily="34" charset="0"/>
              </a:defRPr>
            </a:lvl3pPr>
            <a:lvl4pPr marL="1371600" indent="0">
              <a:buNone/>
              <a:defRPr sz="3200">
                <a:latin typeface="Source Sans Pro Light" panose="020B0403030403020204" pitchFamily="34" charset="0"/>
              </a:defRPr>
            </a:lvl4pPr>
            <a:lvl5pPr marL="1828800" indent="0">
              <a:buNone/>
              <a:defRPr sz="3200"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365449" y="4344935"/>
            <a:ext cx="2601739" cy="299359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Source Sans Pro Light" panose="020B0403030403020204" pitchFamily="34" charset="0"/>
              </a:defRPr>
            </a:lvl1pPr>
            <a:lvl2pPr marL="457200" indent="0">
              <a:buNone/>
              <a:defRPr sz="3200">
                <a:latin typeface="Source Sans Pro Light" panose="020B0403030403020204" pitchFamily="34" charset="0"/>
              </a:defRPr>
            </a:lvl2pPr>
            <a:lvl3pPr marL="914400" indent="0">
              <a:buNone/>
              <a:defRPr sz="3200">
                <a:latin typeface="Source Sans Pro Light" panose="020B0403030403020204" pitchFamily="34" charset="0"/>
              </a:defRPr>
            </a:lvl3pPr>
            <a:lvl4pPr marL="1371600" indent="0">
              <a:buNone/>
              <a:defRPr sz="3200">
                <a:latin typeface="Source Sans Pro Light" panose="020B0403030403020204" pitchFamily="34" charset="0"/>
              </a:defRPr>
            </a:lvl4pPr>
            <a:lvl5pPr marL="1828800" indent="0">
              <a:buNone/>
              <a:defRPr sz="3200"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</a:t>
            </a:r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40950523"/>
      </p:ext>
    </p:extLst>
  </p:cSld>
  <p:clrMapOvr>
    <a:masterClrMapping/>
  </p:clrMapOvr>
  <p:transition spd="slow" advTm="2000">
    <p:cover dir="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560554" y="1767953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142011" y="3377288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560553" y="4986624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  <p:sp>
        <p:nvSpPr>
          <p:cNvPr id="55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931043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912847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806838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550107" y="1155206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195701" y="2813063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550107" y="4373877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433898028"/>
      </p:ext>
    </p:extLst>
  </p:cSld>
  <p:clrMapOvr>
    <a:masterClrMapping/>
  </p:clrMapOvr>
  <p:transition spd="slow" advTm="2000">
    <p:cover dir="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"/>
          <p:cNvSpPr/>
          <p:nvPr userDrawn="1"/>
        </p:nvSpPr>
        <p:spPr>
          <a:xfrm>
            <a:off x="0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550108" y="1153544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195701" y="2805181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Pu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3598229790"/>
      </p:ext>
    </p:extLst>
  </p:cSld>
  <p:clrMapOvr>
    <a:masterClrMapping/>
  </p:clrMapOvr>
  <p:transition spd="slow" advTm="2000">
    <p:cover dir="d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grpSp>
        <p:nvGrpSpPr>
          <p:cNvPr id="18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19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6717185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6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893735" y="2342768"/>
            <a:ext cx="1250425" cy="1670832"/>
          </a:xfrm>
          <a:prstGeom prst="round1Rect">
            <a:avLst>
              <a:gd name="adj" fmla="val 4036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433889" y="2342768"/>
            <a:ext cx="1250425" cy="1670832"/>
          </a:xfrm>
          <a:prstGeom prst="round1Rect">
            <a:avLst>
              <a:gd name="adj" fmla="val 4036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999210" y="2342768"/>
            <a:ext cx="1250425" cy="1670832"/>
          </a:xfrm>
          <a:prstGeom prst="round1Rect">
            <a:avLst>
              <a:gd name="adj" fmla="val 4036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39637324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2" hasCustomPrompt="1"/>
          </p:nvPr>
        </p:nvSpPr>
        <p:spPr>
          <a:xfrm>
            <a:off x="964369" y="2050350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3" hasCustomPrompt="1"/>
          </p:nvPr>
        </p:nvSpPr>
        <p:spPr>
          <a:xfrm>
            <a:off x="964369" y="3415102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4" hasCustomPrompt="1"/>
          </p:nvPr>
        </p:nvSpPr>
        <p:spPr>
          <a:xfrm>
            <a:off x="964369" y="4770663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5" hasCustomPrompt="1"/>
          </p:nvPr>
        </p:nvSpPr>
        <p:spPr>
          <a:xfrm>
            <a:off x="4369208" y="2050350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4369208" y="3415102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7" hasCustomPrompt="1"/>
          </p:nvPr>
        </p:nvSpPr>
        <p:spPr>
          <a:xfrm>
            <a:off x="4369208" y="4770663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8" hasCustomPrompt="1"/>
          </p:nvPr>
        </p:nvSpPr>
        <p:spPr>
          <a:xfrm>
            <a:off x="7774046" y="2050350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9" hasCustomPrompt="1"/>
          </p:nvPr>
        </p:nvSpPr>
        <p:spPr>
          <a:xfrm>
            <a:off x="7774046" y="3415102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774046" y="4770663"/>
            <a:ext cx="1109761" cy="1109160"/>
          </a:xfrm>
          <a:custGeom>
            <a:avLst/>
            <a:gdLst>
              <a:gd name="connsiteX0" fmla="*/ 688166 w 2253938"/>
              <a:gd name="connsiteY0" fmla="*/ 1667854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1667854 h 3720987"/>
              <a:gd name="connsiteX2" fmla="*/ 2253938 w 2253938"/>
              <a:gd name="connsiteY2" fmla="*/ 3720987 h 3720987"/>
              <a:gd name="connsiteX3" fmla="*/ 688166 w 2253938"/>
              <a:gd name="connsiteY3" fmla="*/ 3720987 h 3720987"/>
              <a:gd name="connsiteX4" fmla="*/ 46127 w 2253938"/>
              <a:gd name="connsiteY4" fmla="*/ 0 h 3720987"/>
              <a:gd name="connsiteX5" fmla="*/ 1670834 w 2253938"/>
              <a:gd name="connsiteY5" fmla="*/ 0 h 3720987"/>
              <a:gd name="connsiteX6" fmla="*/ 1670834 w 2253938"/>
              <a:gd name="connsiteY6" fmla="*/ 1274220 h 3720987"/>
              <a:gd name="connsiteX7" fmla="*/ 46127 w 2253938"/>
              <a:gd name="connsiteY7" fmla="*/ 1274220 h 3720987"/>
              <a:gd name="connsiteX8" fmla="*/ 0 w 2253938"/>
              <a:gd name="connsiteY8" fmla="*/ 1228093 h 3720987"/>
              <a:gd name="connsiteX9" fmla="*/ 0 w 2253938"/>
              <a:gd name="connsiteY9" fmla="*/ 46127 h 3720987"/>
              <a:gd name="connsiteX10" fmla="*/ 46127 w 2253938"/>
              <a:gd name="connsiteY10" fmla="*/ 0 h 3720987"/>
              <a:gd name="connsiteX0" fmla="*/ 688166 w 2253938"/>
              <a:gd name="connsiteY0" fmla="*/ 3720987 h 3720987"/>
              <a:gd name="connsiteX1" fmla="*/ 2253938 w 2253938"/>
              <a:gd name="connsiteY1" fmla="*/ 3720987 h 3720987"/>
              <a:gd name="connsiteX2" fmla="*/ 688166 w 2253938"/>
              <a:gd name="connsiteY2" fmla="*/ 3720987 h 3720987"/>
              <a:gd name="connsiteX3" fmla="*/ 46127 w 2253938"/>
              <a:gd name="connsiteY3" fmla="*/ 0 h 3720987"/>
              <a:gd name="connsiteX4" fmla="*/ 1670834 w 2253938"/>
              <a:gd name="connsiteY4" fmla="*/ 0 h 3720987"/>
              <a:gd name="connsiteX5" fmla="*/ 1670834 w 2253938"/>
              <a:gd name="connsiteY5" fmla="*/ 1274220 h 3720987"/>
              <a:gd name="connsiteX6" fmla="*/ 46127 w 2253938"/>
              <a:gd name="connsiteY6" fmla="*/ 1274220 h 3720987"/>
              <a:gd name="connsiteX7" fmla="*/ 0 w 2253938"/>
              <a:gd name="connsiteY7" fmla="*/ 1228093 h 3720987"/>
              <a:gd name="connsiteX8" fmla="*/ 0 w 2253938"/>
              <a:gd name="connsiteY8" fmla="*/ 46127 h 3720987"/>
              <a:gd name="connsiteX9" fmla="*/ 46127 w 2253938"/>
              <a:gd name="connsiteY9" fmla="*/ 0 h 3720987"/>
              <a:gd name="connsiteX0" fmla="*/ 46127 w 1670834"/>
              <a:gd name="connsiteY0" fmla="*/ 0 h 1274220"/>
              <a:gd name="connsiteX1" fmla="*/ 1670834 w 1670834"/>
              <a:gd name="connsiteY1" fmla="*/ 0 h 1274220"/>
              <a:gd name="connsiteX2" fmla="*/ 1670834 w 1670834"/>
              <a:gd name="connsiteY2" fmla="*/ 1274220 h 1274220"/>
              <a:gd name="connsiteX3" fmla="*/ 46127 w 1670834"/>
              <a:gd name="connsiteY3" fmla="*/ 1274220 h 1274220"/>
              <a:gd name="connsiteX4" fmla="*/ 0 w 1670834"/>
              <a:gd name="connsiteY4" fmla="*/ 1228093 h 1274220"/>
              <a:gd name="connsiteX5" fmla="*/ 0 w 1670834"/>
              <a:gd name="connsiteY5" fmla="*/ 46127 h 1274220"/>
              <a:gd name="connsiteX6" fmla="*/ 46127 w 1670834"/>
              <a:gd name="connsiteY6" fmla="*/ 0 h 1274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0834" h="1274220">
                <a:moveTo>
                  <a:pt x="46127" y="0"/>
                </a:moveTo>
                <a:lnTo>
                  <a:pt x="1670834" y="0"/>
                </a:lnTo>
                <a:lnTo>
                  <a:pt x="1670834" y="1274220"/>
                </a:lnTo>
                <a:lnTo>
                  <a:pt x="46127" y="1274220"/>
                </a:lnTo>
                <a:cubicBezTo>
                  <a:pt x="20652" y="1274220"/>
                  <a:pt x="0" y="1253568"/>
                  <a:pt x="0" y="1228093"/>
                </a:cubicBezTo>
                <a:lnTo>
                  <a:pt x="0" y="46127"/>
                </a:lnTo>
                <a:cubicBezTo>
                  <a:pt x="0" y="20652"/>
                  <a:pt x="20652" y="0"/>
                  <a:pt x="46127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grpSp>
        <p:nvGrpSpPr>
          <p:cNvPr id="3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3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9457172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"/>
          <p:cNvSpPr/>
          <p:nvPr userDrawn="1"/>
        </p:nvSpPr>
        <p:spPr>
          <a:xfrm>
            <a:off x="0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550108" y="1153544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195701" y="2805181"/>
            <a:ext cx="1504143" cy="1504143"/>
          </a:xfrm>
          <a:prstGeom prst="donu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Pu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2067928056"/>
      </p:ext>
    </p:extLst>
  </p:cSld>
  <p:clrMapOvr>
    <a:masterClrMapping/>
  </p:clrMapOvr>
  <p:transition spd="slow" advTm="2000">
    <p:cover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014440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902713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790986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679259" y="58172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5902713" y="246999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9679259" y="246999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7790986" y="435826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679259" y="435826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790986" y="2469994"/>
            <a:ext cx="1828799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l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1017537" y="3717013"/>
            <a:ext cx="2850354" cy="895930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035733" y="4612943"/>
            <a:ext cx="4660958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3298569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57315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045588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933861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822134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045588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9822134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7933861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822134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933861" y="2489044"/>
            <a:ext cx="1828799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l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380769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269042" y="600772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4157084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2268811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045473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4156969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80769" y="2489044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2268811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380769" y="4377316"/>
            <a:ext cx="1828800" cy="18288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456990938"/>
      </p:ext>
    </p:extLst>
  </p:cSld>
  <p:clrMapOvr>
    <a:masterClrMapping/>
  </p:clrMapOvr>
  <p:transition spd="slow" advTm="2000">
    <p:cover dir="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763406" y="1913999"/>
            <a:ext cx="5239701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9500" y="1913999"/>
            <a:ext cx="5239701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6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0189155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6352358" y="1896743"/>
            <a:ext cx="5239701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607313" y="1896744"/>
            <a:ext cx="5605346" cy="1993900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607312" y="4042314"/>
            <a:ext cx="1828800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2495585" y="4042314"/>
            <a:ext cx="1828800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383858" y="4042314"/>
            <a:ext cx="1828800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50947464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772350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463048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6143950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8811194" y="1936700"/>
            <a:ext cx="2553493" cy="4122215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836636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1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44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767399" y="1936700"/>
            <a:ext cx="5239701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5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767399" y="4042314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6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3463048" y="4042314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7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6126187" y="1936700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8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134967" y="4042313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821160" y="4042313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8811377" y="1936700"/>
            <a:ext cx="2548756" cy="1976644"/>
          </a:xfrm>
          <a:prstGeom prst="round2SameRect">
            <a:avLst>
              <a:gd name="adj1" fmla="val 1475"/>
              <a:gd name="adj2" fmla="val 0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068778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ne 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7318852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005744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93234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-1019277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1343873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331363" y="2473174"/>
            <a:ext cx="1861466" cy="33045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166140" y="2473174"/>
            <a:ext cx="1861466" cy="3304508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grpSp>
        <p:nvGrpSpPr>
          <p:cNvPr id="3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47409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4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114373" y="456502"/>
            <a:ext cx="9210034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132569" y="942857"/>
            <a:ext cx="9191838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326287" y="4287560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5129648" y="3182081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8724451" y="942857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10514239" y="-235160"/>
            <a:ext cx="2093976" cy="3721608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016275" y="1791063"/>
            <a:ext cx="1901952" cy="3931920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8100" dir="2700000" sx="89000" sy="89000" algn="tl" rotWithShape="0">
              <a:prstClr val="black">
                <a:alpha val="14000"/>
              </a:prstClr>
            </a:outerShdw>
          </a:effectLst>
          <a:scene3d>
            <a:camera prst="orthographicFront">
              <a:rot lat="2400000" lon="2400000" rev="3630000"/>
            </a:camera>
            <a:lightRig rig="threePt" dir="t"/>
          </a:scene3d>
          <a:sp3d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105211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532881" y="2418930"/>
            <a:ext cx="1755775" cy="3107216"/>
          </a:xfr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/>
          <a:lstStyle/>
          <a:p>
            <a:endParaRPr lang="en-US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35756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25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919118" y="2600562"/>
            <a:ext cx="1672284" cy="2967716"/>
          </a:xfrm>
          <a:custGeom>
            <a:avLst/>
            <a:gdLst>
              <a:gd name="connsiteX0" fmla="*/ 0 w 1672284"/>
              <a:gd name="connsiteY0" fmla="*/ 0 h 2967716"/>
              <a:gd name="connsiteX1" fmla="*/ 1672284 w 1672284"/>
              <a:gd name="connsiteY1" fmla="*/ 0 h 2967716"/>
              <a:gd name="connsiteX2" fmla="*/ 1672284 w 1672284"/>
              <a:gd name="connsiteY2" fmla="*/ 2967716 h 2967716"/>
              <a:gd name="connsiteX3" fmla="*/ 0 w 1672284"/>
              <a:gd name="connsiteY3" fmla="*/ 2967716 h 296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2284" h="2967716">
                <a:moveTo>
                  <a:pt x="0" y="0"/>
                </a:moveTo>
                <a:lnTo>
                  <a:pt x="1672284" y="0"/>
                </a:lnTo>
                <a:lnTo>
                  <a:pt x="1672284" y="2967716"/>
                </a:lnTo>
                <a:lnTo>
                  <a:pt x="0" y="2967716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8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6600599" y="2600562"/>
            <a:ext cx="1672284" cy="2967716"/>
          </a:xfrm>
          <a:custGeom>
            <a:avLst/>
            <a:gdLst>
              <a:gd name="connsiteX0" fmla="*/ 0 w 1672284"/>
              <a:gd name="connsiteY0" fmla="*/ 0 h 2967716"/>
              <a:gd name="connsiteX1" fmla="*/ 1672284 w 1672284"/>
              <a:gd name="connsiteY1" fmla="*/ 0 h 2967716"/>
              <a:gd name="connsiteX2" fmla="*/ 1672284 w 1672284"/>
              <a:gd name="connsiteY2" fmla="*/ 2967716 h 2967716"/>
              <a:gd name="connsiteX3" fmla="*/ 0 w 1672284"/>
              <a:gd name="connsiteY3" fmla="*/ 2967716 h 296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2284" h="2967716">
                <a:moveTo>
                  <a:pt x="0" y="0"/>
                </a:moveTo>
                <a:lnTo>
                  <a:pt x="1672284" y="0"/>
                </a:lnTo>
                <a:lnTo>
                  <a:pt x="1672284" y="2967716"/>
                </a:lnTo>
                <a:lnTo>
                  <a:pt x="0" y="2967716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134187" y="2248886"/>
            <a:ext cx="1923627" cy="3413760"/>
          </a:xfrm>
          <a:custGeom>
            <a:avLst/>
            <a:gdLst>
              <a:gd name="connsiteX0" fmla="*/ 0 w 1923627"/>
              <a:gd name="connsiteY0" fmla="*/ 0 h 3413760"/>
              <a:gd name="connsiteX1" fmla="*/ 1923627 w 1923627"/>
              <a:gd name="connsiteY1" fmla="*/ 0 h 3413760"/>
              <a:gd name="connsiteX2" fmla="*/ 1923627 w 1923627"/>
              <a:gd name="connsiteY2" fmla="*/ 3413760 h 3413760"/>
              <a:gd name="connsiteX3" fmla="*/ 0 w 1923627"/>
              <a:gd name="connsiteY3" fmla="*/ 3413760 h 341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23627" h="3413760">
                <a:moveTo>
                  <a:pt x="0" y="0"/>
                </a:moveTo>
                <a:lnTo>
                  <a:pt x="1923627" y="0"/>
                </a:lnTo>
                <a:lnTo>
                  <a:pt x="1923627" y="3413760"/>
                </a:lnTo>
                <a:lnTo>
                  <a:pt x="0" y="3413760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2889331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1369801" y="6487143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9F976047-6D8B-40E5-9820-BFA42EA4E19A}" type="slidenum">
              <a:rPr lang="en-US" sz="1200" b="0" kern="1200" smtClean="0">
                <a:solidFill>
                  <a:srgbClr val="4B555B"/>
                </a:solidFill>
                <a:latin typeface="ArialMT"/>
                <a:ea typeface="+mn-ea"/>
                <a:cs typeface="+mn-cs"/>
              </a:rPr>
              <a:pPr/>
              <a:t>‹#›</a:t>
            </a:fld>
            <a:endParaRPr lang="en-US" sz="1200" b="0" kern="1200" dirty="0">
              <a:solidFill>
                <a:srgbClr val="4B555B"/>
              </a:solidFill>
              <a:latin typeface="ArialMT"/>
              <a:ea typeface="+mn-ea"/>
              <a:cs typeface="+mn-cs"/>
            </a:endParaRPr>
          </a:p>
        </p:txBody>
      </p:sp>
      <p:cxnSp>
        <p:nvCxnSpPr>
          <p:cNvPr id="45" name="Straight Connector 44"/>
          <p:cNvCxnSpPr/>
          <p:nvPr userDrawn="1"/>
        </p:nvCxnSpPr>
        <p:spPr>
          <a:xfrm>
            <a:off x="511237" y="6438915"/>
            <a:ext cx="1116476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920" y="236312"/>
            <a:ext cx="767119" cy="596308"/>
          </a:xfrm>
          <a:prstGeom prst="rect">
            <a:avLst/>
          </a:prstGeom>
        </p:spPr>
      </p:pic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1237" y="291288"/>
            <a:ext cx="10447683" cy="486355"/>
          </a:xfrm>
        </p:spPr>
        <p:txBody>
          <a:bodyPr>
            <a:noAutofit/>
          </a:bodyPr>
          <a:lstStyle>
            <a:lvl1pPr marL="0" indent="0">
              <a:buNone/>
              <a:defRPr lang="en-US" sz="2800" b="1" kern="1200" baseline="0" dirty="0">
                <a:solidFill>
                  <a:srgbClr val="0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endParaRPr lang="en-US" dirty="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10370289" y="6487143"/>
            <a:ext cx="889585" cy="308948"/>
            <a:chOff x="2861" y="1820"/>
            <a:chExt cx="1958" cy="680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Shape 2"/>
          <p:cNvSpPr/>
          <p:nvPr userDrawn="1"/>
        </p:nvSpPr>
        <p:spPr>
          <a:xfrm>
            <a:off x="0" y="966001"/>
            <a:ext cx="12192000" cy="5830090"/>
          </a:xfrm>
          <a:prstGeom prst="rect">
            <a:avLst/>
          </a:prstGeom>
          <a:solidFill>
            <a:srgbClr val="7B8DB3">
              <a:alpha val="2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0" name="Shape 2711"/>
          <p:cNvSpPr/>
          <p:nvPr userDrawn="1"/>
        </p:nvSpPr>
        <p:spPr>
          <a:xfrm>
            <a:off x="150520" y="394801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ource Sans Pro Light" charset="0"/>
              <a:ea typeface="Source Sans Pro Light" charset="0"/>
              <a:cs typeface="Source Sans Pro Light" charset="0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89654742"/>
      </p:ext>
    </p:extLst>
  </p:cSld>
  <p:clrMapOvr>
    <a:masterClrMapping/>
  </p:clrMapOvr>
  <p:transition spd="slow" advTm="2000">
    <p:cover dir="d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314025" y="2204778"/>
            <a:ext cx="1923627" cy="3413760"/>
          </a:xfrm>
          <a:custGeom>
            <a:avLst/>
            <a:gdLst>
              <a:gd name="connsiteX0" fmla="*/ 0 w 1923627"/>
              <a:gd name="connsiteY0" fmla="*/ 0 h 3413760"/>
              <a:gd name="connsiteX1" fmla="*/ 1923627 w 1923627"/>
              <a:gd name="connsiteY1" fmla="*/ 0 h 3413760"/>
              <a:gd name="connsiteX2" fmla="*/ 1923627 w 1923627"/>
              <a:gd name="connsiteY2" fmla="*/ 3413760 h 3413760"/>
              <a:gd name="connsiteX3" fmla="*/ 0 w 1923627"/>
              <a:gd name="connsiteY3" fmla="*/ 3413760 h 341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23627" h="3413760">
                <a:moveTo>
                  <a:pt x="0" y="0"/>
                </a:moveTo>
                <a:lnTo>
                  <a:pt x="1923627" y="0"/>
                </a:lnTo>
                <a:lnTo>
                  <a:pt x="1923627" y="3413760"/>
                </a:lnTo>
                <a:lnTo>
                  <a:pt x="0" y="3413760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3536972" y="2204778"/>
            <a:ext cx="1923627" cy="3413760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2892565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747991" y="2194267"/>
            <a:ext cx="1923627" cy="3413760"/>
          </a:xfrm>
          <a:custGeom>
            <a:avLst/>
            <a:gdLst>
              <a:gd name="connsiteX0" fmla="*/ 0 w 1923627"/>
              <a:gd name="connsiteY0" fmla="*/ 0 h 3413760"/>
              <a:gd name="connsiteX1" fmla="*/ 1923627 w 1923627"/>
              <a:gd name="connsiteY1" fmla="*/ 0 h 3413760"/>
              <a:gd name="connsiteX2" fmla="*/ 1923627 w 1923627"/>
              <a:gd name="connsiteY2" fmla="*/ 3413760 h 3413760"/>
              <a:gd name="connsiteX3" fmla="*/ 0 w 1923627"/>
              <a:gd name="connsiteY3" fmla="*/ 3413760 h 341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23627" h="3413760">
                <a:moveTo>
                  <a:pt x="0" y="0"/>
                </a:moveTo>
                <a:lnTo>
                  <a:pt x="1923627" y="0"/>
                </a:lnTo>
                <a:lnTo>
                  <a:pt x="1923627" y="3413760"/>
                </a:lnTo>
                <a:lnTo>
                  <a:pt x="0" y="3413760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2878636" y="2194267"/>
            <a:ext cx="1923627" cy="3413760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5009281" y="2194267"/>
            <a:ext cx="1923627" cy="3413760"/>
          </a:xfrm>
          <a:prstGeom prst="roundRect">
            <a:avLst>
              <a:gd name="adj" fmla="val 1837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05334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Mockup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39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3364249" y="2579857"/>
            <a:ext cx="1632511" cy="2897131"/>
          </a:xfrm>
          <a:custGeom>
            <a:avLst/>
            <a:gdLst>
              <a:gd name="connsiteX0" fmla="*/ 0 w 1632511"/>
              <a:gd name="connsiteY0" fmla="*/ 0 h 2897131"/>
              <a:gd name="connsiteX1" fmla="*/ 1632511 w 1632511"/>
              <a:gd name="connsiteY1" fmla="*/ 0 h 2897131"/>
              <a:gd name="connsiteX2" fmla="*/ 1632511 w 1632511"/>
              <a:gd name="connsiteY2" fmla="*/ 2897131 h 2897131"/>
              <a:gd name="connsiteX3" fmla="*/ 0 w 1632511"/>
              <a:gd name="connsiteY3" fmla="*/ 2897131 h 289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2511" h="2897131">
                <a:moveTo>
                  <a:pt x="0" y="0"/>
                </a:moveTo>
                <a:lnTo>
                  <a:pt x="1632511" y="0"/>
                </a:lnTo>
                <a:lnTo>
                  <a:pt x="1632511" y="2897131"/>
                </a:lnTo>
                <a:lnTo>
                  <a:pt x="0" y="2897131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1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7212686" y="2579857"/>
            <a:ext cx="1632511" cy="2897131"/>
          </a:xfrm>
          <a:custGeom>
            <a:avLst/>
            <a:gdLst>
              <a:gd name="connsiteX0" fmla="*/ 0 w 1632511"/>
              <a:gd name="connsiteY0" fmla="*/ 0 h 2897131"/>
              <a:gd name="connsiteX1" fmla="*/ 1632511 w 1632511"/>
              <a:gd name="connsiteY1" fmla="*/ 0 h 2897131"/>
              <a:gd name="connsiteX2" fmla="*/ 1632511 w 1632511"/>
              <a:gd name="connsiteY2" fmla="*/ 2897131 h 2897131"/>
              <a:gd name="connsiteX3" fmla="*/ 0 w 1632511"/>
              <a:gd name="connsiteY3" fmla="*/ 2897131 h 289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2511" h="2897131">
                <a:moveTo>
                  <a:pt x="0" y="0"/>
                </a:moveTo>
                <a:lnTo>
                  <a:pt x="1632511" y="0"/>
                </a:lnTo>
                <a:lnTo>
                  <a:pt x="1632511" y="2897131"/>
                </a:lnTo>
                <a:lnTo>
                  <a:pt x="0" y="2897131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307242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ch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763248" y="3088577"/>
            <a:ext cx="1271780" cy="1582037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198536" y="3088577"/>
            <a:ext cx="1271780" cy="1582037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5417303" y="3009475"/>
            <a:ext cx="1398958" cy="1740241"/>
          </a:xfrm>
          <a:prstGeom prst="rect">
            <a:avLst/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4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403229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-876957" y="2093530"/>
            <a:ext cx="5070075" cy="2870272"/>
          </a:xfrm>
          <a:custGeom>
            <a:avLst/>
            <a:gdLst>
              <a:gd name="connsiteX0" fmla="*/ 0 w 5070075"/>
              <a:gd name="connsiteY0" fmla="*/ 0 h 2849779"/>
              <a:gd name="connsiteX1" fmla="*/ 5070075 w 5070075"/>
              <a:gd name="connsiteY1" fmla="*/ 0 h 2849779"/>
              <a:gd name="connsiteX2" fmla="*/ 5070075 w 5070075"/>
              <a:gd name="connsiteY2" fmla="*/ 2849779 h 2849779"/>
              <a:gd name="connsiteX3" fmla="*/ 0 w 5070075"/>
              <a:gd name="connsiteY3" fmla="*/ 2849779 h 2849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0075" h="2849779">
                <a:moveTo>
                  <a:pt x="0" y="0"/>
                </a:moveTo>
                <a:lnTo>
                  <a:pt x="5070075" y="0"/>
                </a:lnTo>
                <a:lnTo>
                  <a:pt x="5070075" y="2849779"/>
                </a:lnTo>
                <a:lnTo>
                  <a:pt x="0" y="2849779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2696616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cku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542643" y="1988755"/>
            <a:ext cx="5070075" cy="2870272"/>
          </a:xfrm>
          <a:custGeom>
            <a:avLst/>
            <a:gdLst>
              <a:gd name="connsiteX0" fmla="*/ 0 w 5070075"/>
              <a:gd name="connsiteY0" fmla="*/ 0 h 2849779"/>
              <a:gd name="connsiteX1" fmla="*/ 5070075 w 5070075"/>
              <a:gd name="connsiteY1" fmla="*/ 0 h 2849779"/>
              <a:gd name="connsiteX2" fmla="*/ 5070075 w 5070075"/>
              <a:gd name="connsiteY2" fmla="*/ 2849779 h 2849779"/>
              <a:gd name="connsiteX3" fmla="*/ 0 w 5070075"/>
              <a:gd name="connsiteY3" fmla="*/ 2849779 h 2849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0075" h="2849779">
                <a:moveTo>
                  <a:pt x="0" y="0"/>
                </a:moveTo>
                <a:lnTo>
                  <a:pt x="5070075" y="0"/>
                </a:lnTo>
                <a:lnTo>
                  <a:pt x="5070075" y="2849779"/>
                </a:lnTo>
                <a:lnTo>
                  <a:pt x="0" y="2849779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61971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2" y="456502"/>
            <a:ext cx="8894481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8496728" y="1857127"/>
            <a:ext cx="2929281" cy="3898603"/>
          </a:xfrm>
          <a:custGeom>
            <a:avLst/>
            <a:gdLst>
              <a:gd name="connsiteX0" fmla="*/ 0 w 2929281"/>
              <a:gd name="connsiteY0" fmla="*/ 0 h 3898603"/>
              <a:gd name="connsiteX1" fmla="*/ 2929281 w 2929281"/>
              <a:gd name="connsiteY1" fmla="*/ 0 h 3898603"/>
              <a:gd name="connsiteX2" fmla="*/ 2929281 w 2929281"/>
              <a:gd name="connsiteY2" fmla="*/ 3898603 h 3898603"/>
              <a:gd name="connsiteX3" fmla="*/ 0 w 2929281"/>
              <a:gd name="connsiteY3" fmla="*/ 3898603 h 3898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29281" h="3898603">
                <a:moveTo>
                  <a:pt x="0" y="0"/>
                </a:moveTo>
                <a:lnTo>
                  <a:pt x="2929281" y="0"/>
                </a:lnTo>
                <a:lnTo>
                  <a:pt x="2929281" y="3898603"/>
                </a:lnTo>
                <a:lnTo>
                  <a:pt x="0" y="3898603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267904" y="2180516"/>
            <a:ext cx="2929281" cy="3898603"/>
          </a:xfrm>
          <a:custGeom>
            <a:avLst/>
            <a:gdLst>
              <a:gd name="connsiteX0" fmla="*/ 0 w 2929281"/>
              <a:gd name="connsiteY0" fmla="*/ 0 h 3898603"/>
              <a:gd name="connsiteX1" fmla="*/ 2929281 w 2929281"/>
              <a:gd name="connsiteY1" fmla="*/ 0 h 3898603"/>
              <a:gd name="connsiteX2" fmla="*/ 2929281 w 2929281"/>
              <a:gd name="connsiteY2" fmla="*/ 3898603 h 3898603"/>
              <a:gd name="connsiteX3" fmla="*/ 0 w 2929281"/>
              <a:gd name="connsiteY3" fmla="*/ 3898603 h 3898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29281" h="3898603">
                <a:moveTo>
                  <a:pt x="0" y="0"/>
                </a:moveTo>
                <a:lnTo>
                  <a:pt x="2929281" y="0"/>
                </a:lnTo>
                <a:lnTo>
                  <a:pt x="2929281" y="3898603"/>
                </a:lnTo>
                <a:lnTo>
                  <a:pt x="0" y="3898603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57955673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3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/>
              <a:t>Put your main text he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Put your text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46803" y="2049724"/>
            <a:ext cx="5067049" cy="3166953"/>
          </a:xfrm>
          <a:custGeom>
            <a:avLst/>
            <a:gdLst>
              <a:gd name="connsiteX0" fmla="*/ 0 w 5067049"/>
              <a:gd name="connsiteY0" fmla="*/ 0 h 3166953"/>
              <a:gd name="connsiteX1" fmla="*/ 5067049 w 5067049"/>
              <a:gd name="connsiteY1" fmla="*/ 0 h 3166953"/>
              <a:gd name="connsiteX2" fmla="*/ 5067049 w 5067049"/>
              <a:gd name="connsiteY2" fmla="*/ 3166953 h 3166953"/>
              <a:gd name="connsiteX3" fmla="*/ 0 w 5067049"/>
              <a:gd name="connsiteY3" fmla="*/ 3166953 h 316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049" h="3166953">
                <a:moveTo>
                  <a:pt x="0" y="0"/>
                </a:moveTo>
                <a:lnTo>
                  <a:pt x="5067049" y="0"/>
                </a:lnTo>
                <a:lnTo>
                  <a:pt x="5067049" y="3166953"/>
                </a:lnTo>
                <a:lnTo>
                  <a:pt x="0" y="3166953"/>
                </a:ln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2854064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>
        <p:tmplLst>
          <p:tmpl lvl="1">
            <p:tnLst>
              <p:par>
                <p:cTn presetID="1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577842" y="243841"/>
            <a:ext cx="6614159" cy="6614160"/>
          </a:xfrm>
          <a:custGeom>
            <a:avLst/>
            <a:gdLst>
              <a:gd name="connsiteX0" fmla="*/ 6614159 w 6614159"/>
              <a:gd name="connsiteY0" fmla="*/ 0 h 6614160"/>
              <a:gd name="connsiteX1" fmla="*/ 6614159 w 6614159"/>
              <a:gd name="connsiteY1" fmla="*/ 3418065 h 6614160"/>
              <a:gd name="connsiteX2" fmla="*/ 3418064 w 6614159"/>
              <a:gd name="connsiteY2" fmla="*/ 6614160 h 6614160"/>
              <a:gd name="connsiteX3" fmla="*/ 0 w 6614159"/>
              <a:gd name="connsiteY3" fmla="*/ 6614160 h 6614160"/>
              <a:gd name="connsiteX4" fmla="*/ 6614159 w 6614159"/>
              <a:gd name="connsiteY4" fmla="*/ 0 h 6614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59" h="6614160">
                <a:moveTo>
                  <a:pt x="6614159" y="0"/>
                </a:moveTo>
                <a:lnTo>
                  <a:pt x="6614159" y="3418065"/>
                </a:lnTo>
                <a:cubicBezTo>
                  <a:pt x="4849004" y="3418065"/>
                  <a:pt x="3418064" y="4849006"/>
                  <a:pt x="3418064" y="6614160"/>
                </a:cubicBezTo>
                <a:lnTo>
                  <a:pt x="0" y="6614160"/>
                </a:lnTo>
                <a:cubicBezTo>
                  <a:pt x="0" y="2961260"/>
                  <a:pt x="2961259" y="0"/>
                  <a:pt x="6614159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8201044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43841"/>
            <a:ext cx="6614160" cy="6614160"/>
          </a:xfrm>
          <a:custGeom>
            <a:avLst/>
            <a:gdLst>
              <a:gd name="connsiteX0" fmla="*/ 0 w 6614160"/>
              <a:gd name="connsiteY0" fmla="*/ 0 h 6614160"/>
              <a:gd name="connsiteX1" fmla="*/ 6614160 w 6614160"/>
              <a:gd name="connsiteY1" fmla="*/ 6614160 h 6614160"/>
              <a:gd name="connsiteX2" fmla="*/ 3196095 w 6614160"/>
              <a:gd name="connsiteY2" fmla="*/ 6614160 h 6614160"/>
              <a:gd name="connsiteX3" fmla="*/ 0 w 6614160"/>
              <a:gd name="connsiteY3" fmla="*/ 3418065 h 6614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14160" h="6614160">
                <a:moveTo>
                  <a:pt x="0" y="0"/>
                </a:moveTo>
                <a:cubicBezTo>
                  <a:pt x="3652900" y="0"/>
                  <a:pt x="6614160" y="2961260"/>
                  <a:pt x="6614160" y="6614160"/>
                </a:cubicBezTo>
                <a:lnTo>
                  <a:pt x="3196095" y="6614160"/>
                </a:lnTo>
                <a:cubicBezTo>
                  <a:pt x="3196095" y="4849006"/>
                  <a:pt x="1765155" y="3418065"/>
                  <a:pt x="0" y="3418065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70134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"/>
          <p:cNvSpPr/>
          <p:nvPr userDrawn="1"/>
        </p:nvSpPr>
        <p:spPr>
          <a:xfrm>
            <a:off x="0" y="1400997"/>
            <a:ext cx="12192000" cy="5467350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26" name="Shape 2711"/>
          <p:cNvSpPr/>
          <p:nvPr userDrawn="1"/>
        </p:nvSpPr>
        <p:spPr>
          <a:xfrm>
            <a:off x="607720" y="560847"/>
            <a:ext cx="279328" cy="279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"/>
                <a:ea typeface="Source Sans Pro"/>
                <a:cs typeface="Source Sans Pro"/>
                <a:sym typeface="Source Sans Pro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11265587" y="6214352"/>
            <a:ext cx="315778" cy="315778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253025" y="6235276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9F976047-6D8B-40E5-9820-BFA42EA4E19A}" type="slidenum">
              <a:rPr lang="en-US" sz="1200" smtClean="0">
                <a:solidFill>
                  <a:schemeClr val="accent1"/>
                </a:solidFill>
                <a:latin typeface="Source Sans Pro" panose="020B0503030403020204" pitchFamily="34" charset="0"/>
              </a:rPr>
              <a:pPr algn="ctr"/>
              <a:t>‹#›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114373" y="456502"/>
            <a:ext cx="8894480" cy="486355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  <a:lvl2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2pPr>
            <a:lvl3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3pPr>
            <a:lvl4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4pPr>
            <a:lvl5pPr>
              <a:defRPr sz="3200"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5pPr>
          </a:lstStyle>
          <a:p>
            <a:pPr lvl="0"/>
            <a:r>
              <a:rPr lang="en-US" dirty="0"/>
              <a:t>Put your main text her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132569" y="942857"/>
            <a:ext cx="8876284" cy="269360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 dirty="0"/>
              <a:t>Put your text here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893735" y="2342768"/>
            <a:ext cx="1250425" cy="1670832"/>
          </a:xfrm>
          <a:prstGeom prst="round1Rect">
            <a:avLst>
              <a:gd name="adj" fmla="val 4036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433889" y="2342768"/>
            <a:ext cx="1250425" cy="1670832"/>
          </a:xfrm>
          <a:prstGeom prst="round1Rect">
            <a:avLst>
              <a:gd name="adj" fmla="val 4036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999210" y="2342768"/>
            <a:ext cx="1250425" cy="1670832"/>
          </a:xfrm>
          <a:prstGeom prst="round1Rect">
            <a:avLst>
              <a:gd name="adj" fmla="val 4036"/>
            </a:avLst>
          </a:pr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6376743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2" presetClass="entr" presetSubtype="4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#ppt_h*1.125000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  <p:animEffect transition="in" filter="wipe(up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6614160" cy="6614159"/>
          </a:xfrm>
          <a:custGeom>
            <a:avLst/>
            <a:gdLst>
              <a:gd name="connsiteX0" fmla="*/ 3196095 w 6614160"/>
              <a:gd name="connsiteY0" fmla="*/ 0 h 6614159"/>
              <a:gd name="connsiteX1" fmla="*/ 6614160 w 6614160"/>
              <a:gd name="connsiteY1" fmla="*/ 0 h 6614159"/>
              <a:gd name="connsiteX2" fmla="*/ 0 w 6614160"/>
              <a:gd name="connsiteY2" fmla="*/ 6614159 h 6614159"/>
              <a:gd name="connsiteX3" fmla="*/ 0 w 6614160"/>
              <a:gd name="connsiteY3" fmla="*/ 3196094 h 6614159"/>
              <a:gd name="connsiteX4" fmla="*/ 3196095 w 6614160"/>
              <a:gd name="connsiteY4" fmla="*/ 0 h 661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60" h="6614159">
                <a:moveTo>
                  <a:pt x="3196095" y="0"/>
                </a:moveTo>
                <a:lnTo>
                  <a:pt x="6614160" y="0"/>
                </a:lnTo>
                <a:cubicBezTo>
                  <a:pt x="6614160" y="3652899"/>
                  <a:pt x="3652900" y="6614159"/>
                  <a:pt x="0" y="6614159"/>
                </a:cubicBezTo>
                <a:lnTo>
                  <a:pt x="0" y="3196094"/>
                </a:lnTo>
                <a:cubicBezTo>
                  <a:pt x="1765155" y="3196094"/>
                  <a:pt x="3196095" y="1765154"/>
                  <a:pt x="3196095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5" name="Shape 2"/>
          <p:cNvSpPr/>
          <p:nvPr userDrawn="1"/>
        </p:nvSpPr>
        <p:spPr>
          <a:xfrm>
            <a:off x="0" y="-10347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</p:spTree>
    <p:extLst>
      <p:ext uri="{BB962C8B-B14F-4D97-AF65-F5344CB8AC3E}">
        <p14:creationId xmlns:p14="http://schemas.microsoft.com/office/powerpoint/2010/main" val="145382606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7" y="0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577842" y="1"/>
            <a:ext cx="6614159" cy="6614159"/>
          </a:xfrm>
          <a:custGeom>
            <a:avLst/>
            <a:gdLst>
              <a:gd name="connsiteX0" fmla="*/ 0 w 6614159"/>
              <a:gd name="connsiteY0" fmla="*/ 0 h 6614159"/>
              <a:gd name="connsiteX1" fmla="*/ 3418064 w 6614159"/>
              <a:gd name="connsiteY1" fmla="*/ 0 h 6614159"/>
              <a:gd name="connsiteX2" fmla="*/ 6614159 w 6614159"/>
              <a:gd name="connsiteY2" fmla="*/ 3196094 h 6614159"/>
              <a:gd name="connsiteX3" fmla="*/ 6614159 w 6614159"/>
              <a:gd name="connsiteY3" fmla="*/ 6614159 h 6614159"/>
              <a:gd name="connsiteX4" fmla="*/ 0 w 6614159"/>
              <a:gd name="connsiteY4" fmla="*/ 0 h 661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59" h="6614159">
                <a:moveTo>
                  <a:pt x="0" y="0"/>
                </a:moveTo>
                <a:lnTo>
                  <a:pt x="3418064" y="0"/>
                </a:lnTo>
                <a:cubicBezTo>
                  <a:pt x="3418064" y="1765154"/>
                  <a:pt x="4849004" y="3196094"/>
                  <a:pt x="6614159" y="3196094"/>
                </a:cubicBezTo>
                <a:lnTo>
                  <a:pt x="6614159" y="6614159"/>
                </a:lnTo>
                <a:cubicBezTo>
                  <a:pt x="2961259" y="6614159"/>
                  <a:pt x="0" y="3652899"/>
                  <a:pt x="0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6636639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Timelin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 userDrawn="1"/>
        </p:nvGrpSpPr>
        <p:grpSpPr>
          <a:xfrm>
            <a:off x="3935078" y="18080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8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9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0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2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8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9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0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2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3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4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5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6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7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0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1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2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6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7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8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9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72" name="Shape 922"/>
          <p:cNvSpPr>
            <a:spLocks noGrp="1"/>
          </p:cNvSpPr>
          <p:nvPr>
            <p:ph type="body" sz="quarter" idx="17" hasCustomPrompt="1"/>
          </p:nvPr>
        </p:nvSpPr>
        <p:spPr>
          <a:xfrm>
            <a:off x="1070321" y="1407494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grpSp>
        <p:nvGrpSpPr>
          <p:cNvPr id="77" name="Группа 76"/>
          <p:cNvGrpSpPr/>
          <p:nvPr userDrawn="1"/>
        </p:nvGrpSpPr>
        <p:grpSpPr>
          <a:xfrm flipH="1">
            <a:off x="6415077" y="18079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78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3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9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1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2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3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4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5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6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7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8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9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0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1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2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3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4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5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6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7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8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9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0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1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2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3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4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5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6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7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8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9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1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2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3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4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125" name="Shape 922"/>
          <p:cNvSpPr>
            <a:spLocks noGrp="1"/>
          </p:cNvSpPr>
          <p:nvPr>
            <p:ph type="body" sz="quarter" idx="25" hasCustomPrompt="1"/>
          </p:nvPr>
        </p:nvSpPr>
        <p:spPr>
          <a:xfrm>
            <a:off x="4648122" y="3574802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sp>
        <p:nvSpPr>
          <p:cNvPr id="128" name="Shape 922"/>
          <p:cNvSpPr>
            <a:spLocks noGrp="1"/>
          </p:cNvSpPr>
          <p:nvPr>
            <p:ph type="body" sz="quarter" idx="28" hasCustomPrompt="1"/>
          </p:nvPr>
        </p:nvSpPr>
        <p:spPr>
          <a:xfrm>
            <a:off x="8249188" y="1411355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11136014" y="1810489"/>
            <a:ext cx="1055987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Равнобедренный треугольник 3"/>
          <p:cNvSpPr/>
          <p:nvPr userDrawn="1"/>
        </p:nvSpPr>
        <p:spPr>
          <a:xfrm>
            <a:off x="7163772" y="5062598"/>
            <a:ext cx="3619162" cy="179540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29" name="Равнобедренный треугольник 128"/>
          <p:cNvSpPr/>
          <p:nvPr userDrawn="1"/>
        </p:nvSpPr>
        <p:spPr>
          <a:xfrm>
            <a:off x="9326432" y="5640738"/>
            <a:ext cx="3619162" cy="1232908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0" name="Равнобедренный треугольник 129"/>
          <p:cNvSpPr/>
          <p:nvPr userDrawn="1"/>
        </p:nvSpPr>
        <p:spPr>
          <a:xfrm>
            <a:off x="1972095" y="6456453"/>
            <a:ext cx="2560373" cy="417940"/>
          </a:xfrm>
          <a:prstGeom prst="triangle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1" name="Текст 7"/>
          <p:cNvSpPr>
            <a:spLocks noGrp="1"/>
          </p:cNvSpPr>
          <p:nvPr>
            <p:ph type="body" sz="quarter" idx="39" hasCustomPrompt="1"/>
          </p:nvPr>
        </p:nvSpPr>
        <p:spPr>
          <a:xfrm>
            <a:off x="1061406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132" name="Текст 7"/>
          <p:cNvSpPr>
            <a:spLocks noGrp="1"/>
          </p:cNvSpPr>
          <p:nvPr>
            <p:ph type="body" sz="quarter" idx="38" hasCustomPrompt="1"/>
          </p:nvPr>
        </p:nvSpPr>
        <p:spPr>
          <a:xfrm>
            <a:off x="1061406" y="3244361"/>
            <a:ext cx="2542662" cy="1267419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  <p:sp>
        <p:nvSpPr>
          <p:cNvPr id="133" name="Текст 7"/>
          <p:cNvSpPr>
            <a:spLocks noGrp="1"/>
          </p:cNvSpPr>
          <p:nvPr>
            <p:ph type="body" sz="quarter" idx="40" hasCustomPrompt="1"/>
          </p:nvPr>
        </p:nvSpPr>
        <p:spPr>
          <a:xfrm>
            <a:off x="4653514" y="4684393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134" name="Текст 7"/>
          <p:cNvSpPr>
            <a:spLocks noGrp="1"/>
          </p:cNvSpPr>
          <p:nvPr>
            <p:ph type="body" sz="quarter" idx="41" hasCustomPrompt="1"/>
          </p:nvPr>
        </p:nvSpPr>
        <p:spPr>
          <a:xfrm>
            <a:off x="4653513" y="5222005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  <p:sp>
        <p:nvSpPr>
          <p:cNvPr id="135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8263437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136" name="Текст 7"/>
          <p:cNvSpPr>
            <a:spLocks noGrp="1"/>
          </p:cNvSpPr>
          <p:nvPr>
            <p:ph type="body" sz="quarter" idx="43" hasCustomPrompt="1"/>
          </p:nvPr>
        </p:nvSpPr>
        <p:spPr>
          <a:xfrm>
            <a:off x="8263436" y="3244362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</p:spTree>
    <p:extLst>
      <p:ext uri="{BB962C8B-B14F-4D97-AF65-F5344CB8AC3E}">
        <p14:creationId xmlns:p14="http://schemas.microsoft.com/office/powerpoint/2010/main" val="39624195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Click="0" advTm="4000">
        <p15:prstTrans prst="pageCurlDouble"/>
      </p:transition>
    </mc:Choice>
    <mc:Fallback xmlns="">
      <p:transition spd="slow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6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600" fill="hold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00" fill="hold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decel="83333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9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800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800" fill="hold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1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6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600" fill="hold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00" fill="hold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8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8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8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600"/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600" fill="hold"/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00" fill="hold"/>
                                        <p:tgtEl>
                                          <p:spTgt spid="1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5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5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1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2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2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3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4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4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5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6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6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Timeline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 userDrawn="1"/>
        </p:nvGrpSpPr>
        <p:grpSpPr>
          <a:xfrm>
            <a:off x="3935078" y="18080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8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39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0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2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8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49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0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2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3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4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5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6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7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0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1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2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6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7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8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69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72" name="Shape 922"/>
          <p:cNvSpPr>
            <a:spLocks noGrp="1"/>
          </p:cNvSpPr>
          <p:nvPr>
            <p:ph type="body" sz="quarter" idx="17" hasCustomPrompt="1"/>
          </p:nvPr>
        </p:nvSpPr>
        <p:spPr>
          <a:xfrm>
            <a:off x="1070321" y="1407494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grpSp>
        <p:nvGrpSpPr>
          <p:cNvPr id="77" name="Группа 76"/>
          <p:cNvGrpSpPr/>
          <p:nvPr userDrawn="1"/>
        </p:nvGrpSpPr>
        <p:grpSpPr>
          <a:xfrm flipH="1">
            <a:off x="6415077" y="1807976"/>
            <a:ext cx="1440348" cy="1413732"/>
            <a:chOff x="10456863" y="5253038"/>
            <a:chExt cx="3206750" cy="3173412"/>
          </a:xfrm>
          <a:solidFill>
            <a:schemeClr val="bg1"/>
          </a:solidFill>
        </p:grpSpPr>
        <p:sp>
          <p:nvSpPr>
            <p:cNvPr id="78" name="Freeform 5"/>
            <p:cNvSpPr>
              <a:spLocks/>
            </p:cNvSpPr>
            <p:nvPr/>
          </p:nvSpPr>
          <p:spPr bwMode="auto">
            <a:xfrm>
              <a:off x="10456863" y="5253038"/>
              <a:ext cx="41275" cy="22225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14 w 26"/>
                <a:gd name="T5" fmla="*/ 0 h 14"/>
                <a:gd name="T6" fmla="*/ 0 w 26"/>
                <a:gd name="T7" fmla="*/ 0 h 14"/>
                <a:gd name="T8" fmla="*/ 0 w 26"/>
                <a:gd name="T9" fmla="*/ 12 h 14"/>
                <a:gd name="T10" fmla="*/ 14 w 26"/>
                <a:gd name="T11" fmla="*/ 12 h 14"/>
                <a:gd name="T12" fmla="*/ 26 w 26"/>
                <a:gd name="T13" fmla="*/ 14 h 14"/>
                <a:gd name="T14" fmla="*/ 26 w 26"/>
                <a:gd name="T15" fmla="*/ 14 h 14"/>
                <a:gd name="T16" fmla="*/ 26 w 26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4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10561638" y="5253038"/>
              <a:ext cx="46038" cy="22225"/>
            </a:xfrm>
            <a:custGeom>
              <a:avLst/>
              <a:gdLst>
                <a:gd name="T0" fmla="*/ 29 w 29"/>
                <a:gd name="T1" fmla="*/ 2 h 14"/>
                <a:gd name="T2" fmla="*/ 24 w 29"/>
                <a:gd name="T3" fmla="*/ 2 h 14"/>
                <a:gd name="T4" fmla="*/ 12 w 29"/>
                <a:gd name="T5" fmla="*/ 0 h 14"/>
                <a:gd name="T6" fmla="*/ 3 w 29"/>
                <a:gd name="T7" fmla="*/ 0 h 14"/>
                <a:gd name="T8" fmla="*/ 0 w 29"/>
                <a:gd name="T9" fmla="*/ 14 h 14"/>
                <a:gd name="T10" fmla="*/ 12 w 29"/>
                <a:gd name="T11" fmla="*/ 14 h 14"/>
                <a:gd name="T12" fmla="*/ 24 w 29"/>
                <a:gd name="T13" fmla="*/ 14 h 14"/>
                <a:gd name="T14" fmla="*/ 29 w 29"/>
                <a:gd name="T15" fmla="*/ 14 h 14"/>
                <a:gd name="T16" fmla="*/ 29 w 29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2"/>
                  </a:moveTo>
                  <a:lnTo>
                    <a:pt x="24" y="2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1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10671176" y="5260975"/>
              <a:ext cx="46038" cy="22225"/>
            </a:xfrm>
            <a:custGeom>
              <a:avLst/>
              <a:gdLst>
                <a:gd name="T0" fmla="*/ 29 w 29"/>
                <a:gd name="T1" fmla="*/ 0 h 14"/>
                <a:gd name="T2" fmla="*/ 21 w 29"/>
                <a:gd name="T3" fmla="*/ 0 h 14"/>
                <a:gd name="T4" fmla="*/ 7 w 29"/>
                <a:gd name="T5" fmla="*/ 0 h 14"/>
                <a:gd name="T6" fmla="*/ 0 w 29"/>
                <a:gd name="T7" fmla="*/ 0 h 14"/>
                <a:gd name="T8" fmla="*/ 0 w 29"/>
                <a:gd name="T9" fmla="*/ 12 h 14"/>
                <a:gd name="T10" fmla="*/ 7 w 29"/>
                <a:gd name="T11" fmla="*/ 12 h 14"/>
                <a:gd name="T12" fmla="*/ 19 w 29"/>
                <a:gd name="T13" fmla="*/ 14 h 14"/>
                <a:gd name="T14" fmla="*/ 26 w 29"/>
                <a:gd name="T15" fmla="*/ 14 h 14"/>
                <a:gd name="T16" fmla="*/ 29 w 29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4">
                  <a:moveTo>
                    <a:pt x="29" y="0"/>
                  </a:moveTo>
                  <a:lnTo>
                    <a:pt x="21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10775951" y="5268913"/>
              <a:ext cx="46038" cy="25400"/>
            </a:xfrm>
            <a:custGeom>
              <a:avLst/>
              <a:gdLst>
                <a:gd name="T0" fmla="*/ 29 w 29"/>
                <a:gd name="T1" fmla="*/ 2 h 16"/>
                <a:gd name="T2" fmla="*/ 19 w 29"/>
                <a:gd name="T3" fmla="*/ 2 h 16"/>
                <a:gd name="T4" fmla="*/ 5 w 29"/>
                <a:gd name="T5" fmla="*/ 0 h 16"/>
                <a:gd name="T6" fmla="*/ 3 w 29"/>
                <a:gd name="T7" fmla="*/ 0 h 16"/>
                <a:gd name="T8" fmla="*/ 0 w 29"/>
                <a:gd name="T9" fmla="*/ 14 h 16"/>
                <a:gd name="T10" fmla="*/ 5 w 29"/>
                <a:gd name="T11" fmla="*/ 14 h 16"/>
                <a:gd name="T12" fmla="*/ 17 w 29"/>
                <a:gd name="T13" fmla="*/ 14 h 16"/>
                <a:gd name="T14" fmla="*/ 29 w 29"/>
                <a:gd name="T15" fmla="*/ 16 h 16"/>
                <a:gd name="T16" fmla="*/ 29 w 29"/>
                <a:gd name="T1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6">
                  <a:moveTo>
                    <a:pt x="29" y="2"/>
                  </a:moveTo>
                  <a:lnTo>
                    <a:pt x="1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4"/>
                  </a:lnTo>
                  <a:lnTo>
                    <a:pt x="29" y="16"/>
                  </a:lnTo>
                  <a:lnTo>
                    <a:pt x="2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10885488" y="5280025"/>
              <a:ext cx="46038" cy="30162"/>
            </a:xfrm>
            <a:custGeom>
              <a:avLst/>
              <a:gdLst>
                <a:gd name="T0" fmla="*/ 29 w 29"/>
                <a:gd name="T1" fmla="*/ 4 h 19"/>
                <a:gd name="T2" fmla="*/ 26 w 29"/>
                <a:gd name="T3" fmla="*/ 4 h 19"/>
                <a:gd name="T4" fmla="*/ 12 w 29"/>
                <a:gd name="T5" fmla="*/ 2 h 19"/>
                <a:gd name="T6" fmla="*/ 0 w 29"/>
                <a:gd name="T7" fmla="*/ 0 h 19"/>
                <a:gd name="T8" fmla="*/ 0 w 29"/>
                <a:gd name="T9" fmla="*/ 14 h 19"/>
                <a:gd name="T10" fmla="*/ 10 w 29"/>
                <a:gd name="T11" fmla="*/ 16 h 19"/>
                <a:gd name="T12" fmla="*/ 24 w 29"/>
                <a:gd name="T13" fmla="*/ 16 h 19"/>
                <a:gd name="T14" fmla="*/ 26 w 29"/>
                <a:gd name="T15" fmla="*/ 19 h 19"/>
                <a:gd name="T16" fmla="*/ 29 w 29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9">
                  <a:moveTo>
                    <a:pt x="29" y="4"/>
                  </a:moveTo>
                  <a:lnTo>
                    <a:pt x="26" y="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4" y="16"/>
                  </a:lnTo>
                  <a:lnTo>
                    <a:pt x="26" y="19"/>
                  </a:lnTo>
                  <a:lnTo>
                    <a:pt x="2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3" name="Freeform 10"/>
            <p:cNvSpPr>
              <a:spLocks/>
            </p:cNvSpPr>
            <p:nvPr/>
          </p:nvSpPr>
          <p:spPr bwMode="auto">
            <a:xfrm>
              <a:off x="10991851" y="5297488"/>
              <a:ext cx="44450" cy="26987"/>
            </a:xfrm>
            <a:custGeom>
              <a:avLst/>
              <a:gdLst>
                <a:gd name="T0" fmla="*/ 28 w 28"/>
                <a:gd name="T1" fmla="*/ 5 h 17"/>
                <a:gd name="T2" fmla="*/ 21 w 28"/>
                <a:gd name="T3" fmla="*/ 3 h 17"/>
                <a:gd name="T4" fmla="*/ 9 w 28"/>
                <a:gd name="T5" fmla="*/ 0 h 17"/>
                <a:gd name="T6" fmla="*/ 2 w 28"/>
                <a:gd name="T7" fmla="*/ 0 h 17"/>
                <a:gd name="T8" fmla="*/ 0 w 28"/>
                <a:gd name="T9" fmla="*/ 12 h 17"/>
                <a:gd name="T10" fmla="*/ 7 w 28"/>
                <a:gd name="T11" fmla="*/ 15 h 17"/>
                <a:gd name="T12" fmla="*/ 19 w 28"/>
                <a:gd name="T13" fmla="*/ 17 h 17"/>
                <a:gd name="T14" fmla="*/ 26 w 28"/>
                <a:gd name="T15" fmla="*/ 17 h 17"/>
                <a:gd name="T16" fmla="*/ 28 w 28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7">
                  <a:moveTo>
                    <a:pt x="28" y="5"/>
                  </a:moveTo>
                  <a:lnTo>
                    <a:pt x="21" y="3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7" y="15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11096626" y="5316538"/>
              <a:ext cx="44450" cy="30162"/>
            </a:xfrm>
            <a:custGeom>
              <a:avLst/>
              <a:gdLst>
                <a:gd name="T0" fmla="*/ 28 w 28"/>
                <a:gd name="T1" fmla="*/ 5 h 19"/>
                <a:gd name="T2" fmla="*/ 17 w 28"/>
                <a:gd name="T3" fmla="*/ 3 h 19"/>
                <a:gd name="T4" fmla="*/ 5 w 28"/>
                <a:gd name="T5" fmla="*/ 0 h 19"/>
                <a:gd name="T6" fmla="*/ 2 w 28"/>
                <a:gd name="T7" fmla="*/ 0 h 19"/>
                <a:gd name="T8" fmla="*/ 0 w 28"/>
                <a:gd name="T9" fmla="*/ 12 h 19"/>
                <a:gd name="T10" fmla="*/ 2 w 28"/>
                <a:gd name="T11" fmla="*/ 15 h 19"/>
                <a:gd name="T12" fmla="*/ 14 w 28"/>
                <a:gd name="T13" fmla="*/ 17 h 19"/>
                <a:gd name="T14" fmla="*/ 26 w 28"/>
                <a:gd name="T15" fmla="*/ 19 h 19"/>
                <a:gd name="T16" fmla="*/ 28 w 28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28" y="5"/>
                  </a:moveTo>
                  <a:lnTo>
                    <a:pt x="1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4" y="17"/>
                  </a:lnTo>
                  <a:lnTo>
                    <a:pt x="26" y="19"/>
                  </a:lnTo>
                  <a:lnTo>
                    <a:pt x="2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11198226" y="5340350"/>
              <a:ext cx="49213" cy="30162"/>
            </a:xfrm>
            <a:custGeom>
              <a:avLst/>
              <a:gdLst>
                <a:gd name="T0" fmla="*/ 31 w 31"/>
                <a:gd name="T1" fmla="*/ 7 h 19"/>
                <a:gd name="T2" fmla="*/ 26 w 31"/>
                <a:gd name="T3" fmla="*/ 4 h 19"/>
                <a:gd name="T4" fmla="*/ 14 w 31"/>
                <a:gd name="T5" fmla="*/ 2 h 19"/>
                <a:gd name="T6" fmla="*/ 5 w 31"/>
                <a:gd name="T7" fmla="*/ 0 h 19"/>
                <a:gd name="T8" fmla="*/ 0 w 31"/>
                <a:gd name="T9" fmla="*/ 14 h 19"/>
                <a:gd name="T10" fmla="*/ 10 w 31"/>
                <a:gd name="T11" fmla="*/ 16 h 19"/>
                <a:gd name="T12" fmla="*/ 21 w 31"/>
                <a:gd name="T13" fmla="*/ 19 h 19"/>
                <a:gd name="T14" fmla="*/ 28 w 31"/>
                <a:gd name="T15" fmla="*/ 19 h 19"/>
                <a:gd name="T16" fmla="*/ 31 w 31"/>
                <a:gd name="T1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">
                  <a:moveTo>
                    <a:pt x="31" y="7"/>
                  </a:moveTo>
                  <a:lnTo>
                    <a:pt x="26" y="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0" y="16"/>
                  </a:lnTo>
                  <a:lnTo>
                    <a:pt x="21" y="19"/>
                  </a:lnTo>
                  <a:lnTo>
                    <a:pt x="28" y="19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11303001" y="5365750"/>
              <a:ext cx="49213" cy="34925"/>
            </a:xfrm>
            <a:custGeom>
              <a:avLst/>
              <a:gdLst>
                <a:gd name="T0" fmla="*/ 31 w 31"/>
                <a:gd name="T1" fmla="*/ 7 h 22"/>
                <a:gd name="T2" fmla="*/ 19 w 31"/>
                <a:gd name="T3" fmla="*/ 5 h 22"/>
                <a:gd name="T4" fmla="*/ 8 w 31"/>
                <a:gd name="T5" fmla="*/ 3 h 22"/>
                <a:gd name="T6" fmla="*/ 5 w 31"/>
                <a:gd name="T7" fmla="*/ 0 h 22"/>
                <a:gd name="T8" fmla="*/ 0 w 31"/>
                <a:gd name="T9" fmla="*/ 14 h 22"/>
                <a:gd name="T10" fmla="*/ 5 w 31"/>
                <a:gd name="T11" fmla="*/ 14 h 22"/>
                <a:gd name="T12" fmla="*/ 17 w 31"/>
                <a:gd name="T13" fmla="*/ 19 h 22"/>
                <a:gd name="T14" fmla="*/ 26 w 31"/>
                <a:gd name="T15" fmla="*/ 22 h 22"/>
                <a:gd name="T16" fmla="*/ 31 w 31"/>
                <a:gd name="T1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2">
                  <a:moveTo>
                    <a:pt x="31" y="7"/>
                  </a:moveTo>
                  <a:lnTo>
                    <a:pt x="19" y="5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2"/>
                  </a:lnTo>
                  <a:lnTo>
                    <a:pt x="3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11404601" y="5395913"/>
              <a:ext cx="49213" cy="33337"/>
            </a:xfrm>
            <a:custGeom>
              <a:avLst/>
              <a:gdLst>
                <a:gd name="T0" fmla="*/ 31 w 31"/>
                <a:gd name="T1" fmla="*/ 10 h 21"/>
                <a:gd name="T2" fmla="*/ 27 w 31"/>
                <a:gd name="T3" fmla="*/ 7 h 21"/>
                <a:gd name="T4" fmla="*/ 15 w 31"/>
                <a:gd name="T5" fmla="*/ 5 h 21"/>
                <a:gd name="T6" fmla="*/ 5 w 31"/>
                <a:gd name="T7" fmla="*/ 0 h 21"/>
                <a:gd name="T8" fmla="*/ 0 w 31"/>
                <a:gd name="T9" fmla="*/ 14 h 21"/>
                <a:gd name="T10" fmla="*/ 12 w 31"/>
                <a:gd name="T11" fmla="*/ 17 h 21"/>
                <a:gd name="T12" fmla="*/ 24 w 31"/>
                <a:gd name="T13" fmla="*/ 21 h 21"/>
                <a:gd name="T14" fmla="*/ 27 w 31"/>
                <a:gd name="T15" fmla="*/ 21 h 21"/>
                <a:gd name="T16" fmla="*/ 31 w 31"/>
                <a:gd name="T1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1">
                  <a:moveTo>
                    <a:pt x="31" y="10"/>
                  </a:moveTo>
                  <a:lnTo>
                    <a:pt x="27" y="7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2" y="17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11506201" y="54292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2 w 31"/>
                <a:gd name="T3" fmla="*/ 8 h 24"/>
                <a:gd name="T4" fmla="*/ 10 w 31"/>
                <a:gd name="T5" fmla="*/ 3 h 24"/>
                <a:gd name="T6" fmla="*/ 5 w 31"/>
                <a:gd name="T7" fmla="*/ 0 h 24"/>
                <a:gd name="T8" fmla="*/ 0 w 31"/>
                <a:gd name="T9" fmla="*/ 15 h 24"/>
                <a:gd name="T10" fmla="*/ 5 w 31"/>
                <a:gd name="T11" fmla="*/ 15 h 24"/>
                <a:gd name="T12" fmla="*/ 17 w 31"/>
                <a:gd name="T13" fmla="*/ 19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2" y="8"/>
                  </a:lnTo>
                  <a:lnTo>
                    <a:pt x="10" y="3"/>
                  </a:lnTo>
                  <a:lnTo>
                    <a:pt x="5" y="0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17" y="19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89" name="Freeform 16"/>
            <p:cNvSpPr>
              <a:spLocks/>
            </p:cNvSpPr>
            <p:nvPr/>
          </p:nvSpPr>
          <p:spPr bwMode="auto">
            <a:xfrm>
              <a:off x="11607801" y="5467350"/>
              <a:ext cx="49213" cy="38100"/>
            </a:xfrm>
            <a:custGeom>
              <a:avLst/>
              <a:gdLst>
                <a:gd name="T0" fmla="*/ 31 w 31"/>
                <a:gd name="T1" fmla="*/ 10 h 24"/>
                <a:gd name="T2" fmla="*/ 27 w 31"/>
                <a:gd name="T3" fmla="*/ 10 h 24"/>
                <a:gd name="T4" fmla="*/ 15 w 31"/>
                <a:gd name="T5" fmla="*/ 5 h 24"/>
                <a:gd name="T6" fmla="*/ 5 w 31"/>
                <a:gd name="T7" fmla="*/ 0 h 24"/>
                <a:gd name="T8" fmla="*/ 0 w 31"/>
                <a:gd name="T9" fmla="*/ 12 h 24"/>
                <a:gd name="T10" fmla="*/ 10 w 31"/>
                <a:gd name="T11" fmla="*/ 17 h 24"/>
                <a:gd name="T12" fmla="*/ 22 w 31"/>
                <a:gd name="T13" fmla="*/ 22 h 24"/>
                <a:gd name="T14" fmla="*/ 27 w 31"/>
                <a:gd name="T15" fmla="*/ 24 h 24"/>
                <a:gd name="T16" fmla="*/ 31 w 31"/>
                <a:gd name="T1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0"/>
                  </a:moveTo>
                  <a:lnTo>
                    <a:pt x="27" y="10"/>
                  </a:lnTo>
                  <a:lnTo>
                    <a:pt x="15" y="5"/>
                  </a:lnTo>
                  <a:lnTo>
                    <a:pt x="5" y="0"/>
                  </a:lnTo>
                  <a:lnTo>
                    <a:pt x="0" y="12"/>
                  </a:lnTo>
                  <a:lnTo>
                    <a:pt x="10" y="17"/>
                  </a:lnTo>
                  <a:lnTo>
                    <a:pt x="22" y="22"/>
                  </a:lnTo>
                  <a:lnTo>
                    <a:pt x="27" y="24"/>
                  </a:lnTo>
                  <a:lnTo>
                    <a:pt x="3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auto">
            <a:xfrm>
              <a:off x="11706226" y="5508625"/>
              <a:ext cx="49213" cy="38100"/>
            </a:xfrm>
            <a:custGeom>
              <a:avLst/>
              <a:gdLst>
                <a:gd name="T0" fmla="*/ 31 w 31"/>
                <a:gd name="T1" fmla="*/ 12 h 24"/>
                <a:gd name="T2" fmla="*/ 21 w 31"/>
                <a:gd name="T3" fmla="*/ 7 h 24"/>
                <a:gd name="T4" fmla="*/ 10 w 31"/>
                <a:gd name="T5" fmla="*/ 3 h 24"/>
                <a:gd name="T6" fmla="*/ 7 w 31"/>
                <a:gd name="T7" fmla="*/ 0 h 24"/>
                <a:gd name="T8" fmla="*/ 0 w 31"/>
                <a:gd name="T9" fmla="*/ 12 h 24"/>
                <a:gd name="T10" fmla="*/ 5 w 31"/>
                <a:gd name="T11" fmla="*/ 14 h 24"/>
                <a:gd name="T12" fmla="*/ 17 w 31"/>
                <a:gd name="T13" fmla="*/ 19 h 24"/>
                <a:gd name="T14" fmla="*/ 26 w 31"/>
                <a:gd name="T15" fmla="*/ 24 h 24"/>
                <a:gd name="T16" fmla="*/ 31 w 31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">
                  <a:moveTo>
                    <a:pt x="31" y="12"/>
                  </a:moveTo>
                  <a:lnTo>
                    <a:pt x="21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5" y="14"/>
                  </a:lnTo>
                  <a:lnTo>
                    <a:pt x="17" y="19"/>
                  </a:lnTo>
                  <a:lnTo>
                    <a:pt x="26" y="24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1" name="Freeform 18"/>
            <p:cNvSpPr>
              <a:spLocks/>
            </p:cNvSpPr>
            <p:nvPr/>
          </p:nvSpPr>
          <p:spPr bwMode="auto">
            <a:xfrm>
              <a:off x="11804651" y="5554663"/>
              <a:ext cx="49213" cy="36512"/>
            </a:xfrm>
            <a:custGeom>
              <a:avLst/>
              <a:gdLst>
                <a:gd name="T0" fmla="*/ 31 w 31"/>
                <a:gd name="T1" fmla="*/ 12 h 23"/>
                <a:gd name="T2" fmla="*/ 26 w 31"/>
                <a:gd name="T3" fmla="*/ 9 h 23"/>
                <a:gd name="T4" fmla="*/ 16 w 31"/>
                <a:gd name="T5" fmla="*/ 4 h 23"/>
                <a:gd name="T6" fmla="*/ 7 w 31"/>
                <a:gd name="T7" fmla="*/ 0 h 23"/>
                <a:gd name="T8" fmla="*/ 0 w 31"/>
                <a:gd name="T9" fmla="*/ 12 h 23"/>
                <a:gd name="T10" fmla="*/ 9 w 31"/>
                <a:gd name="T11" fmla="*/ 16 h 23"/>
                <a:gd name="T12" fmla="*/ 21 w 31"/>
                <a:gd name="T13" fmla="*/ 21 h 23"/>
                <a:gd name="T14" fmla="*/ 26 w 31"/>
                <a:gd name="T15" fmla="*/ 23 h 23"/>
                <a:gd name="T16" fmla="*/ 31 w 31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31" y="12"/>
                  </a:moveTo>
                  <a:lnTo>
                    <a:pt x="26" y="9"/>
                  </a:lnTo>
                  <a:lnTo>
                    <a:pt x="16" y="4"/>
                  </a:lnTo>
                  <a:lnTo>
                    <a:pt x="7" y="0"/>
                  </a:lnTo>
                  <a:lnTo>
                    <a:pt x="0" y="12"/>
                  </a:lnTo>
                  <a:lnTo>
                    <a:pt x="9" y="16"/>
                  </a:lnTo>
                  <a:lnTo>
                    <a:pt x="21" y="21"/>
                  </a:lnTo>
                  <a:lnTo>
                    <a:pt x="26" y="23"/>
                  </a:lnTo>
                  <a:lnTo>
                    <a:pt x="3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2" name="Freeform 19"/>
            <p:cNvSpPr>
              <a:spLocks/>
            </p:cNvSpPr>
            <p:nvPr/>
          </p:nvSpPr>
          <p:spPr bwMode="auto">
            <a:xfrm>
              <a:off x="11901488" y="5599113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2 w 31"/>
                <a:gd name="T3" fmla="*/ 7 h 26"/>
                <a:gd name="T4" fmla="*/ 10 w 31"/>
                <a:gd name="T5" fmla="*/ 3 h 26"/>
                <a:gd name="T6" fmla="*/ 7 w 31"/>
                <a:gd name="T7" fmla="*/ 0 h 26"/>
                <a:gd name="T8" fmla="*/ 0 w 31"/>
                <a:gd name="T9" fmla="*/ 12 h 26"/>
                <a:gd name="T10" fmla="*/ 3 w 31"/>
                <a:gd name="T11" fmla="*/ 14 h 26"/>
                <a:gd name="T12" fmla="*/ 15 w 31"/>
                <a:gd name="T13" fmla="*/ 19 h 26"/>
                <a:gd name="T14" fmla="*/ 24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2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15" y="19"/>
                  </a:lnTo>
                  <a:lnTo>
                    <a:pt x="24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3" name="Freeform 20"/>
            <p:cNvSpPr>
              <a:spLocks/>
            </p:cNvSpPr>
            <p:nvPr/>
          </p:nvSpPr>
          <p:spPr bwMode="auto">
            <a:xfrm>
              <a:off x="11996738" y="5651500"/>
              <a:ext cx="47625" cy="38100"/>
            </a:xfrm>
            <a:custGeom>
              <a:avLst/>
              <a:gdLst>
                <a:gd name="T0" fmla="*/ 30 w 30"/>
                <a:gd name="T1" fmla="*/ 12 h 24"/>
                <a:gd name="T2" fmla="*/ 26 w 30"/>
                <a:gd name="T3" fmla="*/ 10 h 24"/>
                <a:gd name="T4" fmla="*/ 14 w 30"/>
                <a:gd name="T5" fmla="*/ 5 h 24"/>
                <a:gd name="T6" fmla="*/ 7 w 30"/>
                <a:gd name="T7" fmla="*/ 0 h 24"/>
                <a:gd name="T8" fmla="*/ 0 w 30"/>
                <a:gd name="T9" fmla="*/ 12 h 24"/>
                <a:gd name="T10" fmla="*/ 7 w 30"/>
                <a:gd name="T11" fmla="*/ 17 h 24"/>
                <a:gd name="T12" fmla="*/ 19 w 30"/>
                <a:gd name="T13" fmla="*/ 22 h 24"/>
                <a:gd name="T14" fmla="*/ 23 w 30"/>
                <a:gd name="T15" fmla="*/ 24 h 24"/>
                <a:gd name="T16" fmla="*/ 30 w 30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30" y="12"/>
                  </a:moveTo>
                  <a:lnTo>
                    <a:pt x="26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4" name="Freeform 21"/>
            <p:cNvSpPr>
              <a:spLocks/>
            </p:cNvSpPr>
            <p:nvPr/>
          </p:nvSpPr>
          <p:spPr bwMode="auto">
            <a:xfrm>
              <a:off x="12090401" y="5705475"/>
              <a:ext cx="44450" cy="41275"/>
            </a:xfrm>
            <a:custGeom>
              <a:avLst/>
              <a:gdLst>
                <a:gd name="T0" fmla="*/ 28 w 28"/>
                <a:gd name="T1" fmla="*/ 14 h 26"/>
                <a:gd name="T2" fmla="*/ 28 w 28"/>
                <a:gd name="T3" fmla="*/ 14 h 26"/>
                <a:gd name="T4" fmla="*/ 19 w 28"/>
                <a:gd name="T5" fmla="*/ 7 h 26"/>
                <a:gd name="T6" fmla="*/ 7 w 28"/>
                <a:gd name="T7" fmla="*/ 2 h 26"/>
                <a:gd name="T8" fmla="*/ 7 w 28"/>
                <a:gd name="T9" fmla="*/ 0 h 26"/>
                <a:gd name="T10" fmla="*/ 0 w 28"/>
                <a:gd name="T11" fmla="*/ 11 h 26"/>
                <a:gd name="T12" fmla="*/ 2 w 28"/>
                <a:gd name="T13" fmla="*/ 11 h 26"/>
                <a:gd name="T14" fmla="*/ 12 w 28"/>
                <a:gd name="T15" fmla="*/ 19 h 26"/>
                <a:gd name="T16" fmla="*/ 21 w 28"/>
                <a:gd name="T17" fmla="*/ 26 h 26"/>
                <a:gd name="T18" fmla="*/ 21 w 28"/>
                <a:gd name="T19" fmla="*/ 26 h 26"/>
                <a:gd name="T20" fmla="*/ 28 w 28"/>
                <a:gd name="T2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4"/>
                  </a:moveTo>
                  <a:lnTo>
                    <a:pt x="28" y="14"/>
                  </a:lnTo>
                  <a:lnTo>
                    <a:pt x="19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5" name="Freeform 22"/>
            <p:cNvSpPr>
              <a:spLocks/>
            </p:cNvSpPr>
            <p:nvPr/>
          </p:nvSpPr>
          <p:spPr bwMode="auto">
            <a:xfrm>
              <a:off x="12180888" y="5761038"/>
              <a:ext cx="49213" cy="41275"/>
            </a:xfrm>
            <a:custGeom>
              <a:avLst/>
              <a:gdLst>
                <a:gd name="T0" fmla="*/ 31 w 31"/>
                <a:gd name="T1" fmla="*/ 14 h 26"/>
                <a:gd name="T2" fmla="*/ 24 w 31"/>
                <a:gd name="T3" fmla="*/ 12 h 26"/>
                <a:gd name="T4" fmla="*/ 14 w 31"/>
                <a:gd name="T5" fmla="*/ 5 h 26"/>
                <a:gd name="T6" fmla="*/ 7 w 31"/>
                <a:gd name="T7" fmla="*/ 0 h 26"/>
                <a:gd name="T8" fmla="*/ 0 w 31"/>
                <a:gd name="T9" fmla="*/ 12 h 26"/>
                <a:gd name="T10" fmla="*/ 7 w 31"/>
                <a:gd name="T11" fmla="*/ 17 h 26"/>
                <a:gd name="T12" fmla="*/ 16 w 31"/>
                <a:gd name="T13" fmla="*/ 21 h 26"/>
                <a:gd name="T14" fmla="*/ 21 w 31"/>
                <a:gd name="T15" fmla="*/ 26 h 26"/>
                <a:gd name="T16" fmla="*/ 31 w 31"/>
                <a:gd name="T1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6">
                  <a:moveTo>
                    <a:pt x="31" y="14"/>
                  </a:moveTo>
                  <a:lnTo>
                    <a:pt x="24" y="12"/>
                  </a:lnTo>
                  <a:lnTo>
                    <a:pt x="14" y="5"/>
                  </a:lnTo>
                  <a:lnTo>
                    <a:pt x="7" y="0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16" y="21"/>
                  </a:lnTo>
                  <a:lnTo>
                    <a:pt x="21" y="26"/>
                  </a:lnTo>
                  <a:lnTo>
                    <a:pt x="3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6" name="Freeform 23"/>
            <p:cNvSpPr>
              <a:spLocks/>
            </p:cNvSpPr>
            <p:nvPr/>
          </p:nvSpPr>
          <p:spPr bwMode="auto">
            <a:xfrm>
              <a:off x="12271376" y="5821363"/>
              <a:ext cx="44450" cy="41275"/>
            </a:xfrm>
            <a:custGeom>
              <a:avLst/>
              <a:gdLst>
                <a:gd name="T0" fmla="*/ 28 w 28"/>
                <a:gd name="T1" fmla="*/ 17 h 26"/>
                <a:gd name="T2" fmla="*/ 26 w 28"/>
                <a:gd name="T3" fmla="*/ 14 h 26"/>
                <a:gd name="T4" fmla="*/ 16 w 28"/>
                <a:gd name="T5" fmla="*/ 7 h 26"/>
                <a:gd name="T6" fmla="*/ 7 w 28"/>
                <a:gd name="T7" fmla="*/ 0 h 26"/>
                <a:gd name="T8" fmla="*/ 7 w 28"/>
                <a:gd name="T9" fmla="*/ 0 h 26"/>
                <a:gd name="T10" fmla="*/ 0 w 28"/>
                <a:gd name="T11" fmla="*/ 12 h 26"/>
                <a:gd name="T12" fmla="*/ 0 w 28"/>
                <a:gd name="T13" fmla="*/ 12 h 26"/>
                <a:gd name="T14" fmla="*/ 9 w 28"/>
                <a:gd name="T15" fmla="*/ 19 h 26"/>
                <a:gd name="T16" fmla="*/ 19 w 28"/>
                <a:gd name="T17" fmla="*/ 26 h 26"/>
                <a:gd name="T18" fmla="*/ 21 w 28"/>
                <a:gd name="T19" fmla="*/ 26 h 26"/>
                <a:gd name="T20" fmla="*/ 28 w 28"/>
                <a:gd name="T2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17"/>
                  </a:moveTo>
                  <a:lnTo>
                    <a:pt x="26" y="14"/>
                  </a:lnTo>
                  <a:lnTo>
                    <a:pt x="16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9" y="1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7" name="Freeform 24"/>
            <p:cNvSpPr>
              <a:spLocks/>
            </p:cNvSpPr>
            <p:nvPr/>
          </p:nvSpPr>
          <p:spPr bwMode="auto">
            <a:xfrm>
              <a:off x="12357101" y="5884863"/>
              <a:ext cx="46038" cy="41275"/>
            </a:xfrm>
            <a:custGeom>
              <a:avLst/>
              <a:gdLst>
                <a:gd name="T0" fmla="*/ 29 w 29"/>
                <a:gd name="T1" fmla="*/ 17 h 26"/>
                <a:gd name="T2" fmla="*/ 22 w 29"/>
                <a:gd name="T3" fmla="*/ 10 h 26"/>
                <a:gd name="T4" fmla="*/ 12 w 29"/>
                <a:gd name="T5" fmla="*/ 3 h 26"/>
                <a:gd name="T6" fmla="*/ 7 w 29"/>
                <a:gd name="T7" fmla="*/ 0 h 26"/>
                <a:gd name="T8" fmla="*/ 0 w 29"/>
                <a:gd name="T9" fmla="*/ 10 h 26"/>
                <a:gd name="T10" fmla="*/ 3 w 29"/>
                <a:gd name="T11" fmla="*/ 15 h 26"/>
                <a:gd name="T12" fmla="*/ 14 w 29"/>
                <a:gd name="T13" fmla="*/ 22 h 26"/>
                <a:gd name="T14" fmla="*/ 22 w 29"/>
                <a:gd name="T15" fmla="*/ 26 h 26"/>
                <a:gd name="T16" fmla="*/ 29 w 29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6">
                  <a:moveTo>
                    <a:pt x="29" y="17"/>
                  </a:moveTo>
                  <a:lnTo>
                    <a:pt x="22" y="10"/>
                  </a:lnTo>
                  <a:lnTo>
                    <a:pt x="12" y="3"/>
                  </a:lnTo>
                  <a:lnTo>
                    <a:pt x="7" y="0"/>
                  </a:lnTo>
                  <a:lnTo>
                    <a:pt x="0" y="10"/>
                  </a:lnTo>
                  <a:lnTo>
                    <a:pt x="3" y="15"/>
                  </a:lnTo>
                  <a:lnTo>
                    <a:pt x="14" y="22"/>
                  </a:lnTo>
                  <a:lnTo>
                    <a:pt x="22" y="26"/>
                  </a:ln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8" name="Freeform 25"/>
            <p:cNvSpPr>
              <a:spLocks/>
            </p:cNvSpPr>
            <p:nvPr/>
          </p:nvSpPr>
          <p:spPr bwMode="auto">
            <a:xfrm>
              <a:off x="12439651" y="5949950"/>
              <a:ext cx="49213" cy="44450"/>
            </a:xfrm>
            <a:custGeom>
              <a:avLst/>
              <a:gdLst>
                <a:gd name="T0" fmla="*/ 31 w 31"/>
                <a:gd name="T1" fmla="*/ 19 h 28"/>
                <a:gd name="T2" fmla="*/ 27 w 31"/>
                <a:gd name="T3" fmla="*/ 14 h 28"/>
                <a:gd name="T4" fmla="*/ 17 w 31"/>
                <a:gd name="T5" fmla="*/ 7 h 28"/>
                <a:gd name="T6" fmla="*/ 10 w 31"/>
                <a:gd name="T7" fmla="*/ 0 h 28"/>
                <a:gd name="T8" fmla="*/ 0 w 31"/>
                <a:gd name="T9" fmla="*/ 12 h 28"/>
                <a:gd name="T10" fmla="*/ 10 w 31"/>
                <a:gd name="T11" fmla="*/ 16 h 28"/>
                <a:gd name="T12" fmla="*/ 17 w 31"/>
                <a:gd name="T13" fmla="*/ 26 h 28"/>
                <a:gd name="T14" fmla="*/ 22 w 31"/>
                <a:gd name="T15" fmla="*/ 28 h 28"/>
                <a:gd name="T16" fmla="*/ 31 w 31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8">
                  <a:moveTo>
                    <a:pt x="31" y="19"/>
                  </a:moveTo>
                  <a:lnTo>
                    <a:pt x="27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7" y="26"/>
                  </a:lnTo>
                  <a:lnTo>
                    <a:pt x="22" y="28"/>
                  </a:ln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99" name="Freeform 26"/>
            <p:cNvSpPr>
              <a:spLocks/>
            </p:cNvSpPr>
            <p:nvPr/>
          </p:nvSpPr>
          <p:spPr bwMode="auto">
            <a:xfrm>
              <a:off x="12523788" y="6016625"/>
              <a:ext cx="47625" cy="46037"/>
            </a:xfrm>
            <a:custGeom>
              <a:avLst/>
              <a:gdLst>
                <a:gd name="T0" fmla="*/ 30 w 30"/>
                <a:gd name="T1" fmla="*/ 19 h 29"/>
                <a:gd name="T2" fmla="*/ 28 w 30"/>
                <a:gd name="T3" fmla="*/ 19 h 29"/>
                <a:gd name="T4" fmla="*/ 21 w 30"/>
                <a:gd name="T5" fmla="*/ 12 h 29"/>
                <a:gd name="T6" fmla="*/ 11 w 30"/>
                <a:gd name="T7" fmla="*/ 3 h 29"/>
                <a:gd name="T8" fmla="*/ 9 w 30"/>
                <a:gd name="T9" fmla="*/ 0 h 29"/>
                <a:gd name="T10" fmla="*/ 0 w 30"/>
                <a:gd name="T11" fmla="*/ 12 h 29"/>
                <a:gd name="T12" fmla="*/ 2 w 30"/>
                <a:gd name="T13" fmla="*/ 15 h 29"/>
                <a:gd name="T14" fmla="*/ 11 w 30"/>
                <a:gd name="T15" fmla="*/ 22 h 29"/>
                <a:gd name="T16" fmla="*/ 21 w 30"/>
                <a:gd name="T17" fmla="*/ 29 h 29"/>
                <a:gd name="T18" fmla="*/ 21 w 30"/>
                <a:gd name="T19" fmla="*/ 29 h 29"/>
                <a:gd name="T20" fmla="*/ 30 w 30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30" y="19"/>
                  </a:moveTo>
                  <a:lnTo>
                    <a:pt x="28" y="19"/>
                  </a:lnTo>
                  <a:lnTo>
                    <a:pt x="21" y="12"/>
                  </a:lnTo>
                  <a:lnTo>
                    <a:pt x="11" y="3"/>
                  </a:lnTo>
                  <a:lnTo>
                    <a:pt x="9" y="0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11" y="22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3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0" name="Freeform 27"/>
            <p:cNvSpPr>
              <a:spLocks/>
            </p:cNvSpPr>
            <p:nvPr/>
          </p:nvSpPr>
          <p:spPr bwMode="auto">
            <a:xfrm>
              <a:off x="12606338" y="6088063"/>
              <a:ext cx="44450" cy="46037"/>
            </a:xfrm>
            <a:custGeom>
              <a:avLst/>
              <a:gdLst>
                <a:gd name="T0" fmla="*/ 28 w 28"/>
                <a:gd name="T1" fmla="*/ 19 h 29"/>
                <a:gd name="T2" fmla="*/ 21 w 28"/>
                <a:gd name="T3" fmla="*/ 15 h 29"/>
                <a:gd name="T4" fmla="*/ 14 w 28"/>
                <a:gd name="T5" fmla="*/ 8 h 29"/>
                <a:gd name="T6" fmla="*/ 7 w 28"/>
                <a:gd name="T7" fmla="*/ 0 h 29"/>
                <a:gd name="T8" fmla="*/ 0 w 28"/>
                <a:gd name="T9" fmla="*/ 12 h 29"/>
                <a:gd name="T10" fmla="*/ 4 w 28"/>
                <a:gd name="T11" fmla="*/ 17 h 29"/>
                <a:gd name="T12" fmla="*/ 14 w 28"/>
                <a:gd name="T13" fmla="*/ 24 h 29"/>
                <a:gd name="T14" fmla="*/ 19 w 28"/>
                <a:gd name="T15" fmla="*/ 29 h 29"/>
                <a:gd name="T16" fmla="*/ 28 w 28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19"/>
                  </a:moveTo>
                  <a:lnTo>
                    <a:pt x="21" y="15"/>
                  </a:lnTo>
                  <a:lnTo>
                    <a:pt x="14" y="8"/>
                  </a:lnTo>
                  <a:lnTo>
                    <a:pt x="7" y="0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14" y="24"/>
                  </a:lnTo>
                  <a:lnTo>
                    <a:pt x="19" y="29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1" name="Freeform 28"/>
            <p:cNvSpPr>
              <a:spLocks/>
            </p:cNvSpPr>
            <p:nvPr/>
          </p:nvSpPr>
          <p:spPr bwMode="auto">
            <a:xfrm>
              <a:off x="12680951" y="6164263"/>
              <a:ext cx="46038" cy="44450"/>
            </a:xfrm>
            <a:custGeom>
              <a:avLst/>
              <a:gdLst>
                <a:gd name="T0" fmla="*/ 29 w 29"/>
                <a:gd name="T1" fmla="*/ 19 h 28"/>
                <a:gd name="T2" fmla="*/ 29 w 29"/>
                <a:gd name="T3" fmla="*/ 16 h 28"/>
                <a:gd name="T4" fmla="*/ 19 w 29"/>
                <a:gd name="T5" fmla="*/ 9 h 28"/>
                <a:gd name="T6" fmla="*/ 10 w 29"/>
                <a:gd name="T7" fmla="*/ 0 h 28"/>
                <a:gd name="T8" fmla="*/ 10 w 29"/>
                <a:gd name="T9" fmla="*/ 0 h 28"/>
                <a:gd name="T10" fmla="*/ 0 w 29"/>
                <a:gd name="T11" fmla="*/ 9 h 28"/>
                <a:gd name="T12" fmla="*/ 0 w 29"/>
                <a:gd name="T13" fmla="*/ 9 h 28"/>
                <a:gd name="T14" fmla="*/ 10 w 29"/>
                <a:gd name="T15" fmla="*/ 19 h 28"/>
                <a:gd name="T16" fmla="*/ 19 w 29"/>
                <a:gd name="T17" fmla="*/ 26 h 28"/>
                <a:gd name="T18" fmla="*/ 19 w 29"/>
                <a:gd name="T19" fmla="*/ 28 h 28"/>
                <a:gd name="T20" fmla="*/ 29 w 29"/>
                <a:gd name="T2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9" y="19"/>
                  </a:moveTo>
                  <a:lnTo>
                    <a:pt x="29" y="16"/>
                  </a:lnTo>
                  <a:lnTo>
                    <a:pt x="19" y="9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0" y="19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2" name="Freeform 29"/>
            <p:cNvSpPr>
              <a:spLocks/>
            </p:cNvSpPr>
            <p:nvPr/>
          </p:nvSpPr>
          <p:spPr bwMode="auto">
            <a:xfrm>
              <a:off x="12757151" y="6243638"/>
              <a:ext cx="44450" cy="44450"/>
            </a:xfrm>
            <a:custGeom>
              <a:avLst/>
              <a:gdLst>
                <a:gd name="T0" fmla="*/ 28 w 28"/>
                <a:gd name="T1" fmla="*/ 19 h 28"/>
                <a:gd name="T2" fmla="*/ 21 w 28"/>
                <a:gd name="T3" fmla="*/ 12 h 28"/>
                <a:gd name="T4" fmla="*/ 14 w 28"/>
                <a:gd name="T5" fmla="*/ 2 h 28"/>
                <a:gd name="T6" fmla="*/ 9 w 28"/>
                <a:gd name="T7" fmla="*/ 0 h 28"/>
                <a:gd name="T8" fmla="*/ 0 w 28"/>
                <a:gd name="T9" fmla="*/ 9 h 28"/>
                <a:gd name="T10" fmla="*/ 4 w 28"/>
                <a:gd name="T11" fmla="*/ 12 h 28"/>
                <a:gd name="T12" fmla="*/ 11 w 28"/>
                <a:gd name="T13" fmla="*/ 21 h 28"/>
                <a:gd name="T14" fmla="*/ 19 w 28"/>
                <a:gd name="T15" fmla="*/ 28 h 28"/>
                <a:gd name="T16" fmla="*/ 28 w 28"/>
                <a:gd name="T17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8" y="19"/>
                  </a:moveTo>
                  <a:lnTo>
                    <a:pt x="21" y="12"/>
                  </a:lnTo>
                  <a:lnTo>
                    <a:pt x="14" y="2"/>
                  </a:lnTo>
                  <a:lnTo>
                    <a:pt x="9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11" y="21"/>
                  </a:lnTo>
                  <a:lnTo>
                    <a:pt x="19" y="28"/>
                  </a:lnTo>
                  <a:lnTo>
                    <a:pt x="2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3" name="Freeform 30"/>
            <p:cNvSpPr>
              <a:spLocks/>
            </p:cNvSpPr>
            <p:nvPr/>
          </p:nvSpPr>
          <p:spPr bwMode="auto">
            <a:xfrm>
              <a:off x="12831763" y="6321425"/>
              <a:ext cx="41275" cy="46037"/>
            </a:xfrm>
            <a:custGeom>
              <a:avLst/>
              <a:gdLst>
                <a:gd name="T0" fmla="*/ 26 w 26"/>
                <a:gd name="T1" fmla="*/ 19 h 29"/>
                <a:gd name="T2" fmla="*/ 24 w 26"/>
                <a:gd name="T3" fmla="*/ 15 h 29"/>
                <a:gd name="T4" fmla="*/ 17 w 26"/>
                <a:gd name="T5" fmla="*/ 8 h 29"/>
                <a:gd name="T6" fmla="*/ 9 w 26"/>
                <a:gd name="T7" fmla="*/ 0 h 29"/>
                <a:gd name="T8" fmla="*/ 0 w 26"/>
                <a:gd name="T9" fmla="*/ 8 h 29"/>
                <a:gd name="T10" fmla="*/ 5 w 26"/>
                <a:gd name="T11" fmla="*/ 15 h 29"/>
                <a:gd name="T12" fmla="*/ 14 w 26"/>
                <a:gd name="T13" fmla="*/ 24 h 29"/>
                <a:gd name="T14" fmla="*/ 17 w 26"/>
                <a:gd name="T15" fmla="*/ 29 h 29"/>
                <a:gd name="T16" fmla="*/ 26 w 26"/>
                <a:gd name="T1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9">
                  <a:moveTo>
                    <a:pt x="26" y="19"/>
                  </a:moveTo>
                  <a:lnTo>
                    <a:pt x="24" y="15"/>
                  </a:lnTo>
                  <a:lnTo>
                    <a:pt x="17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5" y="15"/>
                  </a:lnTo>
                  <a:lnTo>
                    <a:pt x="14" y="24"/>
                  </a:lnTo>
                  <a:lnTo>
                    <a:pt x="17" y="29"/>
                  </a:lnTo>
                  <a:lnTo>
                    <a:pt x="2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4" name="Freeform 31"/>
            <p:cNvSpPr>
              <a:spLocks/>
            </p:cNvSpPr>
            <p:nvPr/>
          </p:nvSpPr>
          <p:spPr bwMode="auto">
            <a:xfrm>
              <a:off x="12900026" y="6400800"/>
              <a:ext cx="44450" cy="49212"/>
            </a:xfrm>
            <a:custGeom>
              <a:avLst/>
              <a:gdLst>
                <a:gd name="T0" fmla="*/ 28 w 28"/>
                <a:gd name="T1" fmla="*/ 22 h 31"/>
                <a:gd name="T2" fmla="*/ 28 w 28"/>
                <a:gd name="T3" fmla="*/ 22 h 31"/>
                <a:gd name="T4" fmla="*/ 21 w 28"/>
                <a:gd name="T5" fmla="*/ 12 h 31"/>
                <a:gd name="T6" fmla="*/ 12 w 28"/>
                <a:gd name="T7" fmla="*/ 3 h 31"/>
                <a:gd name="T8" fmla="*/ 12 w 28"/>
                <a:gd name="T9" fmla="*/ 0 h 31"/>
                <a:gd name="T10" fmla="*/ 0 w 28"/>
                <a:gd name="T11" fmla="*/ 10 h 31"/>
                <a:gd name="T12" fmla="*/ 2 w 28"/>
                <a:gd name="T13" fmla="*/ 12 h 31"/>
                <a:gd name="T14" fmla="*/ 9 w 28"/>
                <a:gd name="T15" fmla="*/ 22 h 31"/>
                <a:gd name="T16" fmla="*/ 16 w 28"/>
                <a:gd name="T17" fmla="*/ 31 h 31"/>
                <a:gd name="T18" fmla="*/ 19 w 28"/>
                <a:gd name="T19" fmla="*/ 31 h 31"/>
                <a:gd name="T20" fmla="*/ 28 w 28"/>
                <a:gd name="T2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1">
                  <a:moveTo>
                    <a:pt x="28" y="22"/>
                  </a:moveTo>
                  <a:lnTo>
                    <a:pt x="28" y="22"/>
                  </a:lnTo>
                  <a:lnTo>
                    <a:pt x="21" y="12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9" y="22"/>
                  </a:lnTo>
                  <a:lnTo>
                    <a:pt x="16" y="31"/>
                  </a:lnTo>
                  <a:lnTo>
                    <a:pt x="19" y="31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5" name="Freeform 32"/>
            <p:cNvSpPr>
              <a:spLocks/>
            </p:cNvSpPr>
            <p:nvPr/>
          </p:nvSpPr>
          <p:spPr bwMode="auto">
            <a:xfrm>
              <a:off x="12966701" y="6483350"/>
              <a:ext cx="46038" cy="49212"/>
            </a:xfrm>
            <a:custGeom>
              <a:avLst/>
              <a:gdLst>
                <a:gd name="T0" fmla="*/ 29 w 29"/>
                <a:gd name="T1" fmla="*/ 24 h 31"/>
                <a:gd name="T2" fmla="*/ 24 w 29"/>
                <a:gd name="T3" fmla="*/ 17 h 31"/>
                <a:gd name="T4" fmla="*/ 17 w 29"/>
                <a:gd name="T5" fmla="*/ 8 h 31"/>
                <a:gd name="T6" fmla="*/ 12 w 29"/>
                <a:gd name="T7" fmla="*/ 0 h 31"/>
                <a:gd name="T8" fmla="*/ 0 w 29"/>
                <a:gd name="T9" fmla="*/ 10 h 31"/>
                <a:gd name="T10" fmla="*/ 5 w 29"/>
                <a:gd name="T11" fmla="*/ 15 h 31"/>
                <a:gd name="T12" fmla="*/ 12 w 29"/>
                <a:gd name="T13" fmla="*/ 24 h 31"/>
                <a:gd name="T14" fmla="*/ 17 w 29"/>
                <a:gd name="T15" fmla="*/ 31 h 31"/>
                <a:gd name="T16" fmla="*/ 29 w 29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29" y="24"/>
                  </a:moveTo>
                  <a:lnTo>
                    <a:pt x="24" y="17"/>
                  </a:lnTo>
                  <a:lnTo>
                    <a:pt x="17" y="8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12" y="24"/>
                  </a:lnTo>
                  <a:lnTo>
                    <a:pt x="17" y="31"/>
                  </a:lnTo>
                  <a:lnTo>
                    <a:pt x="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6" name="Freeform 33"/>
            <p:cNvSpPr>
              <a:spLocks/>
            </p:cNvSpPr>
            <p:nvPr/>
          </p:nvSpPr>
          <p:spPr bwMode="auto">
            <a:xfrm>
              <a:off x="13031788" y="6570663"/>
              <a:ext cx="44450" cy="49212"/>
            </a:xfrm>
            <a:custGeom>
              <a:avLst/>
              <a:gdLst>
                <a:gd name="T0" fmla="*/ 28 w 28"/>
                <a:gd name="T1" fmla="*/ 24 h 31"/>
                <a:gd name="T2" fmla="*/ 26 w 28"/>
                <a:gd name="T3" fmla="*/ 21 h 31"/>
                <a:gd name="T4" fmla="*/ 19 w 28"/>
                <a:gd name="T5" fmla="*/ 12 h 31"/>
                <a:gd name="T6" fmla="*/ 12 w 28"/>
                <a:gd name="T7" fmla="*/ 0 h 31"/>
                <a:gd name="T8" fmla="*/ 0 w 28"/>
                <a:gd name="T9" fmla="*/ 9 h 31"/>
                <a:gd name="T10" fmla="*/ 7 w 28"/>
                <a:gd name="T11" fmla="*/ 19 h 31"/>
                <a:gd name="T12" fmla="*/ 14 w 28"/>
                <a:gd name="T13" fmla="*/ 28 h 31"/>
                <a:gd name="T14" fmla="*/ 16 w 28"/>
                <a:gd name="T15" fmla="*/ 31 h 31"/>
                <a:gd name="T16" fmla="*/ 28 w 28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1">
                  <a:moveTo>
                    <a:pt x="28" y="24"/>
                  </a:moveTo>
                  <a:lnTo>
                    <a:pt x="26" y="21"/>
                  </a:lnTo>
                  <a:lnTo>
                    <a:pt x="19" y="1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7" y="19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2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7" name="Freeform 34"/>
            <p:cNvSpPr>
              <a:spLocks/>
            </p:cNvSpPr>
            <p:nvPr/>
          </p:nvSpPr>
          <p:spPr bwMode="auto">
            <a:xfrm>
              <a:off x="13095288" y="6661150"/>
              <a:ext cx="41275" cy="49212"/>
            </a:xfrm>
            <a:custGeom>
              <a:avLst/>
              <a:gdLst>
                <a:gd name="T0" fmla="*/ 26 w 26"/>
                <a:gd name="T1" fmla="*/ 21 h 31"/>
                <a:gd name="T2" fmla="*/ 19 w 26"/>
                <a:gd name="T3" fmla="*/ 14 h 31"/>
                <a:gd name="T4" fmla="*/ 14 w 26"/>
                <a:gd name="T5" fmla="*/ 5 h 31"/>
                <a:gd name="T6" fmla="*/ 9 w 26"/>
                <a:gd name="T7" fmla="*/ 0 h 31"/>
                <a:gd name="T8" fmla="*/ 0 w 26"/>
                <a:gd name="T9" fmla="*/ 7 h 31"/>
                <a:gd name="T10" fmla="*/ 2 w 26"/>
                <a:gd name="T11" fmla="*/ 12 h 31"/>
                <a:gd name="T12" fmla="*/ 9 w 26"/>
                <a:gd name="T13" fmla="*/ 21 h 31"/>
                <a:gd name="T14" fmla="*/ 14 w 26"/>
                <a:gd name="T15" fmla="*/ 31 h 31"/>
                <a:gd name="T16" fmla="*/ 26 w 26"/>
                <a:gd name="T1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1"/>
                  </a:moveTo>
                  <a:lnTo>
                    <a:pt x="19" y="14"/>
                  </a:lnTo>
                  <a:lnTo>
                    <a:pt x="14" y="5"/>
                  </a:lnTo>
                  <a:lnTo>
                    <a:pt x="9" y="0"/>
                  </a:lnTo>
                  <a:lnTo>
                    <a:pt x="0" y="7"/>
                  </a:lnTo>
                  <a:lnTo>
                    <a:pt x="2" y="12"/>
                  </a:lnTo>
                  <a:lnTo>
                    <a:pt x="9" y="21"/>
                  </a:lnTo>
                  <a:lnTo>
                    <a:pt x="14" y="31"/>
                  </a:lnTo>
                  <a:lnTo>
                    <a:pt x="2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8" name="Freeform 35"/>
            <p:cNvSpPr>
              <a:spLocks/>
            </p:cNvSpPr>
            <p:nvPr/>
          </p:nvSpPr>
          <p:spPr bwMode="auto">
            <a:xfrm>
              <a:off x="13152438" y="6751638"/>
              <a:ext cx="41275" cy="49212"/>
            </a:xfrm>
            <a:custGeom>
              <a:avLst/>
              <a:gdLst>
                <a:gd name="T0" fmla="*/ 26 w 26"/>
                <a:gd name="T1" fmla="*/ 24 h 31"/>
                <a:gd name="T2" fmla="*/ 23 w 26"/>
                <a:gd name="T3" fmla="*/ 19 h 31"/>
                <a:gd name="T4" fmla="*/ 16 w 26"/>
                <a:gd name="T5" fmla="*/ 7 h 31"/>
                <a:gd name="T6" fmla="*/ 11 w 26"/>
                <a:gd name="T7" fmla="*/ 0 h 31"/>
                <a:gd name="T8" fmla="*/ 0 w 26"/>
                <a:gd name="T9" fmla="*/ 7 h 31"/>
                <a:gd name="T10" fmla="*/ 7 w 26"/>
                <a:gd name="T11" fmla="*/ 14 h 31"/>
                <a:gd name="T12" fmla="*/ 11 w 26"/>
                <a:gd name="T13" fmla="*/ 26 h 31"/>
                <a:gd name="T14" fmla="*/ 14 w 26"/>
                <a:gd name="T15" fmla="*/ 31 h 31"/>
                <a:gd name="T16" fmla="*/ 26 w 26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4"/>
                  </a:moveTo>
                  <a:lnTo>
                    <a:pt x="23" y="19"/>
                  </a:lnTo>
                  <a:lnTo>
                    <a:pt x="16" y="7"/>
                  </a:lnTo>
                  <a:lnTo>
                    <a:pt x="11" y="0"/>
                  </a:lnTo>
                  <a:lnTo>
                    <a:pt x="0" y="7"/>
                  </a:lnTo>
                  <a:lnTo>
                    <a:pt x="7" y="14"/>
                  </a:lnTo>
                  <a:lnTo>
                    <a:pt x="11" y="26"/>
                  </a:lnTo>
                  <a:lnTo>
                    <a:pt x="14" y="31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09" name="Freeform 36"/>
            <p:cNvSpPr>
              <a:spLocks/>
            </p:cNvSpPr>
            <p:nvPr/>
          </p:nvSpPr>
          <p:spPr bwMode="auto">
            <a:xfrm>
              <a:off x="13208001" y="6842125"/>
              <a:ext cx="41275" cy="49212"/>
            </a:xfrm>
            <a:custGeom>
              <a:avLst/>
              <a:gdLst>
                <a:gd name="T0" fmla="*/ 26 w 26"/>
                <a:gd name="T1" fmla="*/ 23 h 31"/>
                <a:gd name="T2" fmla="*/ 19 w 26"/>
                <a:gd name="T3" fmla="*/ 14 h 31"/>
                <a:gd name="T4" fmla="*/ 14 w 26"/>
                <a:gd name="T5" fmla="*/ 2 h 31"/>
                <a:gd name="T6" fmla="*/ 12 w 26"/>
                <a:gd name="T7" fmla="*/ 0 h 31"/>
                <a:gd name="T8" fmla="*/ 0 w 26"/>
                <a:gd name="T9" fmla="*/ 7 h 31"/>
                <a:gd name="T10" fmla="*/ 2 w 26"/>
                <a:gd name="T11" fmla="*/ 9 h 31"/>
                <a:gd name="T12" fmla="*/ 7 w 26"/>
                <a:gd name="T13" fmla="*/ 21 h 31"/>
                <a:gd name="T14" fmla="*/ 14 w 26"/>
                <a:gd name="T15" fmla="*/ 31 h 31"/>
                <a:gd name="T16" fmla="*/ 26 w 26"/>
                <a:gd name="T17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1">
                  <a:moveTo>
                    <a:pt x="26" y="23"/>
                  </a:moveTo>
                  <a:lnTo>
                    <a:pt x="19" y="1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7" y="21"/>
                  </a:lnTo>
                  <a:lnTo>
                    <a:pt x="14" y="31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0" name="Freeform 37"/>
            <p:cNvSpPr>
              <a:spLocks/>
            </p:cNvSpPr>
            <p:nvPr/>
          </p:nvSpPr>
          <p:spPr bwMode="auto">
            <a:xfrm>
              <a:off x="13260388" y="6935788"/>
              <a:ext cx="38100" cy="49212"/>
            </a:xfrm>
            <a:custGeom>
              <a:avLst/>
              <a:gdLst>
                <a:gd name="T0" fmla="*/ 24 w 24"/>
                <a:gd name="T1" fmla="*/ 24 h 31"/>
                <a:gd name="T2" fmla="*/ 22 w 24"/>
                <a:gd name="T3" fmla="*/ 19 h 31"/>
                <a:gd name="T4" fmla="*/ 17 w 24"/>
                <a:gd name="T5" fmla="*/ 7 h 31"/>
                <a:gd name="T6" fmla="*/ 12 w 24"/>
                <a:gd name="T7" fmla="*/ 0 h 31"/>
                <a:gd name="T8" fmla="*/ 0 w 24"/>
                <a:gd name="T9" fmla="*/ 7 h 31"/>
                <a:gd name="T10" fmla="*/ 5 w 24"/>
                <a:gd name="T11" fmla="*/ 14 h 31"/>
                <a:gd name="T12" fmla="*/ 10 w 24"/>
                <a:gd name="T13" fmla="*/ 26 h 31"/>
                <a:gd name="T14" fmla="*/ 12 w 24"/>
                <a:gd name="T15" fmla="*/ 31 h 31"/>
                <a:gd name="T16" fmla="*/ 24 w 24"/>
                <a:gd name="T1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1">
                  <a:moveTo>
                    <a:pt x="24" y="24"/>
                  </a:moveTo>
                  <a:lnTo>
                    <a:pt x="22" y="19"/>
                  </a:lnTo>
                  <a:lnTo>
                    <a:pt x="17" y="7"/>
                  </a:lnTo>
                  <a:lnTo>
                    <a:pt x="12" y="0"/>
                  </a:lnTo>
                  <a:lnTo>
                    <a:pt x="0" y="7"/>
                  </a:lnTo>
                  <a:lnTo>
                    <a:pt x="5" y="14"/>
                  </a:lnTo>
                  <a:lnTo>
                    <a:pt x="10" y="26"/>
                  </a:lnTo>
                  <a:lnTo>
                    <a:pt x="12" y="31"/>
                  </a:ln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1" name="Freeform 38"/>
            <p:cNvSpPr>
              <a:spLocks/>
            </p:cNvSpPr>
            <p:nvPr/>
          </p:nvSpPr>
          <p:spPr bwMode="auto">
            <a:xfrm>
              <a:off x="13309601" y="7034213"/>
              <a:ext cx="38100" cy="47625"/>
            </a:xfrm>
            <a:custGeom>
              <a:avLst/>
              <a:gdLst>
                <a:gd name="T0" fmla="*/ 24 w 24"/>
                <a:gd name="T1" fmla="*/ 23 h 30"/>
                <a:gd name="T2" fmla="*/ 24 w 24"/>
                <a:gd name="T3" fmla="*/ 23 h 30"/>
                <a:gd name="T4" fmla="*/ 19 w 24"/>
                <a:gd name="T5" fmla="*/ 12 h 30"/>
                <a:gd name="T6" fmla="*/ 14 w 24"/>
                <a:gd name="T7" fmla="*/ 0 h 30"/>
                <a:gd name="T8" fmla="*/ 12 w 24"/>
                <a:gd name="T9" fmla="*/ 0 h 30"/>
                <a:gd name="T10" fmla="*/ 0 w 24"/>
                <a:gd name="T11" fmla="*/ 4 h 30"/>
                <a:gd name="T12" fmla="*/ 0 w 24"/>
                <a:gd name="T13" fmla="*/ 7 h 30"/>
                <a:gd name="T14" fmla="*/ 7 w 24"/>
                <a:gd name="T15" fmla="*/ 19 h 30"/>
                <a:gd name="T16" fmla="*/ 12 w 24"/>
                <a:gd name="T17" fmla="*/ 28 h 30"/>
                <a:gd name="T18" fmla="*/ 12 w 24"/>
                <a:gd name="T19" fmla="*/ 30 h 30"/>
                <a:gd name="T20" fmla="*/ 24 w 24"/>
                <a:gd name="T21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0">
                  <a:moveTo>
                    <a:pt x="24" y="23"/>
                  </a:moveTo>
                  <a:lnTo>
                    <a:pt x="24" y="23"/>
                  </a:lnTo>
                  <a:lnTo>
                    <a:pt x="19" y="1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" y="19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2" name="Freeform 39"/>
            <p:cNvSpPr>
              <a:spLocks/>
            </p:cNvSpPr>
            <p:nvPr/>
          </p:nvSpPr>
          <p:spPr bwMode="auto">
            <a:xfrm>
              <a:off x="13355638" y="7131050"/>
              <a:ext cx="36513" cy="46037"/>
            </a:xfrm>
            <a:custGeom>
              <a:avLst/>
              <a:gdLst>
                <a:gd name="T0" fmla="*/ 23 w 23"/>
                <a:gd name="T1" fmla="*/ 24 h 29"/>
                <a:gd name="T2" fmla="*/ 21 w 23"/>
                <a:gd name="T3" fmla="*/ 17 h 29"/>
                <a:gd name="T4" fmla="*/ 16 w 23"/>
                <a:gd name="T5" fmla="*/ 5 h 29"/>
                <a:gd name="T6" fmla="*/ 14 w 23"/>
                <a:gd name="T7" fmla="*/ 0 h 29"/>
                <a:gd name="T8" fmla="*/ 0 w 23"/>
                <a:gd name="T9" fmla="*/ 5 h 29"/>
                <a:gd name="T10" fmla="*/ 4 w 23"/>
                <a:gd name="T11" fmla="*/ 12 h 29"/>
                <a:gd name="T12" fmla="*/ 9 w 23"/>
                <a:gd name="T13" fmla="*/ 22 h 29"/>
                <a:gd name="T14" fmla="*/ 11 w 23"/>
                <a:gd name="T15" fmla="*/ 29 h 29"/>
                <a:gd name="T16" fmla="*/ 23 w 23"/>
                <a:gd name="T1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9">
                  <a:moveTo>
                    <a:pt x="23" y="24"/>
                  </a:moveTo>
                  <a:lnTo>
                    <a:pt x="21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9" y="22"/>
                  </a:lnTo>
                  <a:lnTo>
                    <a:pt x="11" y="29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3" name="Freeform 40"/>
            <p:cNvSpPr>
              <a:spLocks/>
            </p:cNvSpPr>
            <p:nvPr/>
          </p:nvSpPr>
          <p:spPr bwMode="auto">
            <a:xfrm>
              <a:off x="13400088" y="7229475"/>
              <a:ext cx="33338" cy="49212"/>
            </a:xfrm>
            <a:custGeom>
              <a:avLst/>
              <a:gdLst>
                <a:gd name="T0" fmla="*/ 21 w 21"/>
                <a:gd name="T1" fmla="*/ 24 h 31"/>
                <a:gd name="T2" fmla="*/ 21 w 21"/>
                <a:gd name="T3" fmla="*/ 24 h 31"/>
                <a:gd name="T4" fmla="*/ 17 w 21"/>
                <a:gd name="T5" fmla="*/ 12 h 31"/>
                <a:gd name="T6" fmla="*/ 12 w 21"/>
                <a:gd name="T7" fmla="*/ 0 h 31"/>
                <a:gd name="T8" fmla="*/ 12 w 21"/>
                <a:gd name="T9" fmla="*/ 0 h 31"/>
                <a:gd name="T10" fmla="*/ 0 w 21"/>
                <a:gd name="T11" fmla="*/ 5 h 31"/>
                <a:gd name="T12" fmla="*/ 0 w 21"/>
                <a:gd name="T13" fmla="*/ 5 h 31"/>
                <a:gd name="T14" fmla="*/ 5 w 21"/>
                <a:gd name="T15" fmla="*/ 17 h 31"/>
                <a:gd name="T16" fmla="*/ 9 w 21"/>
                <a:gd name="T17" fmla="*/ 28 h 31"/>
                <a:gd name="T18" fmla="*/ 9 w 21"/>
                <a:gd name="T19" fmla="*/ 31 h 31"/>
                <a:gd name="T20" fmla="*/ 21 w 21"/>
                <a:gd name="T21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31">
                  <a:moveTo>
                    <a:pt x="21" y="24"/>
                  </a:moveTo>
                  <a:lnTo>
                    <a:pt x="21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2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4" name="Freeform 41"/>
            <p:cNvSpPr>
              <a:spLocks/>
            </p:cNvSpPr>
            <p:nvPr/>
          </p:nvSpPr>
          <p:spPr bwMode="auto">
            <a:xfrm>
              <a:off x="13438188" y="7331075"/>
              <a:ext cx="36513" cy="44450"/>
            </a:xfrm>
            <a:custGeom>
              <a:avLst/>
              <a:gdLst>
                <a:gd name="T0" fmla="*/ 23 w 23"/>
                <a:gd name="T1" fmla="*/ 24 h 28"/>
                <a:gd name="T2" fmla="*/ 19 w 23"/>
                <a:gd name="T3" fmla="*/ 17 h 28"/>
                <a:gd name="T4" fmla="*/ 16 w 23"/>
                <a:gd name="T5" fmla="*/ 5 h 28"/>
                <a:gd name="T6" fmla="*/ 14 w 23"/>
                <a:gd name="T7" fmla="*/ 0 h 28"/>
                <a:gd name="T8" fmla="*/ 0 w 23"/>
                <a:gd name="T9" fmla="*/ 5 h 28"/>
                <a:gd name="T10" fmla="*/ 2 w 23"/>
                <a:gd name="T11" fmla="*/ 9 h 28"/>
                <a:gd name="T12" fmla="*/ 7 w 23"/>
                <a:gd name="T13" fmla="*/ 21 h 28"/>
                <a:gd name="T14" fmla="*/ 9 w 23"/>
                <a:gd name="T15" fmla="*/ 28 h 28"/>
                <a:gd name="T16" fmla="*/ 23 w 23"/>
                <a:gd name="T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8">
                  <a:moveTo>
                    <a:pt x="23" y="24"/>
                  </a:moveTo>
                  <a:lnTo>
                    <a:pt x="19" y="17"/>
                  </a:lnTo>
                  <a:lnTo>
                    <a:pt x="16" y="5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9"/>
                  </a:lnTo>
                  <a:lnTo>
                    <a:pt x="7" y="21"/>
                  </a:lnTo>
                  <a:lnTo>
                    <a:pt x="9" y="28"/>
                  </a:lnTo>
                  <a:lnTo>
                    <a:pt x="2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5" name="Freeform 42"/>
            <p:cNvSpPr>
              <a:spLocks/>
            </p:cNvSpPr>
            <p:nvPr/>
          </p:nvSpPr>
          <p:spPr bwMode="auto">
            <a:xfrm>
              <a:off x="13474701" y="7432675"/>
              <a:ext cx="34925" cy="44450"/>
            </a:xfrm>
            <a:custGeom>
              <a:avLst/>
              <a:gdLst>
                <a:gd name="T0" fmla="*/ 22 w 22"/>
                <a:gd name="T1" fmla="*/ 24 h 28"/>
                <a:gd name="T2" fmla="*/ 22 w 22"/>
                <a:gd name="T3" fmla="*/ 24 h 28"/>
                <a:gd name="T4" fmla="*/ 17 w 22"/>
                <a:gd name="T5" fmla="*/ 12 h 28"/>
                <a:gd name="T6" fmla="*/ 12 w 22"/>
                <a:gd name="T7" fmla="*/ 0 h 28"/>
                <a:gd name="T8" fmla="*/ 12 w 22"/>
                <a:gd name="T9" fmla="*/ 0 h 28"/>
                <a:gd name="T10" fmla="*/ 0 w 22"/>
                <a:gd name="T11" fmla="*/ 2 h 28"/>
                <a:gd name="T12" fmla="*/ 0 w 22"/>
                <a:gd name="T13" fmla="*/ 5 h 28"/>
                <a:gd name="T14" fmla="*/ 5 w 22"/>
                <a:gd name="T15" fmla="*/ 17 h 28"/>
                <a:gd name="T16" fmla="*/ 8 w 22"/>
                <a:gd name="T17" fmla="*/ 26 h 28"/>
                <a:gd name="T18" fmla="*/ 8 w 22"/>
                <a:gd name="T19" fmla="*/ 28 h 28"/>
                <a:gd name="T20" fmla="*/ 22 w 22"/>
                <a:gd name="T2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8">
                  <a:moveTo>
                    <a:pt x="22" y="24"/>
                  </a:moveTo>
                  <a:lnTo>
                    <a:pt x="22" y="24"/>
                  </a:lnTo>
                  <a:lnTo>
                    <a:pt x="17" y="1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17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6" name="Freeform 43"/>
            <p:cNvSpPr>
              <a:spLocks/>
            </p:cNvSpPr>
            <p:nvPr/>
          </p:nvSpPr>
          <p:spPr bwMode="auto">
            <a:xfrm>
              <a:off x="13509626" y="7534275"/>
              <a:ext cx="30163" cy="46037"/>
            </a:xfrm>
            <a:custGeom>
              <a:avLst/>
              <a:gdLst>
                <a:gd name="T0" fmla="*/ 19 w 19"/>
                <a:gd name="T1" fmla="*/ 26 h 29"/>
                <a:gd name="T2" fmla="*/ 16 w 19"/>
                <a:gd name="T3" fmla="*/ 19 h 29"/>
                <a:gd name="T4" fmla="*/ 14 w 19"/>
                <a:gd name="T5" fmla="*/ 7 h 29"/>
                <a:gd name="T6" fmla="*/ 12 w 19"/>
                <a:gd name="T7" fmla="*/ 0 h 29"/>
                <a:gd name="T8" fmla="*/ 0 w 19"/>
                <a:gd name="T9" fmla="*/ 2 h 29"/>
                <a:gd name="T10" fmla="*/ 0 w 19"/>
                <a:gd name="T11" fmla="*/ 10 h 29"/>
                <a:gd name="T12" fmla="*/ 4 w 19"/>
                <a:gd name="T13" fmla="*/ 21 h 29"/>
                <a:gd name="T14" fmla="*/ 7 w 19"/>
                <a:gd name="T15" fmla="*/ 29 h 29"/>
                <a:gd name="T16" fmla="*/ 19 w 19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9">
                  <a:moveTo>
                    <a:pt x="19" y="26"/>
                  </a:moveTo>
                  <a:lnTo>
                    <a:pt x="16" y="19"/>
                  </a:lnTo>
                  <a:lnTo>
                    <a:pt x="14" y="7"/>
                  </a:lnTo>
                  <a:lnTo>
                    <a:pt x="12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4" y="21"/>
                  </a:lnTo>
                  <a:lnTo>
                    <a:pt x="7" y="29"/>
                  </a:lnTo>
                  <a:lnTo>
                    <a:pt x="1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7" name="Freeform 44"/>
            <p:cNvSpPr>
              <a:spLocks/>
            </p:cNvSpPr>
            <p:nvPr/>
          </p:nvSpPr>
          <p:spPr bwMode="auto">
            <a:xfrm>
              <a:off x="13535026" y="7635875"/>
              <a:ext cx="34925" cy="49212"/>
            </a:xfrm>
            <a:custGeom>
              <a:avLst/>
              <a:gdLst>
                <a:gd name="T0" fmla="*/ 22 w 22"/>
                <a:gd name="T1" fmla="*/ 29 h 31"/>
                <a:gd name="T2" fmla="*/ 22 w 22"/>
                <a:gd name="T3" fmla="*/ 26 h 31"/>
                <a:gd name="T4" fmla="*/ 17 w 22"/>
                <a:gd name="T5" fmla="*/ 14 h 31"/>
                <a:gd name="T6" fmla="*/ 15 w 22"/>
                <a:gd name="T7" fmla="*/ 2 h 31"/>
                <a:gd name="T8" fmla="*/ 15 w 22"/>
                <a:gd name="T9" fmla="*/ 0 h 31"/>
                <a:gd name="T10" fmla="*/ 0 w 22"/>
                <a:gd name="T11" fmla="*/ 5 h 31"/>
                <a:gd name="T12" fmla="*/ 0 w 22"/>
                <a:gd name="T13" fmla="*/ 5 h 31"/>
                <a:gd name="T14" fmla="*/ 5 w 22"/>
                <a:gd name="T15" fmla="*/ 19 h 31"/>
                <a:gd name="T16" fmla="*/ 7 w 22"/>
                <a:gd name="T17" fmla="*/ 31 h 31"/>
                <a:gd name="T18" fmla="*/ 7 w 22"/>
                <a:gd name="T19" fmla="*/ 31 h 31"/>
                <a:gd name="T20" fmla="*/ 22 w 22"/>
                <a:gd name="T2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22" y="29"/>
                  </a:moveTo>
                  <a:lnTo>
                    <a:pt x="22" y="26"/>
                  </a:lnTo>
                  <a:lnTo>
                    <a:pt x="17" y="14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1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2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8" name="Freeform 45"/>
            <p:cNvSpPr>
              <a:spLocks/>
            </p:cNvSpPr>
            <p:nvPr/>
          </p:nvSpPr>
          <p:spPr bwMode="auto">
            <a:xfrm>
              <a:off x="13562013" y="7740650"/>
              <a:ext cx="30163" cy="49212"/>
            </a:xfrm>
            <a:custGeom>
              <a:avLst/>
              <a:gdLst>
                <a:gd name="T0" fmla="*/ 19 w 19"/>
                <a:gd name="T1" fmla="*/ 29 h 31"/>
                <a:gd name="T2" fmla="*/ 19 w 19"/>
                <a:gd name="T3" fmla="*/ 22 h 31"/>
                <a:gd name="T4" fmla="*/ 14 w 19"/>
                <a:gd name="T5" fmla="*/ 10 h 31"/>
                <a:gd name="T6" fmla="*/ 14 w 19"/>
                <a:gd name="T7" fmla="*/ 0 h 31"/>
                <a:gd name="T8" fmla="*/ 0 w 19"/>
                <a:gd name="T9" fmla="*/ 5 h 31"/>
                <a:gd name="T10" fmla="*/ 2 w 19"/>
                <a:gd name="T11" fmla="*/ 12 h 31"/>
                <a:gd name="T12" fmla="*/ 5 w 19"/>
                <a:gd name="T13" fmla="*/ 24 h 31"/>
                <a:gd name="T14" fmla="*/ 7 w 19"/>
                <a:gd name="T15" fmla="*/ 31 h 31"/>
                <a:gd name="T16" fmla="*/ 19 w 19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9"/>
                  </a:moveTo>
                  <a:lnTo>
                    <a:pt x="19" y="22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5" y="24"/>
                  </a:lnTo>
                  <a:lnTo>
                    <a:pt x="7" y="31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19" name="Freeform 46"/>
            <p:cNvSpPr>
              <a:spLocks/>
            </p:cNvSpPr>
            <p:nvPr/>
          </p:nvSpPr>
          <p:spPr bwMode="auto">
            <a:xfrm>
              <a:off x="13584238" y="7847013"/>
              <a:ext cx="30163" cy="49212"/>
            </a:xfrm>
            <a:custGeom>
              <a:avLst/>
              <a:gdLst>
                <a:gd name="T0" fmla="*/ 19 w 19"/>
                <a:gd name="T1" fmla="*/ 28 h 31"/>
                <a:gd name="T2" fmla="*/ 17 w 19"/>
                <a:gd name="T3" fmla="*/ 16 h 31"/>
                <a:gd name="T4" fmla="*/ 14 w 19"/>
                <a:gd name="T5" fmla="*/ 5 h 31"/>
                <a:gd name="T6" fmla="*/ 14 w 19"/>
                <a:gd name="T7" fmla="*/ 0 h 31"/>
                <a:gd name="T8" fmla="*/ 0 w 19"/>
                <a:gd name="T9" fmla="*/ 2 h 31"/>
                <a:gd name="T10" fmla="*/ 0 w 19"/>
                <a:gd name="T11" fmla="*/ 7 h 31"/>
                <a:gd name="T12" fmla="*/ 3 w 19"/>
                <a:gd name="T13" fmla="*/ 19 h 31"/>
                <a:gd name="T14" fmla="*/ 5 w 19"/>
                <a:gd name="T15" fmla="*/ 31 h 31"/>
                <a:gd name="T16" fmla="*/ 19 w 19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9" y="28"/>
                  </a:moveTo>
                  <a:lnTo>
                    <a:pt x="17" y="16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9"/>
                  </a:lnTo>
                  <a:lnTo>
                    <a:pt x="5" y="31"/>
                  </a:lnTo>
                  <a:lnTo>
                    <a:pt x="1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13603288" y="7956550"/>
              <a:ext cx="26988" cy="44450"/>
            </a:xfrm>
            <a:custGeom>
              <a:avLst/>
              <a:gdLst>
                <a:gd name="T0" fmla="*/ 17 w 17"/>
                <a:gd name="T1" fmla="*/ 26 h 28"/>
                <a:gd name="T2" fmla="*/ 17 w 17"/>
                <a:gd name="T3" fmla="*/ 23 h 28"/>
                <a:gd name="T4" fmla="*/ 14 w 17"/>
                <a:gd name="T5" fmla="*/ 9 h 28"/>
                <a:gd name="T6" fmla="*/ 14 w 17"/>
                <a:gd name="T7" fmla="*/ 0 h 28"/>
                <a:gd name="T8" fmla="*/ 0 w 17"/>
                <a:gd name="T9" fmla="*/ 0 h 28"/>
                <a:gd name="T10" fmla="*/ 2 w 17"/>
                <a:gd name="T11" fmla="*/ 12 h 28"/>
                <a:gd name="T12" fmla="*/ 2 w 17"/>
                <a:gd name="T13" fmla="*/ 26 h 28"/>
                <a:gd name="T14" fmla="*/ 5 w 17"/>
                <a:gd name="T15" fmla="*/ 28 h 28"/>
                <a:gd name="T16" fmla="*/ 17 w 17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8">
                  <a:moveTo>
                    <a:pt x="17" y="26"/>
                  </a:moveTo>
                  <a:lnTo>
                    <a:pt x="17" y="23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1" name="Freeform 48"/>
            <p:cNvSpPr>
              <a:spLocks/>
            </p:cNvSpPr>
            <p:nvPr/>
          </p:nvSpPr>
          <p:spPr bwMode="auto">
            <a:xfrm>
              <a:off x="13619163" y="8061325"/>
              <a:ext cx="25400" cy="46037"/>
            </a:xfrm>
            <a:custGeom>
              <a:avLst/>
              <a:gdLst>
                <a:gd name="T0" fmla="*/ 16 w 16"/>
                <a:gd name="T1" fmla="*/ 26 h 29"/>
                <a:gd name="T2" fmla="*/ 14 w 16"/>
                <a:gd name="T3" fmla="*/ 19 h 29"/>
                <a:gd name="T4" fmla="*/ 14 w 16"/>
                <a:gd name="T5" fmla="*/ 7 h 29"/>
                <a:gd name="T6" fmla="*/ 14 w 16"/>
                <a:gd name="T7" fmla="*/ 0 h 29"/>
                <a:gd name="T8" fmla="*/ 0 w 16"/>
                <a:gd name="T9" fmla="*/ 2 h 29"/>
                <a:gd name="T10" fmla="*/ 0 w 16"/>
                <a:gd name="T11" fmla="*/ 10 h 29"/>
                <a:gd name="T12" fmla="*/ 2 w 16"/>
                <a:gd name="T13" fmla="*/ 21 h 29"/>
                <a:gd name="T14" fmla="*/ 2 w 16"/>
                <a:gd name="T15" fmla="*/ 29 h 29"/>
                <a:gd name="T16" fmla="*/ 16 w 16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6"/>
                  </a:moveTo>
                  <a:lnTo>
                    <a:pt x="14" y="19"/>
                  </a:lnTo>
                  <a:lnTo>
                    <a:pt x="14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0"/>
                  </a:lnTo>
                  <a:lnTo>
                    <a:pt x="2" y="21"/>
                  </a:lnTo>
                  <a:lnTo>
                    <a:pt x="2" y="29"/>
                  </a:lnTo>
                  <a:lnTo>
                    <a:pt x="1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2" name="Freeform 49"/>
            <p:cNvSpPr>
              <a:spLocks/>
            </p:cNvSpPr>
            <p:nvPr/>
          </p:nvSpPr>
          <p:spPr bwMode="auto">
            <a:xfrm>
              <a:off x="13630276" y="8166100"/>
              <a:ext cx="25400" cy="46037"/>
            </a:xfrm>
            <a:custGeom>
              <a:avLst/>
              <a:gdLst>
                <a:gd name="T0" fmla="*/ 16 w 16"/>
                <a:gd name="T1" fmla="*/ 29 h 29"/>
                <a:gd name="T2" fmla="*/ 14 w 16"/>
                <a:gd name="T3" fmla="*/ 17 h 29"/>
                <a:gd name="T4" fmla="*/ 14 w 16"/>
                <a:gd name="T5" fmla="*/ 5 h 29"/>
                <a:gd name="T6" fmla="*/ 14 w 16"/>
                <a:gd name="T7" fmla="*/ 0 h 29"/>
                <a:gd name="T8" fmla="*/ 0 w 16"/>
                <a:gd name="T9" fmla="*/ 3 h 29"/>
                <a:gd name="T10" fmla="*/ 0 w 16"/>
                <a:gd name="T11" fmla="*/ 5 h 29"/>
                <a:gd name="T12" fmla="*/ 2 w 16"/>
                <a:gd name="T13" fmla="*/ 19 h 29"/>
                <a:gd name="T14" fmla="*/ 2 w 16"/>
                <a:gd name="T15" fmla="*/ 29 h 29"/>
                <a:gd name="T16" fmla="*/ 16 w 16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9">
                  <a:moveTo>
                    <a:pt x="16" y="29"/>
                  </a:moveTo>
                  <a:lnTo>
                    <a:pt x="14" y="17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9"/>
                  </a:lnTo>
                  <a:lnTo>
                    <a:pt x="2" y="29"/>
                  </a:lnTo>
                  <a:lnTo>
                    <a:pt x="1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3" name="Freeform 50"/>
            <p:cNvSpPr>
              <a:spLocks/>
            </p:cNvSpPr>
            <p:nvPr/>
          </p:nvSpPr>
          <p:spPr bwMode="auto">
            <a:xfrm>
              <a:off x="13636626" y="8275638"/>
              <a:ext cx="23813" cy="46037"/>
            </a:xfrm>
            <a:custGeom>
              <a:avLst/>
              <a:gdLst>
                <a:gd name="T0" fmla="*/ 15 w 15"/>
                <a:gd name="T1" fmla="*/ 26 h 29"/>
                <a:gd name="T2" fmla="*/ 15 w 15"/>
                <a:gd name="T3" fmla="*/ 26 h 29"/>
                <a:gd name="T4" fmla="*/ 15 w 15"/>
                <a:gd name="T5" fmla="*/ 12 h 29"/>
                <a:gd name="T6" fmla="*/ 15 w 15"/>
                <a:gd name="T7" fmla="*/ 0 h 29"/>
                <a:gd name="T8" fmla="*/ 0 w 15"/>
                <a:gd name="T9" fmla="*/ 0 h 29"/>
                <a:gd name="T10" fmla="*/ 0 w 15"/>
                <a:gd name="T11" fmla="*/ 14 h 29"/>
                <a:gd name="T12" fmla="*/ 3 w 15"/>
                <a:gd name="T13" fmla="*/ 26 h 29"/>
                <a:gd name="T14" fmla="*/ 3 w 15"/>
                <a:gd name="T15" fmla="*/ 29 h 29"/>
                <a:gd name="T16" fmla="*/ 15 w 1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9">
                  <a:moveTo>
                    <a:pt x="15" y="26"/>
                  </a:moveTo>
                  <a:lnTo>
                    <a:pt x="15" y="26"/>
                  </a:lnTo>
                  <a:lnTo>
                    <a:pt x="15" y="12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1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  <p:sp>
          <p:nvSpPr>
            <p:cNvPr id="124" name="Freeform 51"/>
            <p:cNvSpPr>
              <a:spLocks/>
            </p:cNvSpPr>
            <p:nvPr/>
          </p:nvSpPr>
          <p:spPr bwMode="auto">
            <a:xfrm>
              <a:off x="13641388" y="8385175"/>
              <a:ext cx="22225" cy="41275"/>
            </a:xfrm>
            <a:custGeom>
              <a:avLst/>
              <a:gdLst>
                <a:gd name="T0" fmla="*/ 14 w 14"/>
                <a:gd name="T1" fmla="*/ 26 h 26"/>
                <a:gd name="T2" fmla="*/ 14 w 14"/>
                <a:gd name="T3" fmla="*/ 21 h 26"/>
                <a:gd name="T4" fmla="*/ 14 w 14"/>
                <a:gd name="T5" fmla="*/ 9 h 26"/>
                <a:gd name="T6" fmla="*/ 14 w 14"/>
                <a:gd name="T7" fmla="*/ 0 h 26"/>
                <a:gd name="T8" fmla="*/ 0 w 14"/>
                <a:gd name="T9" fmla="*/ 0 h 26"/>
                <a:gd name="T10" fmla="*/ 0 w 14"/>
                <a:gd name="T11" fmla="*/ 9 h 26"/>
                <a:gd name="T12" fmla="*/ 0 w 14"/>
                <a:gd name="T13" fmla="*/ 21 h 26"/>
                <a:gd name="T14" fmla="*/ 0 w 14"/>
                <a:gd name="T15" fmla="*/ 26 h 26"/>
                <a:gd name="T16" fmla="*/ 14 w 1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6">
                  <a:moveTo>
                    <a:pt x="14" y="26"/>
                  </a:moveTo>
                  <a:lnTo>
                    <a:pt x="14" y="21"/>
                  </a:lnTo>
                  <a:lnTo>
                    <a:pt x="14" y="9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2"/>
            </a:p>
          </p:txBody>
        </p:sp>
      </p:grpSp>
      <p:sp>
        <p:nvSpPr>
          <p:cNvPr id="125" name="Shape 922"/>
          <p:cNvSpPr>
            <a:spLocks noGrp="1"/>
          </p:cNvSpPr>
          <p:nvPr>
            <p:ph type="body" sz="quarter" idx="25" hasCustomPrompt="1"/>
          </p:nvPr>
        </p:nvSpPr>
        <p:spPr>
          <a:xfrm>
            <a:off x="4648122" y="3574802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sp>
        <p:nvSpPr>
          <p:cNvPr id="128" name="Shape 922"/>
          <p:cNvSpPr>
            <a:spLocks noGrp="1"/>
          </p:cNvSpPr>
          <p:nvPr>
            <p:ph type="body" sz="quarter" idx="28" hasCustomPrompt="1"/>
          </p:nvPr>
        </p:nvSpPr>
        <p:spPr>
          <a:xfrm>
            <a:off x="8249188" y="1411355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1810489"/>
            <a:ext cx="748316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Равнобедренный треугольник 128"/>
          <p:cNvSpPr/>
          <p:nvPr userDrawn="1"/>
        </p:nvSpPr>
        <p:spPr>
          <a:xfrm>
            <a:off x="-2867637" y="5640738"/>
            <a:ext cx="3619162" cy="1232908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0" name="Равнобедренный треугольник 129"/>
          <p:cNvSpPr/>
          <p:nvPr userDrawn="1"/>
        </p:nvSpPr>
        <p:spPr>
          <a:xfrm>
            <a:off x="115297" y="5062598"/>
            <a:ext cx="3619162" cy="179540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2" name="Равнобедренный треугольник 131"/>
          <p:cNvSpPr/>
          <p:nvPr userDrawn="1"/>
        </p:nvSpPr>
        <p:spPr>
          <a:xfrm>
            <a:off x="2354307" y="5776223"/>
            <a:ext cx="2213687" cy="1098171"/>
          </a:xfrm>
          <a:prstGeom prst="triangle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3" name="Равнобедренный треугольник 132"/>
          <p:cNvSpPr/>
          <p:nvPr userDrawn="1"/>
        </p:nvSpPr>
        <p:spPr>
          <a:xfrm>
            <a:off x="7464320" y="5088482"/>
            <a:ext cx="3619162" cy="1764034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4" name="Равнобедренный треугольник 133"/>
          <p:cNvSpPr/>
          <p:nvPr userDrawn="1"/>
        </p:nvSpPr>
        <p:spPr>
          <a:xfrm>
            <a:off x="8941291" y="3627713"/>
            <a:ext cx="6515426" cy="323218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cxnSp>
        <p:nvCxnSpPr>
          <p:cNvPr id="136" name="Прямая соединительная линия 135"/>
          <p:cNvCxnSpPr/>
          <p:nvPr userDrawn="1"/>
        </p:nvCxnSpPr>
        <p:spPr>
          <a:xfrm>
            <a:off x="11136014" y="1810489"/>
            <a:ext cx="1055987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Текст 7"/>
          <p:cNvSpPr>
            <a:spLocks noGrp="1"/>
          </p:cNvSpPr>
          <p:nvPr>
            <p:ph type="body" sz="quarter" idx="39" hasCustomPrompt="1"/>
          </p:nvPr>
        </p:nvSpPr>
        <p:spPr>
          <a:xfrm>
            <a:off x="1061406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135" name="Текст 7"/>
          <p:cNvSpPr>
            <a:spLocks noGrp="1"/>
          </p:cNvSpPr>
          <p:nvPr>
            <p:ph type="body" sz="quarter" idx="38" hasCustomPrompt="1"/>
          </p:nvPr>
        </p:nvSpPr>
        <p:spPr>
          <a:xfrm>
            <a:off x="1061406" y="3244361"/>
            <a:ext cx="2542662" cy="1267419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  <p:sp>
        <p:nvSpPr>
          <p:cNvPr id="137" name="Текст 7"/>
          <p:cNvSpPr>
            <a:spLocks noGrp="1"/>
          </p:cNvSpPr>
          <p:nvPr>
            <p:ph type="body" sz="quarter" idx="40" hasCustomPrompt="1"/>
          </p:nvPr>
        </p:nvSpPr>
        <p:spPr>
          <a:xfrm>
            <a:off x="4653514" y="4684393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138" name="Текст 7"/>
          <p:cNvSpPr>
            <a:spLocks noGrp="1"/>
          </p:cNvSpPr>
          <p:nvPr>
            <p:ph type="body" sz="quarter" idx="41" hasCustomPrompt="1"/>
          </p:nvPr>
        </p:nvSpPr>
        <p:spPr>
          <a:xfrm>
            <a:off x="4653513" y="5222005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  <p:sp>
        <p:nvSpPr>
          <p:cNvPr id="13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8263437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140" name="Текст 7"/>
          <p:cNvSpPr>
            <a:spLocks noGrp="1"/>
          </p:cNvSpPr>
          <p:nvPr>
            <p:ph type="body" sz="quarter" idx="43" hasCustomPrompt="1"/>
          </p:nvPr>
        </p:nvSpPr>
        <p:spPr>
          <a:xfrm>
            <a:off x="8263436" y="3244362"/>
            <a:ext cx="2542662" cy="1279973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</p:spTree>
    <p:extLst>
      <p:ext uri="{BB962C8B-B14F-4D97-AF65-F5344CB8AC3E}">
        <p14:creationId xmlns:p14="http://schemas.microsoft.com/office/powerpoint/2010/main" val="446514643"/>
      </p:ext>
    </p:extLst>
  </p:cSld>
  <p:clrMapOvr>
    <a:masterClrMapping/>
  </p:clrMapOvr>
  <p:transition spd="slow" advClick="0" advTm="4000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6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6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00" fill="hold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9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800"/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800" fill="hold"/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1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600"/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600" fill="hold"/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00" fill="hold"/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800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800" fill="hold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800" fill="hold"/>
                                        <p:tgtEl>
                                          <p:spTgt spid="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600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600" fill="hold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600" fill="hold"/>
                                        <p:tgtEl>
                                          <p:spTgt spid="1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decel="83333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3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100"/>
                            </p:stCondLst>
                            <p:childTnLst>
                              <p:par>
                                <p:cTn id="52" presetID="2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8" grpId="0">
        <p:tmplLst>
          <p:tmpl>
            <p:tnLst>
              <p:par>
                <p:cTn presetID="2" presetClass="entr" presetSubtype="2" decel="83333" fill="hold" nodeType="withEffect">
                  <p:stCondLst>
                    <p:cond delay="40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3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1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5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7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7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8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38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139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1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1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140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Timeline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0" y="1810489"/>
            <a:ext cx="748316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Равнобедренный треугольник 132"/>
          <p:cNvSpPr/>
          <p:nvPr userDrawn="1"/>
        </p:nvSpPr>
        <p:spPr>
          <a:xfrm>
            <a:off x="695299" y="4776407"/>
            <a:ext cx="4259431" cy="2076111"/>
          </a:xfrm>
          <a:prstGeom prst="triangle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4" name="Равнобедренный треугольник 133"/>
          <p:cNvSpPr/>
          <p:nvPr userDrawn="1"/>
        </p:nvSpPr>
        <p:spPr>
          <a:xfrm>
            <a:off x="-3257713" y="3627713"/>
            <a:ext cx="6515426" cy="323218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131" name="Равнобедренный треугольник 130"/>
          <p:cNvSpPr/>
          <p:nvPr userDrawn="1"/>
        </p:nvSpPr>
        <p:spPr>
          <a:xfrm>
            <a:off x="2110503" y="1625473"/>
            <a:ext cx="11675503" cy="5234428"/>
          </a:xfrm>
          <a:prstGeom prst="triangle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953069" y="901721"/>
            <a:ext cx="7867362" cy="434047"/>
            <a:chOff x="15743759" y="496690"/>
            <a:chExt cx="15564675" cy="865783"/>
          </a:xfrm>
        </p:grpSpPr>
        <p:sp>
          <p:nvSpPr>
            <p:cNvPr id="5" name="Волна 4"/>
            <p:cNvSpPr/>
            <p:nvPr userDrawn="1"/>
          </p:nvSpPr>
          <p:spPr>
            <a:xfrm>
              <a:off x="15743759" y="49669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35" name="Волна 134"/>
            <p:cNvSpPr/>
            <p:nvPr userDrawn="1"/>
          </p:nvSpPr>
          <p:spPr>
            <a:xfrm>
              <a:off x="17034782" y="5030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37" name="Волна 136"/>
            <p:cNvSpPr/>
            <p:nvPr userDrawn="1"/>
          </p:nvSpPr>
          <p:spPr>
            <a:xfrm>
              <a:off x="18334787" y="5030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0" name="Волна 139"/>
            <p:cNvSpPr/>
            <p:nvPr userDrawn="1"/>
          </p:nvSpPr>
          <p:spPr>
            <a:xfrm>
              <a:off x="19634792" y="50046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1" name="Волна 140"/>
            <p:cNvSpPr/>
            <p:nvPr userDrawn="1"/>
          </p:nvSpPr>
          <p:spPr>
            <a:xfrm>
              <a:off x="20925815" y="5068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2" name="Волна 141"/>
            <p:cNvSpPr/>
            <p:nvPr userDrawn="1"/>
          </p:nvSpPr>
          <p:spPr>
            <a:xfrm>
              <a:off x="22225820" y="5068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3" name="Волна 142"/>
            <p:cNvSpPr/>
            <p:nvPr userDrawn="1"/>
          </p:nvSpPr>
          <p:spPr>
            <a:xfrm>
              <a:off x="23525825" y="50939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4" name="Волна 143"/>
            <p:cNvSpPr/>
            <p:nvPr userDrawn="1"/>
          </p:nvSpPr>
          <p:spPr>
            <a:xfrm>
              <a:off x="24816848" y="5157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5" name="Волна 144"/>
            <p:cNvSpPr/>
            <p:nvPr userDrawn="1"/>
          </p:nvSpPr>
          <p:spPr>
            <a:xfrm>
              <a:off x="26116853" y="515740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6" name="Волна 145"/>
            <p:cNvSpPr/>
            <p:nvPr userDrawn="1"/>
          </p:nvSpPr>
          <p:spPr>
            <a:xfrm>
              <a:off x="27416858" y="51316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7" name="Волна 146"/>
            <p:cNvSpPr/>
            <p:nvPr userDrawn="1"/>
          </p:nvSpPr>
          <p:spPr>
            <a:xfrm>
              <a:off x="28707881" y="5195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  <p:sp>
          <p:nvSpPr>
            <p:cNvPr id="148" name="Волна 147"/>
            <p:cNvSpPr/>
            <p:nvPr userDrawn="1"/>
          </p:nvSpPr>
          <p:spPr>
            <a:xfrm>
              <a:off x="30007886" y="519511"/>
              <a:ext cx="1300548" cy="842962"/>
            </a:xfrm>
            <a:prstGeom prst="wave">
              <a:avLst/>
            </a:prstGeom>
            <a:solidFill>
              <a:srgbClr val="FF11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2"/>
            </a:p>
          </p:txBody>
        </p:sp>
      </p:grpSp>
      <p:sp>
        <p:nvSpPr>
          <p:cNvPr id="7" name="Прямоугольник 6"/>
          <p:cNvSpPr/>
          <p:nvPr userDrawn="1"/>
        </p:nvSpPr>
        <p:spPr>
          <a:xfrm>
            <a:off x="8512092" y="721854"/>
            <a:ext cx="3679908" cy="7218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  <p:sp>
        <p:nvSpPr>
          <p:cNvPr id="72" name="Shape 922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70321" y="1407494"/>
            <a:ext cx="5746255" cy="92447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7519" b="1" spc="-30">
                <a:solidFill>
                  <a:srgbClr val="FFFFFF"/>
                </a:solidFill>
                <a:latin typeface="+mj-lt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r>
              <a:rPr lang="en-US"/>
              <a:t>Title</a:t>
            </a:r>
            <a:endParaRPr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39" hasCustomPrompt="1"/>
          </p:nvPr>
        </p:nvSpPr>
        <p:spPr>
          <a:xfrm>
            <a:off x="1061406" y="2706750"/>
            <a:ext cx="2542663" cy="3541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4" b="1"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tle_02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38" hasCustomPrompt="1"/>
          </p:nvPr>
        </p:nvSpPr>
        <p:spPr>
          <a:xfrm>
            <a:off x="1061406" y="3244361"/>
            <a:ext cx="2542662" cy="1267419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baseline="0">
                <a:solidFill>
                  <a:schemeClr val="bg1">
                    <a:alpha val="80000"/>
                  </a:schemeClr>
                </a:solidFill>
                <a:latin typeface="Source Sans Pro Light" panose="020B04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Base text_02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 flipV="1">
            <a:off x="7948254" y="904102"/>
            <a:ext cx="0" cy="723753"/>
          </a:xfrm>
          <a:prstGeom prst="line">
            <a:avLst/>
          </a:prstGeom>
          <a:ln w="254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138"/>
          <p:cNvSpPr/>
          <p:nvPr userDrawn="1"/>
        </p:nvSpPr>
        <p:spPr>
          <a:xfrm>
            <a:off x="2381" y="727458"/>
            <a:ext cx="7937020" cy="7218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2"/>
          </a:p>
        </p:txBody>
      </p:sp>
    </p:spTree>
    <p:extLst>
      <p:ext uri="{BB962C8B-B14F-4D97-AF65-F5344CB8AC3E}">
        <p14:creationId xmlns:p14="http://schemas.microsoft.com/office/powerpoint/2010/main" val="2188383529"/>
      </p:ext>
    </p:extLst>
  </p:cSld>
  <p:clrMapOvr>
    <a:masterClrMapping/>
  </p:clrMapOvr>
  <p:transition spd="slow" advTm="3000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decel="33333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96296E-6 L -0.10872 -2.96296E-6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8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8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8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6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6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6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28"/>
                        </p:tgtEl>
                      </p:cBhvr>
                    </p:animEffect>
                    <p:anim calcmode="lin" valueType="num">
                      <p:cBhvr>
                        <p:cTn dur="8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8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600"/>
                        <p:tgtEl>
                          <p:spTgt spid="29"/>
                        </p:tgtEl>
                      </p:cBhvr>
                    </p:animEffect>
                    <p:anim calcmode="lin" valueType="num">
                      <p:cBhvr>
                        <p:cTn dur="6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6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4830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0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1638301" y="2447925"/>
            <a:ext cx="1962150" cy="19621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1"/>
          </p:nvPr>
        </p:nvSpPr>
        <p:spPr>
          <a:xfrm>
            <a:off x="5114926" y="2447925"/>
            <a:ext cx="1962150" cy="19621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9" name="Рисунок 3"/>
          <p:cNvSpPr>
            <a:spLocks noGrp="1"/>
          </p:cNvSpPr>
          <p:nvPr>
            <p:ph type="pic" sz="quarter" idx="12"/>
          </p:nvPr>
        </p:nvSpPr>
        <p:spPr>
          <a:xfrm>
            <a:off x="8591551" y="2447925"/>
            <a:ext cx="1962150" cy="19621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991807416"/>
      </p:ext>
    </p:extLst>
  </p:cSld>
  <p:clrMapOvr>
    <a:masterClrMapping/>
  </p:clrMapOvr>
  <p:transition spd="med" advClick="0" advTm="2000">
    <p:push dir="d"/>
  </p:transition>
  <p:extLst>
    <p:ext uri="{DCECCB84-F9BA-43D5-87BE-67443E8EF086}">
      <p15:sldGuideLst xmlns:p15="http://schemas.microsoft.com/office/powerpoint/2012/main">
        <p15:guide id="1" pos="7680">
          <p15:clr>
            <a:srgbClr val="FBAE40"/>
          </p15:clr>
        </p15:guide>
        <p15:guide id="2" orient="horz" pos="4320">
          <p15:clr>
            <a:srgbClr val="FBAE40"/>
          </p15:clr>
        </p15:guide>
        <p15:guide id="3" pos="14484">
          <p15:clr>
            <a:srgbClr val="FBAE40"/>
          </p15:clr>
        </p15:guide>
        <p15:guide id="4" pos="87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5334001" y="3515822"/>
            <a:ext cx="3337711" cy="1962266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>
          <a:xfrm>
            <a:off x="6713914" y="1"/>
            <a:ext cx="1962568" cy="3347244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8854290" y="1379913"/>
            <a:ext cx="3337711" cy="196226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8854290" y="3515822"/>
            <a:ext cx="1957798" cy="3342178"/>
          </a:xfrm>
        </p:spPr>
        <p:txBody>
          <a:bodyPr/>
          <a:lstStyle/>
          <a:p>
            <a:endParaRPr lang="en-US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10286000" y="421200"/>
            <a:ext cx="1554878" cy="540000"/>
            <a:chOff x="2861" y="1820"/>
            <a:chExt cx="1958" cy="680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3B9E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29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Portfolio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8"/>
          <p:cNvSpPr/>
          <p:nvPr userDrawn="1"/>
        </p:nvSpPr>
        <p:spPr>
          <a:xfrm>
            <a:off x="8838632" y="2117"/>
            <a:ext cx="3353368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3271378" y="914400"/>
            <a:ext cx="2827267" cy="2521986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095394" y="914997"/>
            <a:ext cx="5492548" cy="2521389"/>
          </a:xfrm>
          <a:custGeom>
            <a:avLst/>
            <a:gdLst>
              <a:gd name="connsiteX0" fmla="*/ 0 w 5334606"/>
              <a:gd name="connsiteY0" fmla="*/ 0 h 2521389"/>
              <a:gd name="connsiteX1" fmla="*/ 5334606 w 5334606"/>
              <a:gd name="connsiteY1" fmla="*/ 0 h 2521389"/>
              <a:gd name="connsiteX2" fmla="*/ 5334606 w 5334606"/>
              <a:gd name="connsiteY2" fmla="*/ 2521389 h 2521389"/>
              <a:gd name="connsiteX3" fmla="*/ 0 w 5334606"/>
              <a:gd name="connsiteY3" fmla="*/ 2521389 h 2521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34606" h="2521389">
                <a:moveTo>
                  <a:pt x="0" y="0"/>
                </a:moveTo>
                <a:lnTo>
                  <a:pt x="5334606" y="0"/>
                </a:lnTo>
                <a:lnTo>
                  <a:pt x="5334606" y="2521389"/>
                </a:lnTo>
                <a:lnTo>
                  <a:pt x="0" y="252138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271378" y="3431811"/>
            <a:ext cx="2827268" cy="2540011"/>
          </a:xfrm>
          <a:custGeom>
            <a:avLst/>
            <a:gdLst>
              <a:gd name="connsiteX0" fmla="*/ 0 w 2819401"/>
              <a:gd name="connsiteY0" fmla="*/ 0 h 2540011"/>
              <a:gd name="connsiteX1" fmla="*/ 2819401 w 2819401"/>
              <a:gd name="connsiteY1" fmla="*/ 0 h 2540011"/>
              <a:gd name="connsiteX2" fmla="*/ 2819401 w 2819401"/>
              <a:gd name="connsiteY2" fmla="*/ 2540011 h 2540011"/>
              <a:gd name="connsiteX3" fmla="*/ 0 w 2819401"/>
              <a:gd name="connsiteY3" fmla="*/ 2540011 h 2540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40011">
                <a:moveTo>
                  <a:pt x="0" y="0"/>
                </a:moveTo>
                <a:lnTo>
                  <a:pt x="2819401" y="0"/>
                </a:lnTo>
                <a:lnTo>
                  <a:pt x="2819401" y="2540011"/>
                </a:lnTo>
                <a:lnTo>
                  <a:pt x="0" y="2540011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095394" y="3431813"/>
            <a:ext cx="2827266" cy="2540009"/>
          </a:xfrm>
          <a:custGeom>
            <a:avLst/>
            <a:gdLst>
              <a:gd name="connsiteX0" fmla="*/ 0 w 2819401"/>
              <a:gd name="connsiteY0" fmla="*/ 0 h 2540009"/>
              <a:gd name="connsiteX1" fmla="*/ 2819401 w 2819401"/>
              <a:gd name="connsiteY1" fmla="*/ 0 h 2540009"/>
              <a:gd name="connsiteX2" fmla="*/ 2819401 w 2819401"/>
              <a:gd name="connsiteY2" fmla="*/ 2540009 h 2540009"/>
              <a:gd name="connsiteX3" fmla="*/ 0 w 2819401"/>
              <a:gd name="connsiteY3" fmla="*/ 2540009 h 2540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40009">
                <a:moveTo>
                  <a:pt x="0" y="0"/>
                </a:moveTo>
                <a:lnTo>
                  <a:pt x="2819401" y="0"/>
                </a:lnTo>
                <a:lnTo>
                  <a:pt x="2819401" y="2540009"/>
                </a:lnTo>
                <a:lnTo>
                  <a:pt x="0" y="254000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" y="914399"/>
            <a:ext cx="3271378" cy="2521987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3428998"/>
            <a:ext cx="1659156" cy="2542824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1659156" y="3432284"/>
            <a:ext cx="1612222" cy="2539538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8922660" y="3436386"/>
            <a:ext cx="2665282" cy="2535436"/>
          </a:xfrm>
          <a:custGeom>
            <a:avLst/>
            <a:gdLst>
              <a:gd name="connsiteX0" fmla="*/ 0 w 2819401"/>
              <a:gd name="connsiteY0" fmla="*/ 0 h 2514599"/>
              <a:gd name="connsiteX1" fmla="*/ 2819401 w 2819401"/>
              <a:gd name="connsiteY1" fmla="*/ 0 h 2514599"/>
              <a:gd name="connsiteX2" fmla="*/ 2819401 w 2819401"/>
              <a:gd name="connsiteY2" fmla="*/ 2514599 h 2514599"/>
              <a:gd name="connsiteX3" fmla="*/ 0 w 2819401"/>
              <a:gd name="connsiteY3" fmla="*/ 2514599 h 251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9401" h="2514599">
                <a:moveTo>
                  <a:pt x="0" y="0"/>
                </a:moveTo>
                <a:lnTo>
                  <a:pt x="2819401" y="0"/>
                </a:lnTo>
                <a:lnTo>
                  <a:pt x="2819401" y="2514599"/>
                </a:lnTo>
                <a:lnTo>
                  <a:pt x="0" y="25145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83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vmlDrawing" Target="../drawings/vmlDrawing1.v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55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3" Type="http://schemas.openxmlformats.org/officeDocument/2006/relationships/slideLayout" Target="../slideLayouts/slideLayout112.xml"/><Relationship Id="rId58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56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59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100.xml"/><Relationship Id="rId54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57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slideLayout" Target="../slideLayouts/slideLayout111.xml"/><Relationship Id="rId6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6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4" imgW="667" imgH="667" progId="TCLayout.ActiveDocument.1">
                  <p:embed/>
                </p:oleObj>
              </mc:Choice>
              <mc:Fallback>
                <p:oleObj name="think-cell Slide" r:id="rId64" imgW="667" imgH="66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 dirty="0">
              <a:latin typeface="Source Sans Pro Black" panose="020B0803030403020204" pitchFamily="34" charset="0"/>
              <a:ea typeface="Roboto Black" panose="02000000000000000000" pitchFamily="2" charset="0"/>
              <a:cs typeface="+mj-cs"/>
              <a:sym typeface="Source Sans Pro Black" panose="020B08030304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2FC07A-730B-4BD5-910B-545DCD7BC731}" type="datetimeFigureOut">
              <a:rPr lang="en-US" smtClean="0"/>
              <a:t>17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5CACD-2861-4E42-AA65-4B6FB56FC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71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</p:sldLayoutIdLst>
  <p:transition spd="slow" advTm="2000">
    <p:cover dir="d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Roboto Black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2FC07A-730B-4BD5-910B-545DCD7BC731}" type="datetimeFigureOut">
              <a:rPr lang="en-US" smtClean="0"/>
              <a:t>1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5CACD-2861-4E42-AA65-4B6FB56FCA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618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1" r:id="rId32"/>
    <p:sldLayoutId id="2147483812" r:id="rId33"/>
    <p:sldLayoutId id="2147483813" r:id="rId34"/>
    <p:sldLayoutId id="2147483814" r:id="rId35"/>
    <p:sldLayoutId id="2147483815" r:id="rId36"/>
    <p:sldLayoutId id="2147483816" r:id="rId37"/>
    <p:sldLayoutId id="2147483817" r:id="rId38"/>
    <p:sldLayoutId id="2147483818" r:id="rId39"/>
    <p:sldLayoutId id="2147483819" r:id="rId40"/>
    <p:sldLayoutId id="2147483820" r:id="rId41"/>
    <p:sldLayoutId id="2147483821" r:id="rId42"/>
    <p:sldLayoutId id="2147483822" r:id="rId43"/>
    <p:sldLayoutId id="2147483823" r:id="rId44"/>
    <p:sldLayoutId id="2147483824" r:id="rId45"/>
    <p:sldLayoutId id="2147483825" r:id="rId46"/>
    <p:sldLayoutId id="2147483826" r:id="rId47"/>
    <p:sldLayoutId id="2147483827" r:id="rId48"/>
    <p:sldLayoutId id="2147483828" r:id="rId49"/>
    <p:sldLayoutId id="2147483829" r:id="rId50"/>
    <p:sldLayoutId id="2147483830" r:id="rId51"/>
    <p:sldLayoutId id="2147483831" r:id="rId52"/>
    <p:sldLayoutId id="2147483832" r:id="rId53"/>
    <p:sldLayoutId id="2147483833" r:id="rId54"/>
    <p:sldLayoutId id="2147483834" r:id="rId55"/>
    <p:sldLayoutId id="2147483835" r:id="rId56"/>
    <p:sldLayoutId id="2147483836" r:id="rId57"/>
    <p:sldLayoutId id="2147483837" r:id="rId58"/>
    <p:sldLayoutId id="2147483838" r:id="rId59"/>
  </p:sldLayoutIdLst>
  <p:transition spd="slow" advTm="2000">
    <p:cover dir="d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Roboto Black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7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17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diagramColors" Target="../diagrams/colors10.xml"/><Relationship Id="rId3" Type="http://schemas.openxmlformats.org/officeDocument/2006/relationships/diagramLayout" Target="../diagrams/layout9.xml"/><Relationship Id="rId21" Type="http://schemas.openxmlformats.org/officeDocument/2006/relationships/image" Target="../media/image32.jpe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diagramQuickStyle" Target="../diagrams/quickStyle10.xml"/><Relationship Id="rId2" Type="http://schemas.openxmlformats.org/officeDocument/2006/relationships/diagramData" Target="../diagrams/data9.xml"/><Relationship Id="rId16" Type="http://schemas.openxmlformats.org/officeDocument/2006/relationships/diagramLayout" Target="../diagrams/layout10.xml"/><Relationship Id="rId20" Type="http://schemas.openxmlformats.org/officeDocument/2006/relationships/image" Target="../media/image31.jpeg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9.xml"/><Relationship Id="rId11" Type="http://schemas.openxmlformats.org/officeDocument/2006/relationships/image" Target="../media/image27.png"/><Relationship Id="rId5" Type="http://schemas.openxmlformats.org/officeDocument/2006/relationships/diagramColors" Target="../diagrams/colors9.xml"/><Relationship Id="rId15" Type="http://schemas.openxmlformats.org/officeDocument/2006/relationships/diagramData" Target="../diagrams/data10.xml"/><Relationship Id="rId10" Type="http://schemas.openxmlformats.org/officeDocument/2006/relationships/image" Target="../media/image26.png"/><Relationship Id="rId19" Type="http://schemas.microsoft.com/office/2007/relationships/diagramDrawing" Target="../diagrams/drawing10.xml"/><Relationship Id="rId4" Type="http://schemas.openxmlformats.org/officeDocument/2006/relationships/diagramQuickStyle" Target="../diagrams/quickStyle9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7" Type="http://schemas.openxmlformats.org/officeDocument/2006/relationships/image" Target="../media/image49.jpeg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8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0.png"/><Relationship Id="rId5" Type="http://schemas.openxmlformats.org/officeDocument/2006/relationships/image" Target="../media/image79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7CE19670-209B-46A5-8DB9-6D85DBA5BD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0"/>
            <a:ext cx="11503025" cy="6858000"/>
            <a:chOff x="0" y="0"/>
            <a:chExt cx="7246" cy="4320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AABB9A25-61EB-4162-B4E3-B951B319E34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724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216529C-2BC5-42CC-A22A-AA809FAA3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4236" cy="4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B8F2CD4-D2E3-4C45-A74A-3FC0A307E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4" y="720"/>
              <a:ext cx="96" cy="96"/>
            </a:xfrm>
            <a:custGeom>
              <a:avLst/>
              <a:gdLst>
                <a:gd name="T0" fmla="*/ 48 w 96"/>
                <a:gd name="T1" fmla="*/ 0 h 96"/>
                <a:gd name="T2" fmla="*/ 48 w 96"/>
                <a:gd name="T3" fmla="*/ 0 h 96"/>
                <a:gd name="T4" fmla="*/ 38 w 96"/>
                <a:gd name="T5" fmla="*/ 1 h 96"/>
                <a:gd name="T6" fmla="*/ 29 w 96"/>
                <a:gd name="T7" fmla="*/ 4 h 96"/>
                <a:gd name="T8" fmla="*/ 21 w 96"/>
                <a:gd name="T9" fmla="*/ 8 h 96"/>
                <a:gd name="T10" fmla="*/ 14 w 96"/>
                <a:gd name="T11" fmla="*/ 14 h 96"/>
                <a:gd name="T12" fmla="*/ 8 w 96"/>
                <a:gd name="T13" fmla="*/ 21 h 96"/>
                <a:gd name="T14" fmla="*/ 4 w 96"/>
                <a:gd name="T15" fmla="*/ 29 h 96"/>
                <a:gd name="T16" fmla="*/ 1 w 96"/>
                <a:gd name="T17" fmla="*/ 38 h 96"/>
                <a:gd name="T18" fmla="*/ 0 w 96"/>
                <a:gd name="T19" fmla="*/ 48 h 96"/>
                <a:gd name="T20" fmla="*/ 0 w 96"/>
                <a:gd name="T21" fmla="*/ 48 h 96"/>
                <a:gd name="T22" fmla="*/ 1 w 96"/>
                <a:gd name="T23" fmla="*/ 58 h 96"/>
                <a:gd name="T24" fmla="*/ 4 w 96"/>
                <a:gd name="T25" fmla="*/ 67 h 96"/>
                <a:gd name="T26" fmla="*/ 8 w 96"/>
                <a:gd name="T27" fmla="*/ 75 h 96"/>
                <a:gd name="T28" fmla="*/ 14 w 96"/>
                <a:gd name="T29" fmla="*/ 82 h 96"/>
                <a:gd name="T30" fmla="*/ 21 w 96"/>
                <a:gd name="T31" fmla="*/ 88 h 96"/>
                <a:gd name="T32" fmla="*/ 29 w 96"/>
                <a:gd name="T33" fmla="*/ 92 h 96"/>
                <a:gd name="T34" fmla="*/ 38 w 96"/>
                <a:gd name="T35" fmla="*/ 95 h 96"/>
                <a:gd name="T36" fmla="*/ 48 w 96"/>
                <a:gd name="T37" fmla="*/ 96 h 96"/>
                <a:gd name="T38" fmla="*/ 48 w 96"/>
                <a:gd name="T39" fmla="*/ 96 h 96"/>
                <a:gd name="T40" fmla="*/ 58 w 96"/>
                <a:gd name="T41" fmla="*/ 95 h 96"/>
                <a:gd name="T42" fmla="*/ 67 w 96"/>
                <a:gd name="T43" fmla="*/ 92 h 96"/>
                <a:gd name="T44" fmla="*/ 75 w 96"/>
                <a:gd name="T45" fmla="*/ 88 h 96"/>
                <a:gd name="T46" fmla="*/ 82 w 96"/>
                <a:gd name="T47" fmla="*/ 82 h 96"/>
                <a:gd name="T48" fmla="*/ 88 w 96"/>
                <a:gd name="T49" fmla="*/ 75 h 96"/>
                <a:gd name="T50" fmla="*/ 92 w 96"/>
                <a:gd name="T51" fmla="*/ 67 h 96"/>
                <a:gd name="T52" fmla="*/ 95 w 96"/>
                <a:gd name="T53" fmla="*/ 58 h 96"/>
                <a:gd name="T54" fmla="*/ 96 w 96"/>
                <a:gd name="T55" fmla="*/ 48 h 96"/>
                <a:gd name="T56" fmla="*/ 96 w 96"/>
                <a:gd name="T57" fmla="*/ 48 h 96"/>
                <a:gd name="T58" fmla="*/ 95 w 96"/>
                <a:gd name="T59" fmla="*/ 38 h 96"/>
                <a:gd name="T60" fmla="*/ 92 w 96"/>
                <a:gd name="T61" fmla="*/ 29 h 96"/>
                <a:gd name="T62" fmla="*/ 88 w 96"/>
                <a:gd name="T63" fmla="*/ 21 h 96"/>
                <a:gd name="T64" fmla="*/ 82 w 96"/>
                <a:gd name="T65" fmla="*/ 14 h 96"/>
                <a:gd name="T66" fmla="*/ 75 w 96"/>
                <a:gd name="T67" fmla="*/ 8 h 96"/>
                <a:gd name="T68" fmla="*/ 67 w 96"/>
                <a:gd name="T69" fmla="*/ 4 h 96"/>
                <a:gd name="T70" fmla="*/ 58 w 96"/>
                <a:gd name="T71" fmla="*/ 1 h 96"/>
                <a:gd name="T72" fmla="*/ 48 w 96"/>
                <a:gd name="T7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lnTo>
                    <a:pt x="48" y="0"/>
                  </a:lnTo>
                  <a:lnTo>
                    <a:pt x="38" y="1"/>
                  </a:lnTo>
                  <a:lnTo>
                    <a:pt x="29" y="4"/>
                  </a:lnTo>
                  <a:lnTo>
                    <a:pt x="21" y="8"/>
                  </a:lnTo>
                  <a:lnTo>
                    <a:pt x="14" y="14"/>
                  </a:lnTo>
                  <a:lnTo>
                    <a:pt x="8" y="21"/>
                  </a:lnTo>
                  <a:lnTo>
                    <a:pt x="4" y="29"/>
                  </a:lnTo>
                  <a:lnTo>
                    <a:pt x="1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58"/>
                  </a:lnTo>
                  <a:lnTo>
                    <a:pt x="4" y="67"/>
                  </a:lnTo>
                  <a:lnTo>
                    <a:pt x="8" y="75"/>
                  </a:lnTo>
                  <a:lnTo>
                    <a:pt x="14" y="82"/>
                  </a:lnTo>
                  <a:lnTo>
                    <a:pt x="21" y="88"/>
                  </a:lnTo>
                  <a:lnTo>
                    <a:pt x="29" y="92"/>
                  </a:lnTo>
                  <a:lnTo>
                    <a:pt x="38" y="95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58" y="95"/>
                  </a:lnTo>
                  <a:lnTo>
                    <a:pt x="67" y="92"/>
                  </a:lnTo>
                  <a:lnTo>
                    <a:pt x="75" y="88"/>
                  </a:lnTo>
                  <a:lnTo>
                    <a:pt x="82" y="82"/>
                  </a:lnTo>
                  <a:lnTo>
                    <a:pt x="88" y="75"/>
                  </a:lnTo>
                  <a:lnTo>
                    <a:pt x="92" y="67"/>
                  </a:lnTo>
                  <a:lnTo>
                    <a:pt x="95" y="5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5" y="38"/>
                  </a:lnTo>
                  <a:lnTo>
                    <a:pt x="92" y="29"/>
                  </a:lnTo>
                  <a:lnTo>
                    <a:pt x="88" y="21"/>
                  </a:lnTo>
                  <a:lnTo>
                    <a:pt x="82" y="14"/>
                  </a:lnTo>
                  <a:lnTo>
                    <a:pt x="75" y="8"/>
                  </a:lnTo>
                  <a:lnTo>
                    <a:pt x="67" y="4"/>
                  </a:lnTo>
                  <a:lnTo>
                    <a:pt x="58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6EB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A1D356B-86EE-46B7-A782-680BF32CF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4" y="720"/>
              <a:ext cx="96" cy="96"/>
            </a:xfrm>
            <a:custGeom>
              <a:avLst/>
              <a:gdLst>
                <a:gd name="T0" fmla="*/ 48 w 96"/>
                <a:gd name="T1" fmla="*/ 0 h 96"/>
                <a:gd name="T2" fmla="*/ 48 w 96"/>
                <a:gd name="T3" fmla="*/ 0 h 96"/>
                <a:gd name="T4" fmla="*/ 38 w 96"/>
                <a:gd name="T5" fmla="*/ 1 h 96"/>
                <a:gd name="T6" fmla="*/ 29 w 96"/>
                <a:gd name="T7" fmla="*/ 4 h 96"/>
                <a:gd name="T8" fmla="*/ 21 w 96"/>
                <a:gd name="T9" fmla="*/ 8 h 96"/>
                <a:gd name="T10" fmla="*/ 14 w 96"/>
                <a:gd name="T11" fmla="*/ 14 h 96"/>
                <a:gd name="T12" fmla="*/ 8 w 96"/>
                <a:gd name="T13" fmla="*/ 21 h 96"/>
                <a:gd name="T14" fmla="*/ 4 w 96"/>
                <a:gd name="T15" fmla="*/ 29 h 96"/>
                <a:gd name="T16" fmla="*/ 1 w 96"/>
                <a:gd name="T17" fmla="*/ 38 h 96"/>
                <a:gd name="T18" fmla="*/ 0 w 96"/>
                <a:gd name="T19" fmla="*/ 48 h 96"/>
                <a:gd name="T20" fmla="*/ 0 w 96"/>
                <a:gd name="T21" fmla="*/ 48 h 96"/>
                <a:gd name="T22" fmla="*/ 1 w 96"/>
                <a:gd name="T23" fmla="*/ 58 h 96"/>
                <a:gd name="T24" fmla="*/ 4 w 96"/>
                <a:gd name="T25" fmla="*/ 67 h 96"/>
                <a:gd name="T26" fmla="*/ 8 w 96"/>
                <a:gd name="T27" fmla="*/ 75 h 96"/>
                <a:gd name="T28" fmla="*/ 14 w 96"/>
                <a:gd name="T29" fmla="*/ 82 h 96"/>
                <a:gd name="T30" fmla="*/ 21 w 96"/>
                <a:gd name="T31" fmla="*/ 88 h 96"/>
                <a:gd name="T32" fmla="*/ 29 w 96"/>
                <a:gd name="T33" fmla="*/ 92 h 96"/>
                <a:gd name="T34" fmla="*/ 38 w 96"/>
                <a:gd name="T35" fmla="*/ 95 h 96"/>
                <a:gd name="T36" fmla="*/ 48 w 96"/>
                <a:gd name="T37" fmla="*/ 96 h 96"/>
                <a:gd name="T38" fmla="*/ 48 w 96"/>
                <a:gd name="T39" fmla="*/ 96 h 96"/>
                <a:gd name="T40" fmla="*/ 58 w 96"/>
                <a:gd name="T41" fmla="*/ 95 h 96"/>
                <a:gd name="T42" fmla="*/ 67 w 96"/>
                <a:gd name="T43" fmla="*/ 92 h 96"/>
                <a:gd name="T44" fmla="*/ 75 w 96"/>
                <a:gd name="T45" fmla="*/ 88 h 96"/>
                <a:gd name="T46" fmla="*/ 82 w 96"/>
                <a:gd name="T47" fmla="*/ 82 h 96"/>
                <a:gd name="T48" fmla="*/ 88 w 96"/>
                <a:gd name="T49" fmla="*/ 75 h 96"/>
                <a:gd name="T50" fmla="*/ 92 w 96"/>
                <a:gd name="T51" fmla="*/ 67 h 96"/>
                <a:gd name="T52" fmla="*/ 95 w 96"/>
                <a:gd name="T53" fmla="*/ 58 h 96"/>
                <a:gd name="T54" fmla="*/ 96 w 96"/>
                <a:gd name="T55" fmla="*/ 48 h 96"/>
                <a:gd name="T56" fmla="*/ 96 w 96"/>
                <a:gd name="T57" fmla="*/ 48 h 96"/>
                <a:gd name="T58" fmla="*/ 95 w 96"/>
                <a:gd name="T59" fmla="*/ 38 h 96"/>
                <a:gd name="T60" fmla="*/ 92 w 96"/>
                <a:gd name="T61" fmla="*/ 29 h 96"/>
                <a:gd name="T62" fmla="*/ 88 w 96"/>
                <a:gd name="T63" fmla="*/ 21 h 96"/>
                <a:gd name="T64" fmla="*/ 82 w 96"/>
                <a:gd name="T65" fmla="*/ 14 h 96"/>
                <a:gd name="T66" fmla="*/ 75 w 96"/>
                <a:gd name="T67" fmla="*/ 8 h 96"/>
                <a:gd name="T68" fmla="*/ 67 w 96"/>
                <a:gd name="T69" fmla="*/ 4 h 96"/>
                <a:gd name="T70" fmla="*/ 58 w 96"/>
                <a:gd name="T71" fmla="*/ 1 h 96"/>
                <a:gd name="T72" fmla="*/ 48 w 96"/>
                <a:gd name="T7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lnTo>
                    <a:pt x="48" y="0"/>
                  </a:lnTo>
                  <a:lnTo>
                    <a:pt x="38" y="1"/>
                  </a:lnTo>
                  <a:lnTo>
                    <a:pt x="29" y="4"/>
                  </a:lnTo>
                  <a:lnTo>
                    <a:pt x="21" y="8"/>
                  </a:lnTo>
                  <a:lnTo>
                    <a:pt x="14" y="14"/>
                  </a:lnTo>
                  <a:lnTo>
                    <a:pt x="8" y="21"/>
                  </a:lnTo>
                  <a:lnTo>
                    <a:pt x="4" y="29"/>
                  </a:lnTo>
                  <a:lnTo>
                    <a:pt x="1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58"/>
                  </a:lnTo>
                  <a:lnTo>
                    <a:pt x="4" y="67"/>
                  </a:lnTo>
                  <a:lnTo>
                    <a:pt x="8" y="75"/>
                  </a:lnTo>
                  <a:lnTo>
                    <a:pt x="14" y="82"/>
                  </a:lnTo>
                  <a:lnTo>
                    <a:pt x="21" y="88"/>
                  </a:lnTo>
                  <a:lnTo>
                    <a:pt x="29" y="92"/>
                  </a:lnTo>
                  <a:lnTo>
                    <a:pt x="38" y="95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58" y="95"/>
                  </a:lnTo>
                  <a:lnTo>
                    <a:pt x="67" y="92"/>
                  </a:lnTo>
                  <a:lnTo>
                    <a:pt x="75" y="88"/>
                  </a:lnTo>
                  <a:lnTo>
                    <a:pt x="82" y="82"/>
                  </a:lnTo>
                  <a:lnTo>
                    <a:pt x="88" y="75"/>
                  </a:lnTo>
                  <a:lnTo>
                    <a:pt x="92" y="67"/>
                  </a:lnTo>
                  <a:lnTo>
                    <a:pt x="95" y="5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5" y="38"/>
                  </a:lnTo>
                  <a:lnTo>
                    <a:pt x="92" y="29"/>
                  </a:lnTo>
                  <a:lnTo>
                    <a:pt x="88" y="21"/>
                  </a:lnTo>
                  <a:lnTo>
                    <a:pt x="82" y="14"/>
                  </a:lnTo>
                  <a:lnTo>
                    <a:pt x="75" y="8"/>
                  </a:lnTo>
                  <a:lnTo>
                    <a:pt x="67" y="4"/>
                  </a:lnTo>
                  <a:lnTo>
                    <a:pt x="58" y="1"/>
                  </a:lnTo>
                  <a:lnTo>
                    <a:pt x="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E85DEA4-3D30-4E89-83F4-6DDE9E288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4" y="1716"/>
              <a:ext cx="96" cy="96"/>
            </a:xfrm>
            <a:custGeom>
              <a:avLst/>
              <a:gdLst>
                <a:gd name="T0" fmla="*/ 48 w 96"/>
                <a:gd name="T1" fmla="*/ 0 h 96"/>
                <a:gd name="T2" fmla="*/ 48 w 96"/>
                <a:gd name="T3" fmla="*/ 0 h 96"/>
                <a:gd name="T4" fmla="*/ 38 w 96"/>
                <a:gd name="T5" fmla="*/ 1 h 96"/>
                <a:gd name="T6" fmla="*/ 29 w 96"/>
                <a:gd name="T7" fmla="*/ 4 h 96"/>
                <a:gd name="T8" fmla="*/ 21 w 96"/>
                <a:gd name="T9" fmla="*/ 8 h 96"/>
                <a:gd name="T10" fmla="*/ 14 w 96"/>
                <a:gd name="T11" fmla="*/ 14 h 96"/>
                <a:gd name="T12" fmla="*/ 8 w 96"/>
                <a:gd name="T13" fmla="*/ 21 h 96"/>
                <a:gd name="T14" fmla="*/ 4 w 96"/>
                <a:gd name="T15" fmla="*/ 29 h 96"/>
                <a:gd name="T16" fmla="*/ 1 w 96"/>
                <a:gd name="T17" fmla="*/ 38 h 96"/>
                <a:gd name="T18" fmla="*/ 0 w 96"/>
                <a:gd name="T19" fmla="*/ 48 h 96"/>
                <a:gd name="T20" fmla="*/ 0 w 96"/>
                <a:gd name="T21" fmla="*/ 48 h 96"/>
                <a:gd name="T22" fmla="*/ 1 w 96"/>
                <a:gd name="T23" fmla="*/ 58 h 96"/>
                <a:gd name="T24" fmla="*/ 4 w 96"/>
                <a:gd name="T25" fmla="*/ 67 h 96"/>
                <a:gd name="T26" fmla="*/ 8 w 96"/>
                <a:gd name="T27" fmla="*/ 75 h 96"/>
                <a:gd name="T28" fmla="*/ 14 w 96"/>
                <a:gd name="T29" fmla="*/ 82 h 96"/>
                <a:gd name="T30" fmla="*/ 21 w 96"/>
                <a:gd name="T31" fmla="*/ 88 h 96"/>
                <a:gd name="T32" fmla="*/ 29 w 96"/>
                <a:gd name="T33" fmla="*/ 92 h 96"/>
                <a:gd name="T34" fmla="*/ 38 w 96"/>
                <a:gd name="T35" fmla="*/ 95 h 96"/>
                <a:gd name="T36" fmla="*/ 48 w 96"/>
                <a:gd name="T37" fmla="*/ 96 h 96"/>
                <a:gd name="T38" fmla="*/ 48 w 96"/>
                <a:gd name="T39" fmla="*/ 96 h 96"/>
                <a:gd name="T40" fmla="*/ 58 w 96"/>
                <a:gd name="T41" fmla="*/ 95 h 96"/>
                <a:gd name="T42" fmla="*/ 67 w 96"/>
                <a:gd name="T43" fmla="*/ 92 h 96"/>
                <a:gd name="T44" fmla="*/ 75 w 96"/>
                <a:gd name="T45" fmla="*/ 88 h 96"/>
                <a:gd name="T46" fmla="*/ 82 w 96"/>
                <a:gd name="T47" fmla="*/ 82 h 96"/>
                <a:gd name="T48" fmla="*/ 88 w 96"/>
                <a:gd name="T49" fmla="*/ 75 h 96"/>
                <a:gd name="T50" fmla="*/ 92 w 96"/>
                <a:gd name="T51" fmla="*/ 67 h 96"/>
                <a:gd name="T52" fmla="*/ 95 w 96"/>
                <a:gd name="T53" fmla="*/ 58 h 96"/>
                <a:gd name="T54" fmla="*/ 96 w 96"/>
                <a:gd name="T55" fmla="*/ 48 h 96"/>
                <a:gd name="T56" fmla="*/ 96 w 96"/>
                <a:gd name="T57" fmla="*/ 48 h 96"/>
                <a:gd name="T58" fmla="*/ 95 w 96"/>
                <a:gd name="T59" fmla="*/ 38 h 96"/>
                <a:gd name="T60" fmla="*/ 92 w 96"/>
                <a:gd name="T61" fmla="*/ 29 h 96"/>
                <a:gd name="T62" fmla="*/ 88 w 96"/>
                <a:gd name="T63" fmla="*/ 21 h 96"/>
                <a:gd name="T64" fmla="*/ 82 w 96"/>
                <a:gd name="T65" fmla="*/ 14 h 96"/>
                <a:gd name="T66" fmla="*/ 75 w 96"/>
                <a:gd name="T67" fmla="*/ 8 h 96"/>
                <a:gd name="T68" fmla="*/ 67 w 96"/>
                <a:gd name="T69" fmla="*/ 4 h 96"/>
                <a:gd name="T70" fmla="*/ 58 w 96"/>
                <a:gd name="T71" fmla="*/ 1 h 96"/>
                <a:gd name="T72" fmla="*/ 48 w 96"/>
                <a:gd name="T7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lnTo>
                    <a:pt x="48" y="0"/>
                  </a:lnTo>
                  <a:lnTo>
                    <a:pt x="38" y="1"/>
                  </a:lnTo>
                  <a:lnTo>
                    <a:pt x="29" y="4"/>
                  </a:lnTo>
                  <a:lnTo>
                    <a:pt x="21" y="8"/>
                  </a:lnTo>
                  <a:lnTo>
                    <a:pt x="14" y="14"/>
                  </a:lnTo>
                  <a:lnTo>
                    <a:pt x="8" y="21"/>
                  </a:lnTo>
                  <a:lnTo>
                    <a:pt x="4" y="29"/>
                  </a:lnTo>
                  <a:lnTo>
                    <a:pt x="1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58"/>
                  </a:lnTo>
                  <a:lnTo>
                    <a:pt x="4" y="67"/>
                  </a:lnTo>
                  <a:lnTo>
                    <a:pt x="8" y="75"/>
                  </a:lnTo>
                  <a:lnTo>
                    <a:pt x="14" y="82"/>
                  </a:lnTo>
                  <a:lnTo>
                    <a:pt x="21" y="88"/>
                  </a:lnTo>
                  <a:lnTo>
                    <a:pt x="29" y="92"/>
                  </a:lnTo>
                  <a:lnTo>
                    <a:pt x="38" y="95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58" y="95"/>
                  </a:lnTo>
                  <a:lnTo>
                    <a:pt x="67" y="92"/>
                  </a:lnTo>
                  <a:lnTo>
                    <a:pt x="75" y="88"/>
                  </a:lnTo>
                  <a:lnTo>
                    <a:pt x="82" y="82"/>
                  </a:lnTo>
                  <a:lnTo>
                    <a:pt x="88" y="75"/>
                  </a:lnTo>
                  <a:lnTo>
                    <a:pt x="92" y="67"/>
                  </a:lnTo>
                  <a:lnTo>
                    <a:pt x="95" y="5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5" y="38"/>
                  </a:lnTo>
                  <a:lnTo>
                    <a:pt x="92" y="29"/>
                  </a:lnTo>
                  <a:lnTo>
                    <a:pt x="88" y="21"/>
                  </a:lnTo>
                  <a:lnTo>
                    <a:pt x="82" y="14"/>
                  </a:lnTo>
                  <a:lnTo>
                    <a:pt x="75" y="8"/>
                  </a:lnTo>
                  <a:lnTo>
                    <a:pt x="67" y="4"/>
                  </a:lnTo>
                  <a:lnTo>
                    <a:pt x="58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6EB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ED1FB53-1259-430A-830A-8A8960402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4" y="1716"/>
              <a:ext cx="96" cy="96"/>
            </a:xfrm>
            <a:custGeom>
              <a:avLst/>
              <a:gdLst>
                <a:gd name="T0" fmla="*/ 48 w 96"/>
                <a:gd name="T1" fmla="*/ 0 h 96"/>
                <a:gd name="T2" fmla="*/ 48 w 96"/>
                <a:gd name="T3" fmla="*/ 0 h 96"/>
                <a:gd name="T4" fmla="*/ 38 w 96"/>
                <a:gd name="T5" fmla="*/ 1 h 96"/>
                <a:gd name="T6" fmla="*/ 29 w 96"/>
                <a:gd name="T7" fmla="*/ 4 h 96"/>
                <a:gd name="T8" fmla="*/ 21 w 96"/>
                <a:gd name="T9" fmla="*/ 8 h 96"/>
                <a:gd name="T10" fmla="*/ 14 w 96"/>
                <a:gd name="T11" fmla="*/ 14 h 96"/>
                <a:gd name="T12" fmla="*/ 8 w 96"/>
                <a:gd name="T13" fmla="*/ 21 h 96"/>
                <a:gd name="T14" fmla="*/ 4 w 96"/>
                <a:gd name="T15" fmla="*/ 29 h 96"/>
                <a:gd name="T16" fmla="*/ 1 w 96"/>
                <a:gd name="T17" fmla="*/ 38 h 96"/>
                <a:gd name="T18" fmla="*/ 0 w 96"/>
                <a:gd name="T19" fmla="*/ 48 h 96"/>
                <a:gd name="T20" fmla="*/ 0 w 96"/>
                <a:gd name="T21" fmla="*/ 48 h 96"/>
                <a:gd name="T22" fmla="*/ 1 w 96"/>
                <a:gd name="T23" fmla="*/ 58 h 96"/>
                <a:gd name="T24" fmla="*/ 4 w 96"/>
                <a:gd name="T25" fmla="*/ 67 h 96"/>
                <a:gd name="T26" fmla="*/ 8 w 96"/>
                <a:gd name="T27" fmla="*/ 75 h 96"/>
                <a:gd name="T28" fmla="*/ 14 w 96"/>
                <a:gd name="T29" fmla="*/ 82 h 96"/>
                <a:gd name="T30" fmla="*/ 21 w 96"/>
                <a:gd name="T31" fmla="*/ 88 h 96"/>
                <a:gd name="T32" fmla="*/ 29 w 96"/>
                <a:gd name="T33" fmla="*/ 92 h 96"/>
                <a:gd name="T34" fmla="*/ 38 w 96"/>
                <a:gd name="T35" fmla="*/ 95 h 96"/>
                <a:gd name="T36" fmla="*/ 48 w 96"/>
                <a:gd name="T37" fmla="*/ 96 h 96"/>
                <a:gd name="T38" fmla="*/ 48 w 96"/>
                <a:gd name="T39" fmla="*/ 96 h 96"/>
                <a:gd name="T40" fmla="*/ 58 w 96"/>
                <a:gd name="T41" fmla="*/ 95 h 96"/>
                <a:gd name="T42" fmla="*/ 67 w 96"/>
                <a:gd name="T43" fmla="*/ 92 h 96"/>
                <a:gd name="T44" fmla="*/ 75 w 96"/>
                <a:gd name="T45" fmla="*/ 88 h 96"/>
                <a:gd name="T46" fmla="*/ 82 w 96"/>
                <a:gd name="T47" fmla="*/ 82 h 96"/>
                <a:gd name="T48" fmla="*/ 88 w 96"/>
                <a:gd name="T49" fmla="*/ 75 h 96"/>
                <a:gd name="T50" fmla="*/ 92 w 96"/>
                <a:gd name="T51" fmla="*/ 67 h 96"/>
                <a:gd name="T52" fmla="*/ 95 w 96"/>
                <a:gd name="T53" fmla="*/ 58 h 96"/>
                <a:gd name="T54" fmla="*/ 96 w 96"/>
                <a:gd name="T55" fmla="*/ 48 h 96"/>
                <a:gd name="T56" fmla="*/ 96 w 96"/>
                <a:gd name="T57" fmla="*/ 48 h 96"/>
                <a:gd name="T58" fmla="*/ 95 w 96"/>
                <a:gd name="T59" fmla="*/ 38 h 96"/>
                <a:gd name="T60" fmla="*/ 92 w 96"/>
                <a:gd name="T61" fmla="*/ 29 h 96"/>
                <a:gd name="T62" fmla="*/ 88 w 96"/>
                <a:gd name="T63" fmla="*/ 21 h 96"/>
                <a:gd name="T64" fmla="*/ 82 w 96"/>
                <a:gd name="T65" fmla="*/ 14 h 96"/>
                <a:gd name="T66" fmla="*/ 75 w 96"/>
                <a:gd name="T67" fmla="*/ 8 h 96"/>
                <a:gd name="T68" fmla="*/ 67 w 96"/>
                <a:gd name="T69" fmla="*/ 4 h 96"/>
                <a:gd name="T70" fmla="*/ 58 w 96"/>
                <a:gd name="T71" fmla="*/ 1 h 96"/>
                <a:gd name="T72" fmla="*/ 48 w 96"/>
                <a:gd name="T7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lnTo>
                    <a:pt x="48" y="0"/>
                  </a:lnTo>
                  <a:lnTo>
                    <a:pt x="38" y="1"/>
                  </a:lnTo>
                  <a:lnTo>
                    <a:pt x="29" y="4"/>
                  </a:lnTo>
                  <a:lnTo>
                    <a:pt x="21" y="8"/>
                  </a:lnTo>
                  <a:lnTo>
                    <a:pt x="14" y="14"/>
                  </a:lnTo>
                  <a:lnTo>
                    <a:pt x="8" y="21"/>
                  </a:lnTo>
                  <a:lnTo>
                    <a:pt x="4" y="29"/>
                  </a:lnTo>
                  <a:lnTo>
                    <a:pt x="1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58"/>
                  </a:lnTo>
                  <a:lnTo>
                    <a:pt x="4" y="67"/>
                  </a:lnTo>
                  <a:lnTo>
                    <a:pt x="8" y="75"/>
                  </a:lnTo>
                  <a:lnTo>
                    <a:pt x="14" y="82"/>
                  </a:lnTo>
                  <a:lnTo>
                    <a:pt x="21" y="88"/>
                  </a:lnTo>
                  <a:lnTo>
                    <a:pt x="29" y="92"/>
                  </a:lnTo>
                  <a:lnTo>
                    <a:pt x="38" y="95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58" y="95"/>
                  </a:lnTo>
                  <a:lnTo>
                    <a:pt x="67" y="92"/>
                  </a:lnTo>
                  <a:lnTo>
                    <a:pt x="75" y="88"/>
                  </a:lnTo>
                  <a:lnTo>
                    <a:pt x="82" y="82"/>
                  </a:lnTo>
                  <a:lnTo>
                    <a:pt x="88" y="75"/>
                  </a:lnTo>
                  <a:lnTo>
                    <a:pt x="92" y="67"/>
                  </a:lnTo>
                  <a:lnTo>
                    <a:pt x="95" y="5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5" y="38"/>
                  </a:lnTo>
                  <a:lnTo>
                    <a:pt x="92" y="29"/>
                  </a:lnTo>
                  <a:lnTo>
                    <a:pt x="88" y="21"/>
                  </a:lnTo>
                  <a:lnTo>
                    <a:pt x="82" y="14"/>
                  </a:lnTo>
                  <a:lnTo>
                    <a:pt x="75" y="8"/>
                  </a:lnTo>
                  <a:lnTo>
                    <a:pt x="67" y="4"/>
                  </a:lnTo>
                  <a:lnTo>
                    <a:pt x="58" y="1"/>
                  </a:lnTo>
                  <a:lnTo>
                    <a:pt x="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F540425-8BE5-44CF-9062-36252BA29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" y="2156"/>
              <a:ext cx="72" cy="72"/>
            </a:xfrm>
            <a:custGeom>
              <a:avLst/>
              <a:gdLst>
                <a:gd name="T0" fmla="*/ 72 w 72"/>
                <a:gd name="T1" fmla="*/ 36 h 72"/>
                <a:gd name="T2" fmla="*/ 72 w 72"/>
                <a:gd name="T3" fmla="*/ 36 h 72"/>
                <a:gd name="T4" fmla="*/ 71 w 72"/>
                <a:gd name="T5" fmla="*/ 43 h 72"/>
                <a:gd name="T6" fmla="*/ 69 w 72"/>
                <a:gd name="T7" fmla="*/ 50 h 72"/>
                <a:gd name="T8" fmla="*/ 66 w 72"/>
                <a:gd name="T9" fmla="*/ 56 h 72"/>
                <a:gd name="T10" fmla="*/ 61 w 72"/>
                <a:gd name="T11" fmla="*/ 61 h 72"/>
                <a:gd name="T12" fmla="*/ 56 w 72"/>
                <a:gd name="T13" fmla="*/ 66 h 72"/>
                <a:gd name="T14" fmla="*/ 50 w 72"/>
                <a:gd name="T15" fmla="*/ 69 h 72"/>
                <a:gd name="T16" fmla="*/ 43 w 72"/>
                <a:gd name="T17" fmla="*/ 71 h 72"/>
                <a:gd name="T18" fmla="*/ 36 w 72"/>
                <a:gd name="T19" fmla="*/ 72 h 72"/>
                <a:gd name="T20" fmla="*/ 36 w 72"/>
                <a:gd name="T21" fmla="*/ 72 h 72"/>
                <a:gd name="T22" fmla="*/ 29 w 72"/>
                <a:gd name="T23" fmla="*/ 71 h 72"/>
                <a:gd name="T24" fmla="*/ 22 w 72"/>
                <a:gd name="T25" fmla="*/ 69 h 72"/>
                <a:gd name="T26" fmla="*/ 16 w 72"/>
                <a:gd name="T27" fmla="*/ 66 h 72"/>
                <a:gd name="T28" fmla="*/ 11 w 72"/>
                <a:gd name="T29" fmla="*/ 61 h 72"/>
                <a:gd name="T30" fmla="*/ 6 w 72"/>
                <a:gd name="T31" fmla="*/ 56 h 72"/>
                <a:gd name="T32" fmla="*/ 3 w 72"/>
                <a:gd name="T33" fmla="*/ 50 h 72"/>
                <a:gd name="T34" fmla="*/ 1 w 72"/>
                <a:gd name="T35" fmla="*/ 43 h 72"/>
                <a:gd name="T36" fmla="*/ 0 w 72"/>
                <a:gd name="T37" fmla="*/ 36 h 72"/>
                <a:gd name="T38" fmla="*/ 0 w 72"/>
                <a:gd name="T39" fmla="*/ 36 h 72"/>
                <a:gd name="T40" fmla="*/ 1 w 72"/>
                <a:gd name="T41" fmla="*/ 29 h 72"/>
                <a:gd name="T42" fmla="*/ 3 w 72"/>
                <a:gd name="T43" fmla="*/ 22 h 72"/>
                <a:gd name="T44" fmla="*/ 6 w 72"/>
                <a:gd name="T45" fmla="*/ 16 h 72"/>
                <a:gd name="T46" fmla="*/ 11 w 72"/>
                <a:gd name="T47" fmla="*/ 11 h 72"/>
                <a:gd name="T48" fmla="*/ 16 w 72"/>
                <a:gd name="T49" fmla="*/ 6 h 72"/>
                <a:gd name="T50" fmla="*/ 22 w 72"/>
                <a:gd name="T51" fmla="*/ 3 h 72"/>
                <a:gd name="T52" fmla="*/ 29 w 72"/>
                <a:gd name="T53" fmla="*/ 1 h 72"/>
                <a:gd name="T54" fmla="*/ 36 w 72"/>
                <a:gd name="T55" fmla="*/ 0 h 72"/>
                <a:gd name="T56" fmla="*/ 36 w 72"/>
                <a:gd name="T57" fmla="*/ 0 h 72"/>
                <a:gd name="T58" fmla="*/ 43 w 72"/>
                <a:gd name="T59" fmla="*/ 1 h 72"/>
                <a:gd name="T60" fmla="*/ 50 w 72"/>
                <a:gd name="T61" fmla="*/ 3 h 72"/>
                <a:gd name="T62" fmla="*/ 56 w 72"/>
                <a:gd name="T63" fmla="*/ 6 h 72"/>
                <a:gd name="T64" fmla="*/ 61 w 72"/>
                <a:gd name="T65" fmla="*/ 11 h 72"/>
                <a:gd name="T66" fmla="*/ 66 w 72"/>
                <a:gd name="T67" fmla="*/ 16 h 72"/>
                <a:gd name="T68" fmla="*/ 69 w 72"/>
                <a:gd name="T69" fmla="*/ 22 h 72"/>
                <a:gd name="T70" fmla="*/ 71 w 72"/>
                <a:gd name="T71" fmla="*/ 29 h 72"/>
                <a:gd name="T72" fmla="*/ 72 w 72"/>
                <a:gd name="T73" fmla="*/ 36 h 72"/>
                <a:gd name="T74" fmla="*/ 72 w 72"/>
                <a:gd name="T75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lnTo>
                    <a:pt x="72" y="36"/>
                  </a:lnTo>
                  <a:lnTo>
                    <a:pt x="71" y="43"/>
                  </a:lnTo>
                  <a:lnTo>
                    <a:pt x="69" y="50"/>
                  </a:lnTo>
                  <a:lnTo>
                    <a:pt x="66" y="56"/>
                  </a:lnTo>
                  <a:lnTo>
                    <a:pt x="61" y="61"/>
                  </a:lnTo>
                  <a:lnTo>
                    <a:pt x="56" y="66"/>
                  </a:lnTo>
                  <a:lnTo>
                    <a:pt x="50" y="69"/>
                  </a:lnTo>
                  <a:lnTo>
                    <a:pt x="43" y="71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29" y="71"/>
                  </a:lnTo>
                  <a:lnTo>
                    <a:pt x="22" y="69"/>
                  </a:lnTo>
                  <a:lnTo>
                    <a:pt x="16" y="66"/>
                  </a:lnTo>
                  <a:lnTo>
                    <a:pt x="11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29"/>
                  </a:lnTo>
                  <a:lnTo>
                    <a:pt x="3" y="22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2" y="3"/>
                  </a:lnTo>
                  <a:lnTo>
                    <a:pt x="29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1"/>
                  </a:lnTo>
                  <a:lnTo>
                    <a:pt x="50" y="3"/>
                  </a:lnTo>
                  <a:lnTo>
                    <a:pt x="56" y="6"/>
                  </a:lnTo>
                  <a:lnTo>
                    <a:pt x="61" y="11"/>
                  </a:lnTo>
                  <a:lnTo>
                    <a:pt x="66" y="16"/>
                  </a:lnTo>
                  <a:lnTo>
                    <a:pt x="69" y="22"/>
                  </a:lnTo>
                  <a:lnTo>
                    <a:pt x="71" y="29"/>
                  </a:lnTo>
                  <a:lnTo>
                    <a:pt x="72" y="36"/>
                  </a:lnTo>
                  <a:lnTo>
                    <a:pt x="72" y="36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CB7CF11-2E16-456A-BBE0-0CEAB562A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2" y="1321"/>
              <a:ext cx="48" cy="48"/>
            </a:xfrm>
            <a:custGeom>
              <a:avLst/>
              <a:gdLst>
                <a:gd name="T0" fmla="*/ 0 w 48"/>
                <a:gd name="T1" fmla="*/ 24 h 48"/>
                <a:gd name="T2" fmla="*/ 0 w 48"/>
                <a:gd name="T3" fmla="*/ 24 h 48"/>
                <a:gd name="T4" fmla="*/ 0 w 48"/>
                <a:gd name="T5" fmla="*/ 19 h 48"/>
                <a:gd name="T6" fmla="*/ 2 w 48"/>
                <a:gd name="T7" fmla="*/ 14 h 48"/>
                <a:gd name="T8" fmla="*/ 4 w 48"/>
                <a:gd name="T9" fmla="*/ 10 h 48"/>
                <a:gd name="T10" fmla="*/ 7 w 48"/>
                <a:gd name="T11" fmla="*/ 7 h 48"/>
                <a:gd name="T12" fmla="*/ 11 w 48"/>
                <a:gd name="T13" fmla="*/ 4 h 48"/>
                <a:gd name="T14" fmla="*/ 15 w 48"/>
                <a:gd name="T15" fmla="*/ 2 h 48"/>
                <a:gd name="T16" fmla="*/ 19 w 48"/>
                <a:gd name="T17" fmla="*/ 0 h 48"/>
                <a:gd name="T18" fmla="*/ 24 w 48"/>
                <a:gd name="T19" fmla="*/ 0 h 48"/>
                <a:gd name="T20" fmla="*/ 24 w 48"/>
                <a:gd name="T21" fmla="*/ 0 h 48"/>
                <a:gd name="T22" fmla="*/ 29 w 48"/>
                <a:gd name="T23" fmla="*/ 0 h 48"/>
                <a:gd name="T24" fmla="*/ 33 w 48"/>
                <a:gd name="T25" fmla="*/ 2 h 48"/>
                <a:gd name="T26" fmla="*/ 37 w 48"/>
                <a:gd name="T27" fmla="*/ 4 h 48"/>
                <a:gd name="T28" fmla="*/ 41 w 48"/>
                <a:gd name="T29" fmla="*/ 7 h 48"/>
                <a:gd name="T30" fmla="*/ 44 w 48"/>
                <a:gd name="T31" fmla="*/ 10 h 48"/>
                <a:gd name="T32" fmla="*/ 46 w 48"/>
                <a:gd name="T33" fmla="*/ 14 h 48"/>
                <a:gd name="T34" fmla="*/ 47 w 48"/>
                <a:gd name="T35" fmla="*/ 19 h 48"/>
                <a:gd name="T36" fmla="*/ 48 w 48"/>
                <a:gd name="T37" fmla="*/ 24 h 48"/>
                <a:gd name="T38" fmla="*/ 48 w 48"/>
                <a:gd name="T39" fmla="*/ 24 h 48"/>
                <a:gd name="T40" fmla="*/ 47 w 48"/>
                <a:gd name="T41" fmla="*/ 29 h 48"/>
                <a:gd name="T42" fmla="*/ 46 w 48"/>
                <a:gd name="T43" fmla="*/ 33 h 48"/>
                <a:gd name="T44" fmla="*/ 44 w 48"/>
                <a:gd name="T45" fmla="*/ 37 h 48"/>
                <a:gd name="T46" fmla="*/ 41 w 48"/>
                <a:gd name="T47" fmla="*/ 41 h 48"/>
                <a:gd name="T48" fmla="*/ 37 w 48"/>
                <a:gd name="T49" fmla="*/ 44 h 48"/>
                <a:gd name="T50" fmla="*/ 33 w 48"/>
                <a:gd name="T51" fmla="*/ 46 h 48"/>
                <a:gd name="T52" fmla="*/ 29 w 48"/>
                <a:gd name="T53" fmla="*/ 47 h 48"/>
                <a:gd name="T54" fmla="*/ 24 w 48"/>
                <a:gd name="T55" fmla="*/ 48 h 48"/>
                <a:gd name="T56" fmla="*/ 24 w 48"/>
                <a:gd name="T57" fmla="*/ 48 h 48"/>
                <a:gd name="T58" fmla="*/ 19 w 48"/>
                <a:gd name="T59" fmla="*/ 47 h 48"/>
                <a:gd name="T60" fmla="*/ 15 w 48"/>
                <a:gd name="T61" fmla="*/ 46 h 48"/>
                <a:gd name="T62" fmla="*/ 11 w 48"/>
                <a:gd name="T63" fmla="*/ 44 h 48"/>
                <a:gd name="T64" fmla="*/ 7 w 48"/>
                <a:gd name="T65" fmla="*/ 41 h 48"/>
                <a:gd name="T66" fmla="*/ 4 w 48"/>
                <a:gd name="T67" fmla="*/ 37 h 48"/>
                <a:gd name="T68" fmla="*/ 2 w 48"/>
                <a:gd name="T69" fmla="*/ 33 h 48"/>
                <a:gd name="T70" fmla="*/ 0 w 48"/>
                <a:gd name="T71" fmla="*/ 29 h 48"/>
                <a:gd name="T72" fmla="*/ 0 w 48"/>
                <a:gd name="T73" fmla="*/ 24 h 48"/>
                <a:gd name="T74" fmla="*/ 0 w 48"/>
                <a:gd name="T7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" h="48">
                  <a:moveTo>
                    <a:pt x="0" y="24"/>
                  </a:moveTo>
                  <a:lnTo>
                    <a:pt x="0" y="24"/>
                  </a:lnTo>
                  <a:lnTo>
                    <a:pt x="0" y="19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9" y="0"/>
                  </a:lnTo>
                  <a:lnTo>
                    <a:pt x="33" y="2"/>
                  </a:lnTo>
                  <a:lnTo>
                    <a:pt x="37" y="4"/>
                  </a:lnTo>
                  <a:lnTo>
                    <a:pt x="41" y="7"/>
                  </a:lnTo>
                  <a:lnTo>
                    <a:pt x="44" y="10"/>
                  </a:lnTo>
                  <a:lnTo>
                    <a:pt x="46" y="14"/>
                  </a:lnTo>
                  <a:lnTo>
                    <a:pt x="47" y="19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7" y="29"/>
                  </a:lnTo>
                  <a:lnTo>
                    <a:pt x="46" y="33"/>
                  </a:lnTo>
                  <a:lnTo>
                    <a:pt x="44" y="37"/>
                  </a:lnTo>
                  <a:lnTo>
                    <a:pt x="41" y="41"/>
                  </a:lnTo>
                  <a:lnTo>
                    <a:pt x="37" y="44"/>
                  </a:lnTo>
                  <a:lnTo>
                    <a:pt x="33" y="46"/>
                  </a:lnTo>
                  <a:lnTo>
                    <a:pt x="29" y="47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9" y="47"/>
                  </a:lnTo>
                  <a:lnTo>
                    <a:pt x="15" y="46"/>
                  </a:lnTo>
                  <a:lnTo>
                    <a:pt x="11" y="44"/>
                  </a:lnTo>
                  <a:lnTo>
                    <a:pt x="7" y="41"/>
                  </a:lnTo>
                  <a:lnTo>
                    <a:pt x="4" y="37"/>
                  </a:lnTo>
                  <a:lnTo>
                    <a:pt x="2" y="33"/>
                  </a:lnTo>
                  <a:lnTo>
                    <a:pt x="0" y="29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4981A56-A84F-4477-87F9-5DA920AE1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" y="2060"/>
              <a:ext cx="77" cy="77"/>
            </a:xfrm>
            <a:custGeom>
              <a:avLst/>
              <a:gdLst>
                <a:gd name="T0" fmla="*/ 0 w 77"/>
                <a:gd name="T1" fmla="*/ 38 h 77"/>
                <a:gd name="T2" fmla="*/ 0 w 77"/>
                <a:gd name="T3" fmla="*/ 38 h 77"/>
                <a:gd name="T4" fmla="*/ 1 w 77"/>
                <a:gd name="T5" fmla="*/ 31 h 77"/>
                <a:gd name="T6" fmla="*/ 3 w 77"/>
                <a:gd name="T7" fmla="*/ 23 h 77"/>
                <a:gd name="T8" fmla="*/ 7 w 77"/>
                <a:gd name="T9" fmla="*/ 17 h 77"/>
                <a:gd name="T10" fmla="*/ 11 w 77"/>
                <a:gd name="T11" fmla="*/ 11 h 77"/>
                <a:gd name="T12" fmla="*/ 17 w 77"/>
                <a:gd name="T13" fmla="*/ 7 h 77"/>
                <a:gd name="T14" fmla="*/ 23 w 77"/>
                <a:gd name="T15" fmla="*/ 3 h 77"/>
                <a:gd name="T16" fmla="*/ 31 w 77"/>
                <a:gd name="T17" fmla="*/ 1 h 77"/>
                <a:gd name="T18" fmla="*/ 38 w 77"/>
                <a:gd name="T19" fmla="*/ 0 h 77"/>
                <a:gd name="T20" fmla="*/ 38 w 77"/>
                <a:gd name="T21" fmla="*/ 0 h 77"/>
                <a:gd name="T22" fmla="*/ 46 w 77"/>
                <a:gd name="T23" fmla="*/ 1 h 77"/>
                <a:gd name="T24" fmla="*/ 53 w 77"/>
                <a:gd name="T25" fmla="*/ 3 h 77"/>
                <a:gd name="T26" fmla="*/ 60 w 77"/>
                <a:gd name="T27" fmla="*/ 7 h 77"/>
                <a:gd name="T28" fmla="*/ 66 w 77"/>
                <a:gd name="T29" fmla="*/ 11 h 77"/>
                <a:gd name="T30" fmla="*/ 70 w 77"/>
                <a:gd name="T31" fmla="*/ 17 h 77"/>
                <a:gd name="T32" fmla="*/ 74 w 77"/>
                <a:gd name="T33" fmla="*/ 23 h 77"/>
                <a:gd name="T34" fmla="*/ 76 w 77"/>
                <a:gd name="T35" fmla="*/ 31 h 77"/>
                <a:gd name="T36" fmla="*/ 77 w 77"/>
                <a:gd name="T37" fmla="*/ 38 h 77"/>
                <a:gd name="T38" fmla="*/ 77 w 77"/>
                <a:gd name="T39" fmla="*/ 38 h 77"/>
                <a:gd name="T40" fmla="*/ 76 w 77"/>
                <a:gd name="T41" fmla="*/ 46 h 77"/>
                <a:gd name="T42" fmla="*/ 74 w 77"/>
                <a:gd name="T43" fmla="*/ 53 h 77"/>
                <a:gd name="T44" fmla="*/ 70 w 77"/>
                <a:gd name="T45" fmla="*/ 60 h 77"/>
                <a:gd name="T46" fmla="*/ 66 w 77"/>
                <a:gd name="T47" fmla="*/ 66 h 77"/>
                <a:gd name="T48" fmla="*/ 60 w 77"/>
                <a:gd name="T49" fmla="*/ 70 h 77"/>
                <a:gd name="T50" fmla="*/ 53 w 77"/>
                <a:gd name="T51" fmla="*/ 74 h 77"/>
                <a:gd name="T52" fmla="*/ 46 w 77"/>
                <a:gd name="T53" fmla="*/ 76 h 77"/>
                <a:gd name="T54" fmla="*/ 38 w 77"/>
                <a:gd name="T55" fmla="*/ 77 h 77"/>
                <a:gd name="T56" fmla="*/ 38 w 77"/>
                <a:gd name="T57" fmla="*/ 77 h 77"/>
                <a:gd name="T58" fmla="*/ 31 w 77"/>
                <a:gd name="T59" fmla="*/ 76 h 77"/>
                <a:gd name="T60" fmla="*/ 23 w 77"/>
                <a:gd name="T61" fmla="*/ 74 h 77"/>
                <a:gd name="T62" fmla="*/ 17 w 77"/>
                <a:gd name="T63" fmla="*/ 70 h 77"/>
                <a:gd name="T64" fmla="*/ 11 w 77"/>
                <a:gd name="T65" fmla="*/ 66 h 77"/>
                <a:gd name="T66" fmla="*/ 7 w 77"/>
                <a:gd name="T67" fmla="*/ 60 h 77"/>
                <a:gd name="T68" fmla="*/ 3 w 77"/>
                <a:gd name="T69" fmla="*/ 53 h 77"/>
                <a:gd name="T70" fmla="*/ 1 w 77"/>
                <a:gd name="T71" fmla="*/ 46 h 77"/>
                <a:gd name="T72" fmla="*/ 0 w 77"/>
                <a:gd name="T73" fmla="*/ 38 h 77"/>
                <a:gd name="T74" fmla="*/ 0 w 77"/>
                <a:gd name="T75" fmla="*/ 3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7" h="77">
                  <a:moveTo>
                    <a:pt x="0" y="38"/>
                  </a:moveTo>
                  <a:lnTo>
                    <a:pt x="0" y="38"/>
                  </a:lnTo>
                  <a:lnTo>
                    <a:pt x="1" y="31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7" y="7"/>
                  </a:lnTo>
                  <a:lnTo>
                    <a:pt x="23" y="3"/>
                  </a:lnTo>
                  <a:lnTo>
                    <a:pt x="31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1"/>
                  </a:lnTo>
                  <a:lnTo>
                    <a:pt x="53" y="3"/>
                  </a:lnTo>
                  <a:lnTo>
                    <a:pt x="60" y="7"/>
                  </a:lnTo>
                  <a:lnTo>
                    <a:pt x="66" y="11"/>
                  </a:lnTo>
                  <a:lnTo>
                    <a:pt x="70" y="17"/>
                  </a:lnTo>
                  <a:lnTo>
                    <a:pt x="74" y="23"/>
                  </a:lnTo>
                  <a:lnTo>
                    <a:pt x="76" y="31"/>
                  </a:lnTo>
                  <a:lnTo>
                    <a:pt x="77" y="38"/>
                  </a:lnTo>
                  <a:lnTo>
                    <a:pt x="77" y="38"/>
                  </a:lnTo>
                  <a:lnTo>
                    <a:pt x="76" y="46"/>
                  </a:lnTo>
                  <a:lnTo>
                    <a:pt x="74" y="53"/>
                  </a:lnTo>
                  <a:lnTo>
                    <a:pt x="70" y="60"/>
                  </a:lnTo>
                  <a:lnTo>
                    <a:pt x="66" y="66"/>
                  </a:lnTo>
                  <a:lnTo>
                    <a:pt x="60" y="70"/>
                  </a:lnTo>
                  <a:lnTo>
                    <a:pt x="53" y="74"/>
                  </a:lnTo>
                  <a:lnTo>
                    <a:pt x="46" y="76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1" y="76"/>
                  </a:lnTo>
                  <a:lnTo>
                    <a:pt x="23" y="74"/>
                  </a:lnTo>
                  <a:lnTo>
                    <a:pt x="17" y="70"/>
                  </a:lnTo>
                  <a:lnTo>
                    <a:pt x="11" y="66"/>
                  </a:lnTo>
                  <a:lnTo>
                    <a:pt x="7" y="60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7B0E64A-ED5A-47C1-A819-CC845D0F5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" y="3292"/>
              <a:ext cx="92" cy="92"/>
            </a:xfrm>
            <a:custGeom>
              <a:avLst/>
              <a:gdLst>
                <a:gd name="T0" fmla="*/ 46 w 92"/>
                <a:gd name="T1" fmla="*/ 0 h 92"/>
                <a:gd name="T2" fmla="*/ 46 w 92"/>
                <a:gd name="T3" fmla="*/ 0 h 92"/>
                <a:gd name="T4" fmla="*/ 37 w 92"/>
                <a:gd name="T5" fmla="*/ 1 h 92"/>
                <a:gd name="T6" fmla="*/ 28 w 92"/>
                <a:gd name="T7" fmla="*/ 4 h 92"/>
                <a:gd name="T8" fmla="*/ 20 w 92"/>
                <a:gd name="T9" fmla="*/ 8 h 92"/>
                <a:gd name="T10" fmla="*/ 13 w 92"/>
                <a:gd name="T11" fmla="*/ 13 h 92"/>
                <a:gd name="T12" fmla="*/ 8 w 92"/>
                <a:gd name="T13" fmla="*/ 20 h 92"/>
                <a:gd name="T14" fmla="*/ 4 w 92"/>
                <a:gd name="T15" fmla="*/ 28 h 92"/>
                <a:gd name="T16" fmla="*/ 1 w 92"/>
                <a:gd name="T17" fmla="*/ 37 h 92"/>
                <a:gd name="T18" fmla="*/ 0 w 92"/>
                <a:gd name="T19" fmla="*/ 46 h 92"/>
                <a:gd name="T20" fmla="*/ 0 w 92"/>
                <a:gd name="T21" fmla="*/ 46 h 92"/>
                <a:gd name="T22" fmla="*/ 1 w 92"/>
                <a:gd name="T23" fmla="*/ 55 h 92"/>
                <a:gd name="T24" fmla="*/ 4 w 92"/>
                <a:gd name="T25" fmla="*/ 64 h 92"/>
                <a:gd name="T26" fmla="*/ 8 w 92"/>
                <a:gd name="T27" fmla="*/ 72 h 92"/>
                <a:gd name="T28" fmla="*/ 13 w 92"/>
                <a:gd name="T29" fmla="*/ 79 h 92"/>
                <a:gd name="T30" fmla="*/ 20 w 92"/>
                <a:gd name="T31" fmla="*/ 84 h 92"/>
                <a:gd name="T32" fmla="*/ 28 w 92"/>
                <a:gd name="T33" fmla="*/ 88 h 92"/>
                <a:gd name="T34" fmla="*/ 37 w 92"/>
                <a:gd name="T35" fmla="*/ 91 h 92"/>
                <a:gd name="T36" fmla="*/ 46 w 92"/>
                <a:gd name="T37" fmla="*/ 92 h 92"/>
                <a:gd name="T38" fmla="*/ 46 w 92"/>
                <a:gd name="T39" fmla="*/ 92 h 92"/>
                <a:gd name="T40" fmla="*/ 55 w 92"/>
                <a:gd name="T41" fmla="*/ 91 h 92"/>
                <a:gd name="T42" fmla="*/ 64 w 92"/>
                <a:gd name="T43" fmla="*/ 88 h 92"/>
                <a:gd name="T44" fmla="*/ 72 w 92"/>
                <a:gd name="T45" fmla="*/ 84 h 92"/>
                <a:gd name="T46" fmla="*/ 79 w 92"/>
                <a:gd name="T47" fmla="*/ 79 h 92"/>
                <a:gd name="T48" fmla="*/ 84 w 92"/>
                <a:gd name="T49" fmla="*/ 72 h 92"/>
                <a:gd name="T50" fmla="*/ 88 w 92"/>
                <a:gd name="T51" fmla="*/ 64 h 92"/>
                <a:gd name="T52" fmla="*/ 91 w 92"/>
                <a:gd name="T53" fmla="*/ 55 h 92"/>
                <a:gd name="T54" fmla="*/ 92 w 92"/>
                <a:gd name="T55" fmla="*/ 46 h 92"/>
                <a:gd name="T56" fmla="*/ 92 w 92"/>
                <a:gd name="T57" fmla="*/ 46 h 92"/>
                <a:gd name="T58" fmla="*/ 91 w 92"/>
                <a:gd name="T59" fmla="*/ 37 h 92"/>
                <a:gd name="T60" fmla="*/ 88 w 92"/>
                <a:gd name="T61" fmla="*/ 28 h 92"/>
                <a:gd name="T62" fmla="*/ 84 w 92"/>
                <a:gd name="T63" fmla="*/ 20 h 92"/>
                <a:gd name="T64" fmla="*/ 79 w 92"/>
                <a:gd name="T65" fmla="*/ 13 h 92"/>
                <a:gd name="T66" fmla="*/ 72 w 92"/>
                <a:gd name="T67" fmla="*/ 8 h 92"/>
                <a:gd name="T68" fmla="*/ 64 w 92"/>
                <a:gd name="T69" fmla="*/ 4 h 92"/>
                <a:gd name="T70" fmla="*/ 55 w 92"/>
                <a:gd name="T71" fmla="*/ 1 h 92"/>
                <a:gd name="T72" fmla="*/ 46 w 92"/>
                <a:gd name="T7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lnTo>
                    <a:pt x="46" y="0"/>
                  </a:lnTo>
                  <a:lnTo>
                    <a:pt x="37" y="1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1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8" y="72"/>
                  </a:lnTo>
                  <a:lnTo>
                    <a:pt x="13" y="79"/>
                  </a:lnTo>
                  <a:lnTo>
                    <a:pt x="20" y="84"/>
                  </a:lnTo>
                  <a:lnTo>
                    <a:pt x="28" y="88"/>
                  </a:lnTo>
                  <a:lnTo>
                    <a:pt x="37" y="91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55" y="91"/>
                  </a:lnTo>
                  <a:lnTo>
                    <a:pt x="64" y="88"/>
                  </a:lnTo>
                  <a:lnTo>
                    <a:pt x="72" y="84"/>
                  </a:lnTo>
                  <a:lnTo>
                    <a:pt x="79" y="79"/>
                  </a:lnTo>
                  <a:lnTo>
                    <a:pt x="84" y="72"/>
                  </a:lnTo>
                  <a:lnTo>
                    <a:pt x="88" y="64"/>
                  </a:lnTo>
                  <a:lnTo>
                    <a:pt x="91" y="55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1" y="37"/>
                  </a:lnTo>
                  <a:lnTo>
                    <a:pt x="88" y="28"/>
                  </a:lnTo>
                  <a:lnTo>
                    <a:pt x="84" y="20"/>
                  </a:lnTo>
                  <a:lnTo>
                    <a:pt x="79" y="13"/>
                  </a:lnTo>
                  <a:lnTo>
                    <a:pt x="72" y="8"/>
                  </a:lnTo>
                  <a:lnTo>
                    <a:pt x="64" y="4"/>
                  </a:lnTo>
                  <a:lnTo>
                    <a:pt x="55" y="1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6EB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97E88DD-4F7C-4941-813A-441DAA330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" y="3292"/>
              <a:ext cx="92" cy="92"/>
            </a:xfrm>
            <a:custGeom>
              <a:avLst/>
              <a:gdLst>
                <a:gd name="T0" fmla="*/ 46 w 92"/>
                <a:gd name="T1" fmla="*/ 0 h 92"/>
                <a:gd name="T2" fmla="*/ 46 w 92"/>
                <a:gd name="T3" fmla="*/ 0 h 92"/>
                <a:gd name="T4" fmla="*/ 37 w 92"/>
                <a:gd name="T5" fmla="*/ 1 h 92"/>
                <a:gd name="T6" fmla="*/ 28 w 92"/>
                <a:gd name="T7" fmla="*/ 4 h 92"/>
                <a:gd name="T8" fmla="*/ 20 w 92"/>
                <a:gd name="T9" fmla="*/ 8 h 92"/>
                <a:gd name="T10" fmla="*/ 13 w 92"/>
                <a:gd name="T11" fmla="*/ 13 h 92"/>
                <a:gd name="T12" fmla="*/ 8 w 92"/>
                <a:gd name="T13" fmla="*/ 20 h 92"/>
                <a:gd name="T14" fmla="*/ 4 w 92"/>
                <a:gd name="T15" fmla="*/ 28 h 92"/>
                <a:gd name="T16" fmla="*/ 1 w 92"/>
                <a:gd name="T17" fmla="*/ 37 h 92"/>
                <a:gd name="T18" fmla="*/ 0 w 92"/>
                <a:gd name="T19" fmla="*/ 46 h 92"/>
                <a:gd name="T20" fmla="*/ 0 w 92"/>
                <a:gd name="T21" fmla="*/ 46 h 92"/>
                <a:gd name="T22" fmla="*/ 1 w 92"/>
                <a:gd name="T23" fmla="*/ 55 h 92"/>
                <a:gd name="T24" fmla="*/ 4 w 92"/>
                <a:gd name="T25" fmla="*/ 64 h 92"/>
                <a:gd name="T26" fmla="*/ 8 w 92"/>
                <a:gd name="T27" fmla="*/ 72 h 92"/>
                <a:gd name="T28" fmla="*/ 13 w 92"/>
                <a:gd name="T29" fmla="*/ 79 h 92"/>
                <a:gd name="T30" fmla="*/ 20 w 92"/>
                <a:gd name="T31" fmla="*/ 84 h 92"/>
                <a:gd name="T32" fmla="*/ 28 w 92"/>
                <a:gd name="T33" fmla="*/ 88 h 92"/>
                <a:gd name="T34" fmla="*/ 37 w 92"/>
                <a:gd name="T35" fmla="*/ 91 h 92"/>
                <a:gd name="T36" fmla="*/ 46 w 92"/>
                <a:gd name="T37" fmla="*/ 92 h 92"/>
                <a:gd name="T38" fmla="*/ 46 w 92"/>
                <a:gd name="T39" fmla="*/ 92 h 92"/>
                <a:gd name="T40" fmla="*/ 55 w 92"/>
                <a:gd name="T41" fmla="*/ 91 h 92"/>
                <a:gd name="T42" fmla="*/ 64 w 92"/>
                <a:gd name="T43" fmla="*/ 88 h 92"/>
                <a:gd name="T44" fmla="*/ 72 w 92"/>
                <a:gd name="T45" fmla="*/ 84 h 92"/>
                <a:gd name="T46" fmla="*/ 79 w 92"/>
                <a:gd name="T47" fmla="*/ 79 h 92"/>
                <a:gd name="T48" fmla="*/ 84 w 92"/>
                <a:gd name="T49" fmla="*/ 72 h 92"/>
                <a:gd name="T50" fmla="*/ 88 w 92"/>
                <a:gd name="T51" fmla="*/ 64 h 92"/>
                <a:gd name="T52" fmla="*/ 91 w 92"/>
                <a:gd name="T53" fmla="*/ 55 h 92"/>
                <a:gd name="T54" fmla="*/ 92 w 92"/>
                <a:gd name="T55" fmla="*/ 46 h 92"/>
                <a:gd name="T56" fmla="*/ 92 w 92"/>
                <a:gd name="T57" fmla="*/ 46 h 92"/>
                <a:gd name="T58" fmla="*/ 91 w 92"/>
                <a:gd name="T59" fmla="*/ 37 h 92"/>
                <a:gd name="T60" fmla="*/ 88 w 92"/>
                <a:gd name="T61" fmla="*/ 28 h 92"/>
                <a:gd name="T62" fmla="*/ 84 w 92"/>
                <a:gd name="T63" fmla="*/ 20 h 92"/>
                <a:gd name="T64" fmla="*/ 79 w 92"/>
                <a:gd name="T65" fmla="*/ 13 h 92"/>
                <a:gd name="T66" fmla="*/ 72 w 92"/>
                <a:gd name="T67" fmla="*/ 8 h 92"/>
                <a:gd name="T68" fmla="*/ 64 w 92"/>
                <a:gd name="T69" fmla="*/ 4 h 92"/>
                <a:gd name="T70" fmla="*/ 55 w 92"/>
                <a:gd name="T71" fmla="*/ 1 h 92"/>
                <a:gd name="T72" fmla="*/ 46 w 92"/>
                <a:gd name="T7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lnTo>
                    <a:pt x="46" y="0"/>
                  </a:lnTo>
                  <a:lnTo>
                    <a:pt x="37" y="1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1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8" y="72"/>
                  </a:lnTo>
                  <a:lnTo>
                    <a:pt x="13" y="79"/>
                  </a:lnTo>
                  <a:lnTo>
                    <a:pt x="20" y="84"/>
                  </a:lnTo>
                  <a:lnTo>
                    <a:pt x="28" y="88"/>
                  </a:lnTo>
                  <a:lnTo>
                    <a:pt x="37" y="91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55" y="91"/>
                  </a:lnTo>
                  <a:lnTo>
                    <a:pt x="64" y="88"/>
                  </a:lnTo>
                  <a:lnTo>
                    <a:pt x="72" y="84"/>
                  </a:lnTo>
                  <a:lnTo>
                    <a:pt x="79" y="79"/>
                  </a:lnTo>
                  <a:lnTo>
                    <a:pt x="84" y="72"/>
                  </a:lnTo>
                  <a:lnTo>
                    <a:pt x="88" y="64"/>
                  </a:lnTo>
                  <a:lnTo>
                    <a:pt x="91" y="55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1" y="37"/>
                  </a:lnTo>
                  <a:lnTo>
                    <a:pt x="88" y="28"/>
                  </a:lnTo>
                  <a:lnTo>
                    <a:pt x="84" y="20"/>
                  </a:lnTo>
                  <a:lnTo>
                    <a:pt x="79" y="13"/>
                  </a:lnTo>
                  <a:lnTo>
                    <a:pt x="72" y="8"/>
                  </a:lnTo>
                  <a:lnTo>
                    <a:pt x="64" y="4"/>
                  </a:lnTo>
                  <a:lnTo>
                    <a:pt x="55" y="1"/>
                  </a:lnTo>
                  <a:lnTo>
                    <a:pt x="4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EFC7E2D9-3A02-4FF6-B585-31C8E5C5B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6" y="692"/>
              <a:ext cx="43" cy="43"/>
            </a:xfrm>
            <a:custGeom>
              <a:avLst/>
              <a:gdLst>
                <a:gd name="T0" fmla="*/ 43 w 43"/>
                <a:gd name="T1" fmla="*/ 21 h 43"/>
                <a:gd name="T2" fmla="*/ 43 w 43"/>
                <a:gd name="T3" fmla="*/ 21 h 43"/>
                <a:gd name="T4" fmla="*/ 43 w 43"/>
                <a:gd name="T5" fmla="*/ 26 h 43"/>
                <a:gd name="T6" fmla="*/ 41 w 43"/>
                <a:gd name="T7" fmla="*/ 30 h 43"/>
                <a:gd name="T8" fmla="*/ 39 w 43"/>
                <a:gd name="T9" fmla="*/ 33 h 43"/>
                <a:gd name="T10" fmla="*/ 37 w 43"/>
                <a:gd name="T11" fmla="*/ 37 h 43"/>
                <a:gd name="T12" fmla="*/ 33 w 43"/>
                <a:gd name="T13" fmla="*/ 39 h 43"/>
                <a:gd name="T14" fmla="*/ 30 w 43"/>
                <a:gd name="T15" fmla="*/ 41 h 43"/>
                <a:gd name="T16" fmla="*/ 26 w 43"/>
                <a:gd name="T17" fmla="*/ 43 h 43"/>
                <a:gd name="T18" fmla="*/ 21 w 43"/>
                <a:gd name="T19" fmla="*/ 43 h 43"/>
                <a:gd name="T20" fmla="*/ 21 w 43"/>
                <a:gd name="T21" fmla="*/ 43 h 43"/>
                <a:gd name="T22" fmla="*/ 17 w 43"/>
                <a:gd name="T23" fmla="*/ 43 h 43"/>
                <a:gd name="T24" fmla="*/ 13 w 43"/>
                <a:gd name="T25" fmla="*/ 41 h 43"/>
                <a:gd name="T26" fmla="*/ 9 w 43"/>
                <a:gd name="T27" fmla="*/ 39 h 43"/>
                <a:gd name="T28" fmla="*/ 6 w 43"/>
                <a:gd name="T29" fmla="*/ 37 h 43"/>
                <a:gd name="T30" fmla="*/ 4 w 43"/>
                <a:gd name="T31" fmla="*/ 33 h 43"/>
                <a:gd name="T32" fmla="*/ 2 w 43"/>
                <a:gd name="T33" fmla="*/ 30 h 43"/>
                <a:gd name="T34" fmla="*/ 0 w 43"/>
                <a:gd name="T35" fmla="*/ 26 h 43"/>
                <a:gd name="T36" fmla="*/ 0 w 43"/>
                <a:gd name="T37" fmla="*/ 21 h 43"/>
                <a:gd name="T38" fmla="*/ 0 w 43"/>
                <a:gd name="T39" fmla="*/ 21 h 43"/>
                <a:gd name="T40" fmla="*/ 0 w 43"/>
                <a:gd name="T41" fmla="*/ 17 h 43"/>
                <a:gd name="T42" fmla="*/ 2 w 43"/>
                <a:gd name="T43" fmla="*/ 13 h 43"/>
                <a:gd name="T44" fmla="*/ 4 w 43"/>
                <a:gd name="T45" fmla="*/ 9 h 43"/>
                <a:gd name="T46" fmla="*/ 6 w 43"/>
                <a:gd name="T47" fmla="*/ 6 h 43"/>
                <a:gd name="T48" fmla="*/ 9 w 43"/>
                <a:gd name="T49" fmla="*/ 4 h 43"/>
                <a:gd name="T50" fmla="*/ 13 w 43"/>
                <a:gd name="T51" fmla="*/ 2 h 43"/>
                <a:gd name="T52" fmla="*/ 17 w 43"/>
                <a:gd name="T53" fmla="*/ 0 h 43"/>
                <a:gd name="T54" fmla="*/ 21 w 43"/>
                <a:gd name="T55" fmla="*/ 0 h 43"/>
                <a:gd name="T56" fmla="*/ 21 w 43"/>
                <a:gd name="T57" fmla="*/ 0 h 43"/>
                <a:gd name="T58" fmla="*/ 26 w 43"/>
                <a:gd name="T59" fmla="*/ 0 h 43"/>
                <a:gd name="T60" fmla="*/ 30 w 43"/>
                <a:gd name="T61" fmla="*/ 2 h 43"/>
                <a:gd name="T62" fmla="*/ 33 w 43"/>
                <a:gd name="T63" fmla="*/ 4 h 43"/>
                <a:gd name="T64" fmla="*/ 37 w 43"/>
                <a:gd name="T65" fmla="*/ 6 h 43"/>
                <a:gd name="T66" fmla="*/ 39 w 43"/>
                <a:gd name="T67" fmla="*/ 9 h 43"/>
                <a:gd name="T68" fmla="*/ 41 w 43"/>
                <a:gd name="T69" fmla="*/ 13 h 43"/>
                <a:gd name="T70" fmla="*/ 43 w 43"/>
                <a:gd name="T71" fmla="*/ 17 h 43"/>
                <a:gd name="T72" fmla="*/ 43 w 43"/>
                <a:gd name="T73" fmla="*/ 21 h 43"/>
                <a:gd name="T74" fmla="*/ 43 w 43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1"/>
                  </a:moveTo>
                  <a:lnTo>
                    <a:pt x="43" y="21"/>
                  </a:lnTo>
                  <a:lnTo>
                    <a:pt x="43" y="26"/>
                  </a:lnTo>
                  <a:lnTo>
                    <a:pt x="41" y="30"/>
                  </a:lnTo>
                  <a:lnTo>
                    <a:pt x="39" y="33"/>
                  </a:lnTo>
                  <a:lnTo>
                    <a:pt x="37" y="37"/>
                  </a:lnTo>
                  <a:lnTo>
                    <a:pt x="33" y="39"/>
                  </a:lnTo>
                  <a:lnTo>
                    <a:pt x="30" y="41"/>
                  </a:lnTo>
                  <a:lnTo>
                    <a:pt x="26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3" y="41"/>
                  </a:lnTo>
                  <a:lnTo>
                    <a:pt x="9" y="39"/>
                  </a:lnTo>
                  <a:lnTo>
                    <a:pt x="6" y="37"/>
                  </a:lnTo>
                  <a:lnTo>
                    <a:pt x="4" y="33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4" y="9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33" y="4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1" y="13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16E862CF-608B-4D7F-92A0-32D346F51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7" y="692"/>
              <a:ext cx="42" cy="43"/>
            </a:xfrm>
            <a:custGeom>
              <a:avLst/>
              <a:gdLst>
                <a:gd name="T0" fmla="*/ 42 w 42"/>
                <a:gd name="T1" fmla="*/ 21 h 43"/>
                <a:gd name="T2" fmla="*/ 42 w 42"/>
                <a:gd name="T3" fmla="*/ 21 h 43"/>
                <a:gd name="T4" fmla="*/ 42 w 42"/>
                <a:gd name="T5" fmla="*/ 26 h 43"/>
                <a:gd name="T6" fmla="*/ 41 w 42"/>
                <a:gd name="T7" fmla="*/ 30 h 43"/>
                <a:gd name="T8" fmla="*/ 39 w 42"/>
                <a:gd name="T9" fmla="*/ 33 h 43"/>
                <a:gd name="T10" fmla="*/ 36 w 42"/>
                <a:gd name="T11" fmla="*/ 37 h 43"/>
                <a:gd name="T12" fmla="*/ 33 w 42"/>
                <a:gd name="T13" fmla="*/ 39 h 43"/>
                <a:gd name="T14" fmla="*/ 29 w 42"/>
                <a:gd name="T15" fmla="*/ 41 h 43"/>
                <a:gd name="T16" fmla="*/ 25 w 42"/>
                <a:gd name="T17" fmla="*/ 43 h 43"/>
                <a:gd name="T18" fmla="*/ 21 w 42"/>
                <a:gd name="T19" fmla="*/ 43 h 43"/>
                <a:gd name="T20" fmla="*/ 21 w 42"/>
                <a:gd name="T21" fmla="*/ 43 h 43"/>
                <a:gd name="T22" fmla="*/ 17 w 42"/>
                <a:gd name="T23" fmla="*/ 43 h 43"/>
                <a:gd name="T24" fmla="*/ 13 w 42"/>
                <a:gd name="T25" fmla="*/ 41 h 43"/>
                <a:gd name="T26" fmla="*/ 9 w 42"/>
                <a:gd name="T27" fmla="*/ 39 h 43"/>
                <a:gd name="T28" fmla="*/ 6 w 42"/>
                <a:gd name="T29" fmla="*/ 37 h 43"/>
                <a:gd name="T30" fmla="*/ 3 w 42"/>
                <a:gd name="T31" fmla="*/ 33 h 43"/>
                <a:gd name="T32" fmla="*/ 1 w 42"/>
                <a:gd name="T33" fmla="*/ 30 h 43"/>
                <a:gd name="T34" fmla="*/ 0 w 42"/>
                <a:gd name="T35" fmla="*/ 26 h 43"/>
                <a:gd name="T36" fmla="*/ 0 w 42"/>
                <a:gd name="T37" fmla="*/ 21 h 43"/>
                <a:gd name="T38" fmla="*/ 0 w 42"/>
                <a:gd name="T39" fmla="*/ 21 h 43"/>
                <a:gd name="T40" fmla="*/ 0 w 42"/>
                <a:gd name="T41" fmla="*/ 17 h 43"/>
                <a:gd name="T42" fmla="*/ 1 w 42"/>
                <a:gd name="T43" fmla="*/ 13 h 43"/>
                <a:gd name="T44" fmla="*/ 3 w 42"/>
                <a:gd name="T45" fmla="*/ 9 h 43"/>
                <a:gd name="T46" fmla="*/ 6 w 42"/>
                <a:gd name="T47" fmla="*/ 6 h 43"/>
                <a:gd name="T48" fmla="*/ 9 w 42"/>
                <a:gd name="T49" fmla="*/ 4 h 43"/>
                <a:gd name="T50" fmla="*/ 13 w 42"/>
                <a:gd name="T51" fmla="*/ 2 h 43"/>
                <a:gd name="T52" fmla="*/ 17 w 42"/>
                <a:gd name="T53" fmla="*/ 0 h 43"/>
                <a:gd name="T54" fmla="*/ 21 w 42"/>
                <a:gd name="T55" fmla="*/ 0 h 43"/>
                <a:gd name="T56" fmla="*/ 21 w 42"/>
                <a:gd name="T57" fmla="*/ 0 h 43"/>
                <a:gd name="T58" fmla="*/ 25 w 42"/>
                <a:gd name="T59" fmla="*/ 0 h 43"/>
                <a:gd name="T60" fmla="*/ 29 w 42"/>
                <a:gd name="T61" fmla="*/ 2 h 43"/>
                <a:gd name="T62" fmla="*/ 33 w 42"/>
                <a:gd name="T63" fmla="*/ 4 h 43"/>
                <a:gd name="T64" fmla="*/ 36 w 42"/>
                <a:gd name="T65" fmla="*/ 6 h 43"/>
                <a:gd name="T66" fmla="*/ 39 w 42"/>
                <a:gd name="T67" fmla="*/ 9 h 43"/>
                <a:gd name="T68" fmla="*/ 41 w 42"/>
                <a:gd name="T69" fmla="*/ 13 h 43"/>
                <a:gd name="T70" fmla="*/ 42 w 42"/>
                <a:gd name="T71" fmla="*/ 17 h 43"/>
                <a:gd name="T72" fmla="*/ 42 w 42"/>
                <a:gd name="T73" fmla="*/ 21 h 43"/>
                <a:gd name="T74" fmla="*/ 42 w 42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3">
                  <a:moveTo>
                    <a:pt x="42" y="21"/>
                  </a:moveTo>
                  <a:lnTo>
                    <a:pt x="42" y="21"/>
                  </a:lnTo>
                  <a:lnTo>
                    <a:pt x="42" y="26"/>
                  </a:lnTo>
                  <a:lnTo>
                    <a:pt x="41" y="30"/>
                  </a:lnTo>
                  <a:lnTo>
                    <a:pt x="39" y="33"/>
                  </a:lnTo>
                  <a:lnTo>
                    <a:pt x="36" y="37"/>
                  </a:lnTo>
                  <a:lnTo>
                    <a:pt x="33" y="39"/>
                  </a:lnTo>
                  <a:lnTo>
                    <a:pt x="29" y="41"/>
                  </a:lnTo>
                  <a:lnTo>
                    <a:pt x="25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3" y="41"/>
                  </a:lnTo>
                  <a:lnTo>
                    <a:pt x="9" y="39"/>
                  </a:lnTo>
                  <a:lnTo>
                    <a:pt x="6" y="37"/>
                  </a:lnTo>
                  <a:lnTo>
                    <a:pt x="3" y="33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6" y="6"/>
                  </a:lnTo>
                  <a:lnTo>
                    <a:pt x="39" y="9"/>
                  </a:lnTo>
                  <a:lnTo>
                    <a:pt x="41" y="13"/>
                  </a:lnTo>
                  <a:lnTo>
                    <a:pt x="42" y="17"/>
                  </a:lnTo>
                  <a:lnTo>
                    <a:pt x="42" y="21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5B28C76-F86C-4F3B-B2B2-028D6F6A5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" y="692"/>
              <a:ext cx="43" cy="43"/>
            </a:xfrm>
            <a:custGeom>
              <a:avLst/>
              <a:gdLst>
                <a:gd name="T0" fmla="*/ 43 w 43"/>
                <a:gd name="T1" fmla="*/ 21 h 43"/>
                <a:gd name="T2" fmla="*/ 43 w 43"/>
                <a:gd name="T3" fmla="*/ 21 h 43"/>
                <a:gd name="T4" fmla="*/ 43 w 43"/>
                <a:gd name="T5" fmla="*/ 26 h 43"/>
                <a:gd name="T6" fmla="*/ 41 w 43"/>
                <a:gd name="T7" fmla="*/ 30 h 43"/>
                <a:gd name="T8" fmla="*/ 39 w 43"/>
                <a:gd name="T9" fmla="*/ 33 h 43"/>
                <a:gd name="T10" fmla="*/ 37 w 43"/>
                <a:gd name="T11" fmla="*/ 37 h 43"/>
                <a:gd name="T12" fmla="*/ 34 w 43"/>
                <a:gd name="T13" fmla="*/ 39 h 43"/>
                <a:gd name="T14" fmla="*/ 30 w 43"/>
                <a:gd name="T15" fmla="*/ 41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1 h 43"/>
                <a:gd name="T26" fmla="*/ 10 w 43"/>
                <a:gd name="T27" fmla="*/ 39 h 43"/>
                <a:gd name="T28" fmla="*/ 6 w 43"/>
                <a:gd name="T29" fmla="*/ 37 h 43"/>
                <a:gd name="T30" fmla="*/ 4 w 43"/>
                <a:gd name="T31" fmla="*/ 33 h 43"/>
                <a:gd name="T32" fmla="*/ 2 w 43"/>
                <a:gd name="T33" fmla="*/ 30 h 43"/>
                <a:gd name="T34" fmla="*/ 0 w 43"/>
                <a:gd name="T35" fmla="*/ 26 h 43"/>
                <a:gd name="T36" fmla="*/ 0 w 43"/>
                <a:gd name="T37" fmla="*/ 21 h 43"/>
                <a:gd name="T38" fmla="*/ 0 w 43"/>
                <a:gd name="T39" fmla="*/ 21 h 43"/>
                <a:gd name="T40" fmla="*/ 0 w 43"/>
                <a:gd name="T41" fmla="*/ 17 h 43"/>
                <a:gd name="T42" fmla="*/ 2 w 43"/>
                <a:gd name="T43" fmla="*/ 13 h 43"/>
                <a:gd name="T44" fmla="*/ 4 w 43"/>
                <a:gd name="T45" fmla="*/ 9 h 43"/>
                <a:gd name="T46" fmla="*/ 6 w 43"/>
                <a:gd name="T47" fmla="*/ 6 h 43"/>
                <a:gd name="T48" fmla="*/ 10 w 43"/>
                <a:gd name="T49" fmla="*/ 4 h 43"/>
                <a:gd name="T50" fmla="*/ 13 w 43"/>
                <a:gd name="T51" fmla="*/ 2 h 43"/>
                <a:gd name="T52" fmla="*/ 17 w 43"/>
                <a:gd name="T53" fmla="*/ 0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0 h 43"/>
                <a:gd name="T60" fmla="*/ 30 w 43"/>
                <a:gd name="T61" fmla="*/ 2 h 43"/>
                <a:gd name="T62" fmla="*/ 34 w 43"/>
                <a:gd name="T63" fmla="*/ 4 h 43"/>
                <a:gd name="T64" fmla="*/ 37 w 43"/>
                <a:gd name="T65" fmla="*/ 6 h 43"/>
                <a:gd name="T66" fmla="*/ 39 w 43"/>
                <a:gd name="T67" fmla="*/ 9 h 43"/>
                <a:gd name="T68" fmla="*/ 41 w 43"/>
                <a:gd name="T69" fmla="*/ 13 h 43"/>
                <a:gd name="T70" fmla="*/ 43 w 43"/>
                <a:gd name="T71" fmla="*/ 17 h 43"/>
                <a:gd name="T72" fmla="*/ 43 w 43"/>
                <a:gd name="T73" fmla="*/ 21 h 43"/>
                <a:gd name="T74" fmla="*/ 43 w 43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1"/>
                  </a:moveTo>
                  <a:lnTo>
                    <a:pt x="43" y="21"/>
                  </a:lnTo>
                  <a:lnTo>
                    <a:pt x="43" y="26"/>
                  </a:lnTo>
                  <a:lnTo>
                    <a:pt x="41" y="30"/>
                  </a:lnTo>
                  <a:lnTo>
                    <a:pt x="39" y="33"/>
                  </a:lnTo>
                  <a:lnTo>
                    <a:pt x="37" y="37"/>
                  </a:lnTo>
                  <a:lnTo>
                    <a:pt x="34" y="39"/>
                  </a:lnTo>
                  <a:lnTo>
                    <a:pt x="30" y="41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1"/>
                  </a:lnTo>
                  <a:lnTo>
                    <a:pt x="10" y="39"/>
                  </a:lnTo>
                  <a:lnTo>
                    <a:pt x="6" y="37"/>
                  </a:lnTo>
                  <a:lnTo>
                    <a:pt x="4" y="33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4" y="9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3" y="2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34" y="4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1" y="13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0E92CAE8-0FC2-446A-BF93-6D944184F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6" y="767"/>
              <a:ext cx="43" cy="43"/>
            </a:xfrm>
            <a:custGeom>
              <a:avLst/>
              <a:gdLst>
                <a:gd name="T0" fmla="*/ 43 w 43"/>
                <a:gd name="T1" fmla="*/ 22 h 43"/>
                <a:gd name="T2" fmla="*/ 43 w 43"/>
                <a:gd name="T3" fmla="*/ 22 h 43"/>
                <a:gd name="T4" fmla="*/ 43 w 43"/>
                <a:gd name="T5" fmla="*/ 26 h 43"/>
                <a:gd name="T6" fmla="*/ 41 w 43"/>
                <a:gd name="T7" fmla="*/ 30 h 43"/>
                <a:gd name="T8" fmla="*/ 39 w 43"/>
                <a:gd name="T9" fmla="*/ 34 h 43"/>
                <a:gd name="T10" fmla="*/ 37 w 43"/>
                <a:gd name="T11" fmla="*/ 37 h 43"/>
                <a:gd name="T12" fmla="*/ 33 w 43"/>
                <a:gd name="T13" fmla="*/ 39 h 43"/>
                <a:gd name="T14" fmla="*/ 30 w 43"/>
                <a:gd name="T15" fmla="*/ 41 h 43"/>
                <a:gd name="T16" fmla="*/ 26 w 43"/>
                <a:gd name="T17" fmla="*/ 43 h 43"/>
                <a:gd name="T18" fmla="*/ 21 w 43"/>
                <a:gd name="T19" fmla="*/ 43 h 43"/>
                <a:gd name="T20" fmla="*/ 21 w 43"/>
                <a:gd name="T21" fmla="*/ 43 h 43"/>
                <a:gd name="T22" fmla="*/ 17 w 43"/>
                <a:gd name="T23" fmla="*/ 43 h 43"/>
                <a:gd name="T24" fmla="*/ 13 w 43"/>
                <a:gd name="T25" fmla="*/ 41 h 43"/>
                <a:gd name="T26" fmla="*/ 9 w 43"/>
                <a:gd name="T27" fmla="*/ 39 h 43"/>
                <a:gd name="T28" fmla="*/ 6 w 43"/>
                <a:gd name="T29" fmla="*/ 37 h 43"/>
                <a:gd name="T30" fmla="*/ 4 w 43"/>
                <a:gd name="T31" fmla="*/ 34 h 43"/>
                <a:gd name="T32" fmla="*/ 2 w 43"/>
                <a:gd name="T33" fmla="*/ 30 h 43"/>
                <a:gd name="T34" fmla="*/ 0 w 43"/>
                <a:gd name="T35" fmla="*/ 26 h 43"/>
                <a:gd name="T36" fmla="*/ 0 w 43"/>
                <a:gd name="T37" fmla="*/ 22 h 43"/>
                <a:gd name="T38" fmla="*/ 0 w 43"/>
                <a:gd name="T39" fmla="*/ 22 h 43"/>
                <a:gd name="T40" fmla="*/ 0 w 43"/>
                <a:gd name="T41" fmla="*/ 17 h 43"/>
                <a:gd name="T42" fmla="*/ 2 w 43"/>
                <a:gd name="T43" fmla="*/ 13 h 43"/>
                <a:gd name="T44" fmla="*/ 4 w 43"/>
                <a:gd name="T45" fmla="*/ 10 h 43"/>
                <a:gd name="T46" fmla="*/ 6 w 43"/>
                <a:gd name="T47" fmla="*/ 6 h 43"/>
                <a:gd name="T48" fmla="*/ 9 w 43"/>
                <a:gd name="T49" fmla="*/ 4 h 43"/>
                <a:gd name="T50" fmla="*/ 13 w 43"/>
                <a:gd name="T51" fmla="*/ 2 h 43"/>
                <a:gd name="T52" fmla="*/ 17 w 43"/>
                <a:gd name="T53" fmla="*/ 1 h 43"/>
                <a:gd name="T54" fmla="*/ 21 w 43"/>
                <a:gd name="T55" fmla="*/ 0 h 43"/>
                <a:gd name="T56" fmla="*/ 21 w 43"/>
                <a:gd name="T57" fmla="*/ 0 h 43"/>
                <a:gd name="T58" fmla="*/ 26 w 43"/>
                <a:gd name="T59" fmla="*/ 1 h 43"/>
                <a:gd name="T60" fmla="*/ 30 w 43"/>
                <a:gd name="T61" fmla="*/ 2 h 43"/>
                <a:gd name="T62" fmla="*/ 33 w 43"/>
                <a:gd name="T63" fmla="*/ 4 h 43"/>
                <a:gd name="T64" fmla="*/ 37 w 43"/>
                <a:gd name="T65" fmla="*/ 6 h 43"/>
                <a:gd name="T66" fmla="*/ 39 w 43"/>
                <a:gd name="T67" fmla="*/ 10 h 43"/>
                <a:gd name="T68" fmla="*/ 41 w 43"/>
                <a:gd name="T69" fmla="*/ 13 h 43"/>
                <a:gd name="T70" fmla="*/ 43 w 43"/>
                <a:gd name="T71" fmla="*/ 17 h 43"/>
                <a:gd name="T72" fmla="*/ 43 w 43"/>
                <a:gd name="T73" fmla="*/ 22 h 43"/>
                <a:gd name="T74" fmla="*/ 43 w 43"/>
                <a:gd name="T75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2"/>
                  </a:moveTo>
                  <a:lnTo>
                    <a:pt x="43" y="22"/>
                  </a:lnTo>
                  <a:lnTo>
                    <a:pt x="43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7" y="37"/>
                  </a:lnTo>
                  <a:lnTo>
                    <a:pt x="33" y="39"/>
                  </a:lnTo>
                  <a:lnTo>
                    <a:pt x="30" y="41"/>
                  </a:lnTo>
                  <a:lnTo>
                    <a:pt x="26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3" y="41"/>
                  </a:lnTo>
                  <a:lnTo>
                    <a:pt x="9" y="39"/>
                  </a:lnTo>
                  <a:lnTo>
                    <a:pt x="6" y="37"/>
                  </a:lnTo>
                  <a:lnTo>
                    <a:pt x="4" y="34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30" y="2"/>
                  </a:lnTo>
                  <a:lnTo>
                    <a:pt x="33" y="4"/>
                  </a:lnTo>
                  <a:lnTo>
                    <a:pt x="37" y="6"/>
                  </a:lnTo>
                  <a:lnTo>
                    <a:pt x="39" y="10"/>
                  </a:lnTo>
                  <a:lnTo>
                    <a:pt x="41" y="13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22F658C-B48E-4597-9B89-CF60C108C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7" y="767"/>
              <a:ext cx="42" cy="43"/>
            </a:xfrm>
            <a:custGeom>
              <a:avLst/>
              <a:gdLst>
                <a:gd name="T0" fmla="*/ 42 w 42"/>
                <a:gd name="T1" fmla="*/ 22 h 43"/>
                <a:gd name="T2" fmla="*/ 42 w 42"/>
                <a:gd name="T3" fmla="*/ 22 h 43"/>
                <a:gd name="T4" fmla="*/ 42 w 42"/>
                <a:gd name="T5" fmla="*/ 26 h 43"/>
                <a:gd name="T6" fmla="*/ 41 w 42"/>
                <a:gd name="T7" fmla="*/ 30 h 43"/>
                <a:gd name="T8" fmla="*/ 39 w 42"/>
                <a:gd name="T9" fmla="*/ 34 h 43"/>
                <a:gd name="T10" fmla="*/ 36 w 42"/>
                <a:gd name="T11" fmla="*/ 37 h 43"/>
                <a:gd name="T12" fmla="*/ 33 w 42"/>
                <a:gd name="T13" fmla="*/ 39 h 43"/>
                <a:gd name="T14" fmla="*/ 29 w 42"/>
                <a:gd name="T15" fmla="*/ 41 h 43"/>
                <a:gd name="T16" fmla="*/ 25 w 42"/>
                <a:gd name="T17" fmla="*/ 43 h 43"/>
                <a:gd name="T18" fmla="*/ 21 w 42"/>
                <a:gd name="T19" fmla="*/ 43 h 43"/>
                <a:gd name="T20" fmla="*/ 21 w 42"/>
                <a:gd name="T21" fmla="*/ 43 h 43"/>
                <a:gd name="T22" fmla="*/ 17 w 42"/>
                <a:gd name="T23" fmla="*/ 43 h 43"/>
                <a:gd name="T24" fmla="*/ 13 w 42"/>
                <a:gd name="T25" fmla="*/ 41 h 43"/>
                <a:gd name="T26" fmla="*/ 9 w 42"/>
                <a:gd name="T27" fmla="*/ 39 h 43"/>
                <a:gd name="T28" fmla="*/ 6 w 42"/>
                <a:gd name="T29" fmla="*/ 37 h 43"/>
                <a:gd name="T30" fmla="*/ 3 w 42"/>
                <a:gd name="T31" fmla="*/ 34 h 43"/>
                <a:gd name="T32" fmla="*/ 1 w 42"/>
                <a:gd name="T33" fmla="*/ 30 h 43"/>
                <a:gd name="T34" fmla="*/ 0 w 42"/>
                <a:gd name="T35" fmla="*/ 26 h 43"/>
                <a:gd name="T36" fmla="*/ 0 w 42"/>
                <a:gd name="T37" fmla="*/ 22 h 43"/>
                <a:gd name="T38" fmla="*/ 0 w 42"/>
                <a:gd name="T39" fmla="*/ 22 h 43"/>
                <a:gd name="T40" fmla="*/ 0 w 42"/>
                <a:gd name="T41" fmla="*/ 17 h 43"/>
                <a:gd name="T42" fmla="*/ 1 w 42"/>
                <a:gd name="T43" fmla="*/ 13 h 43"/>
                <a:gd name="T44" fmla="*/ 3 w 42"/>
                <a:gd name="T45" fmla="*/ 10 h 43"/>
                <a:gd name="T46" fmla="*/ 6 w 42"/>
                <a:gd name="T47" fmla="*/ 6 h 43"/>
                <a:gd name="T48" fmla="*/ 9 w 42"/>
                <a:gd name="T49" fmla="*/ 4 h 43"/>
                <a:gd name="T50" fmla="*/ 13 w 42"/>
                <a:gd name="T51" fmla="*/ 2 h 43"/>
                <a:gd name="T52" fmla="*/ 17 w 42"/>
                <a:gd name="T53" fmla="*/ 1 h 43"/>
                <a:gd name="T54" fmla="*/ 21 w 42"/>
                <a:gd name="T55" fmla="*/ 0 h 43"/>
                <a:gd name="T56" fmla="*/ 21 w 42"/>
                <a:gd name="T57" fmla="*/ 0 h 43"/>
                <a:gd name="T58" fmla="*/ 25 w 42"/>
                <a:gd name="T59" fmla="*/ 1 h 43"/>
                <a:gd name="T60" fmla="*/ 29 w 42"/>
                <a:gd name="T61" fmla="*/ 2 h 43"/>
                <a:gd name="T62" fmla="*/ 33 w 42"/>
                <a:gd name="T63" fmla="*/ 4 h 43"/>
                <a:gd name="T64" fmla="*/ 36 w 42"/>
                <a:gd name="T65" fmla="*/ 6 h 43"/>
                <a:gd name="T66" fmla="*/ 39 w 42"/>
                <a:gd name="T67" fmla="*/ 10 h 43"/>
                <a:gd name="T68" fmla="*/ 41 w 42"/>
                <a:gd name="T69" fmla="*/ 13 h 43"/>
                <a:gd name="T70" fmla="*/ 42 w 42"/>
                <a:gd name="T71" fmla="*/ 17 h 43"/>
                <a:gd name="T72" fmla="*/ 42 w 42"/>
                <a:gd name="T73" fmla="*/ 22 h 43"/>
                <a:gd name="T74" fmla="*/ 42 w 42"/>
                <a:gd name="T75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3">
                  <a:moveTo>
                    <a:pt x="42" y="22"/>
                  </a:moveTo>
                  <a:lnTo>
                    <a:pt x="42" y="22"/>
                  </a:lnTo>
                  <a:lnTo>
                    <a:pt x="42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6" y="37"/>
                  </a:lnTo>
                  <a:lnTo>
                    <a:pt x="33" y="39"/>
                  </a:lnTo>
                  <a:lnTo>
                    <a:pt x="29" y="41"/>
                  </a:lnTo>
                  <a:lnTo>
                    <a:pt x="25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3" y="41"/>
                  </a:lnTo>
                  <a:lnTo>
                    <a:pt x="9" y="39"/>
                  </a:lnTo>
                  <a:lnTo>
                    <a:pt x="6" y="37"/>
                  </a:lnTo>
                  <a:lnTo>
                    <a:pt x="3" y="34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6" y="6"/>
                  </a:lnTo>
                  <a:lnTo>
                    <a:pt x="39" y="10"/>
                  </a:lnTo>
                  <a:lnTo>
                    <a:pt x="41" y="13"/>
                  </a:lnTo>
                  <a:lnTo>
                    <a:pt x="42" y="17"/>
                  </a:lnTo>
                  <a:lnTo>
                    <a:pt x="42" y="22"/>
                  </a:lnTo>
                  <a:lnTo>
                    <a:pt x="42" y="2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474A304E-81C8-4DE6-ACCE-D6CF0883D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" y="767"/>
              <a:ext cx="43" cy="43"/>
            </a:xfrm>
            <a:custGeom>
              <a:avLst/>
              <a:gdLst>
                <a:gd name="T0" fmla="*/ 43 w 43"/>
                <a:gd name="T1" fmla="*/ 22 h 43"/>
                <a:gd name="T2" fmla="*/ 43 w 43"/>
                <a:gd name="T3" fmla="*/ 22 h 43"/>
                <a:gd name="T4" fmla="*/ 43 w 43"/>
                <a:gd name="T5" fmla="*/ 26 h 43"/>
                <a:gd name="T6" fmla="*/ 41 w 43"/>
                <a:gd name="T7" fmla="*/ 30 h 43"/>
                <a:gd name="T8" fmla="*/ 39 w 43"/>
                <a:gd name="T9" fmla="*/ 34 h 43"/>
                <a:gd name="T10" fmla="*/ 37 w 43"/>
                <a:gd name="T11" fmla="*/ 37 h 43"/>
                <a:gd name="T12" fmla="*/ 34 w 43"/>
                <a:gd name="T13" fmla="*/ 39 h 43"/>
                <a:gd name="T14" fmla="*/ 30 w 43"/>
                <a:gd name="T15" fmla="*/ 41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1 h 43"/>
                <a:gd name="T26" fmla="*/ 10 w 43"/>
                <a:gd name="T27" fmla="*/ 39 h 43"/>
                <a:gd name="T28" fmla="*/ 6 w 43"/>
                <a:gd name="T29" fmla="*/ 37 h 43"/>
                <a:gd name="T30" fmla="*/ 4 w 43"/>
                <a:gd name="T31" fmla="*/ 34 h 43"/>
                <a:gd name="T32" fmla="*/ 2 w 43"/>
                <a:gd name="T33" fmla="*/ 30 h 43"/>
                <a:gd name="T34" fmla="*/ 0 w 43"/>
                <a:gd name="T35" fmla="*/ 26 h 43"/>
                <a:gd name="T36" fmla="*/ 0 w 43"/>
                <a:gd name="T37" fmla="*/ 22 h 43"/>
                <a:gd name="T38" fmla="*/ 0 w 43"/>
                <a:gd name="T39" fmla="*/ 22 h 43"/>
                <a:gd name="T40" fmla="*/ 0 w 43"/>
                <a:gd name="T41" fmla="*/ 17 h 43"/>
                <a:gd name="T42" fmla="*/ 2 w 43"/>
                <a:gd name="T43" fmla="*/ 13 h 43"/>
                <a:gd name="T44" fmla="*/ 4 w 43"/>
                <a:gd name="T45" fmla="*/ 10 h 43"/>
                <a:gd name="T46" fmla="*/ 6 w 43"/>
                <a:gd name="T47" fmla="*/ 6 h 43"/>
                <a:gd name="T48" fmla="*/ 10 w 43"/>
                <a:gd name="T49" fmla="*/ 4 h 43"/>
                <a:gd name="T50" fmla="*/ 13 w 43"/>
                <a:gd name="T51" fmla="*/ 2 h 43"/>
                <a:gd name="T52" fmla="*/ 17 w 43"/>
                <a:gd name="T53" fmla="*/ 1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1 h 43"/>
                <a:gd name="T60" fmla="*/ 30 w 43"/>
                <a:gd name="T61" fmla="*/ 2 h 43"/>
                <a:gd name="T62" fmla="*/ 34 w 43"/>
                <a:gd name="T63" fmla="*/ 4 h 43"/>
                <a:gd name="T64" fmla="*/ 37 w 43"/>
                <a:gd name="T65" fmla="*/ 6 h 43"/>
                <a:gd name="T66" fmla="*/ 39 w 43"/>
                <a:gd name="T67" fmla="*/ 10 h 43"/>
                <a:gd name="T68" fmla="*/ 41 w 43"/>
                <a:gd name="T69" fmla="*/ 13 h 43"/>
                <a:gd name="T70" fmla="*/ 43 w 43"/>
                <a:gd name="T71" fmla="*/ 17 h 43"/>
                <a:gd name="T72" fmla="*/ 43 w 43"/>
                <a:gd name="T73" fmla="*/ 22 h 43"/>
                <a:gd name="T74" fmla="*/ 43 w 43"/>
                <a:gd name="T75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2"/>
                  </a:moveTo>
                  <a:lnTo>
                    <a:pt x="43" y="22"/>
                  </a:lnTo>
                  <a:lnTo>
                    <a:pt x="43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7" y="37"/>
                  </a:lnTo>
                  <a:lnTo>
                    <a:pt x="34" y="39"/>
                  </a:lnTo>
                  <a:lnTo>
                    <a:pt x="30" y="41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1"/>
                  </a:lnTo>
                  <a:lnTo>
                    <a:pt x="10" y="39"/>
                  </a:lnTo>
                  <a:lnTo>
                    <a:pt x="6" y="37"/>
                  </a:lnTo>
                  <a:lnTo>
                    <a:pt x="4" y="34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1"/>
                  </a:lnTo>
                  <a:lnTo>
                    <a:pt x="30" y="2"/>
                  </a:lnTo>
                  <a:lnTo>
                    <a:pt x="34" y="4"/>
                  </a:lnTo>
                  <a:lnTo>
                    <a:pt x="37" y="6"/>
                  </a:lnTo>
                  <a:lnTo>
                    <a:pt x="39" y="10"/>
                  </a:lnTo>
                  <a:lnTo>
                    <a:pt x="41" y="13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C2EB0E1F-BDB8-468E-B3B8-3AD61CE1A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6" y="842"/>
              <a:ext cx="43" cy="43"/>
            </a:xfrm>
            <a:custGeom>
              <a:avLst/>
              <a:gdLst>
                <a:gd name="T0" fmla="*/ 43 w 43"/>
                <a:gd name="T1" fmla="*/ 22 h 43"/>
                <a:gd name="T2" fmla="*/ 43 w 43"/>
                <a:gd name="T3" fmla="*/ 22 h 43"/>
                <a:gd name="T4" fmla="*/ 43 w 43"/>
                <a:gd name="T5" fmla="*/ 26 h 43"/>
                <a:gd name="T6" fmla="*/ 41 w 43"/>
                <a:gd name="T7" fmla="*/ 30 h 43"/>
                <a:gd name="T8" fmla="*/ 39 w 43"/>
                <a:gd name="T9" fmla="*/ 34 h 43"/>
                <a:gd name="T10" fmla="*/ 37 w 43"/>
                <a:gd name="T11" fmla="*/ 37 h 43"/>
                <a:gd name="T12" fmla="*/ 33 w 43"/>
                <a:gd name="T13" fmla="*/ 40 h 43"/>
                <a:gd name="T14" fmla="*/ 30 w 43"/>
                <a:gd name="T15" fmla="*/ 42 h 43"/>
                <a:gd name="T16" fmla="*/ 26 w 43"/>
                <a:gd name="T17" fmla="*/ 43 h 43"/>
                <a:gd name="T18" fmla="*/ 21 w 43"/>
                <a:gd name="T19" fmla="*/ 43 h 43"/>
                <a:gd name="T20" fmla="*/ 21 w 43"/>
                <a:gd name="T21" fmla="*/ 43 h 43"/>
                <a:gd name="T22" fmla="*/ 17 w 43"/>
                <a:gd name="T23" fmla="*/ 43 h 43"/>
                <a:gd name="T24" fmla="*/ 13 w 43"/>
                <a:gd name="T25" fmla="*/ 42 h 43"/>
                <a:gd name="T26" fmla="*/ 9 w 43"/>
                <a:gd name="T27" fmla="*/ 40 h 43"/>
                <a:gd name="T28" fmla="*/ 6 w 43"/>
                <a:gd name="T29" fmla="*/ 37 h 43"/>
                <a:gd name="T30" fmla="*/ 4 w 43"/>
                <a:gd name="T31" fmla="*/ 34 h 43"/>
                <a:gd name="T32" fmla="*/ 2 w 43"/>
                <a:gd name="T33" fmla="*/ 30 h 43"/>
                <a:gd name="T34" fmla="*/ 0 w 43"/>
                <a:gd name="T35" fmla="*/ 26 h 43"/>
                <a:gd name="T36" fmla="*/ 0 w 43"/>
                <a:gd name="T37" fmla="*/ 22 h 43"/>
                <a:gd name="T38" fmla="*/ 0 w 43"/>
                <a:gd name="T39" fmla="*/ 22 h 43"/>
                <a:gd name="T40" fmla="*/ 0 w 43"/>
                <a:gd name="T41" fmla="*/ 17 h 43"/>
                <a:gd name="T42" fmla="*/ 2 w 43"/>
                <a:gd name="T43" fmla="*/ 13 h 43"/>
                <a:gd name="T44" fmla="*/ 4 w 43"/>
                <a:gd name="T45" fmla="*/ 10 h 43"/>
                <a:gd name="T46" fmla="*/ 6 w 43"/>
                <a:gd name="T47" fmla="*/ 7 h 43"/>
                <a:gd name="T48" fmla="*/ 9 w 43"/>
                <a:gd name="T49" fmla="*/ 4 h 43"/>
                <a:gd name="T50" fmla="*/ 13 w 43"/>
                <a:gd name="T51" fmla="*/ 2 h 43"/>
                <a:gd name="T52" fmla="*/ 17 w 43"/>
                <a:gd name="T53" fmla="*/ 1 h 43"/>
                <a:gd name="T54" fmla="*/ 21 w 43"/>
                <a:gd name="T55" fmla="*/ 0 h 43"/>
                <a:gd name="T56" fmla="*/ 21 w 43"/>
                <a:gd name="T57" fmla="*/ 0 h 43"/>
                <a:gd name="T58" fmla="*/ 26 w 43"/>
                <a:gd name="T59" fmla="*/ 1 h 43"/>
                <a:gd name="T60" fmla="*/ 30 w 43"/>
                <a:gd name="T61" fmla="*/ 2 h 43"/>
                <a:gd name="T62" fmla="*/ 33 w 43"/>
                <a:gd name="T63" fmla="*/ 4 h 43"/>
                <a:gd name="T64" fmla="*/ 37 w 43"/>
                <a:gd name="T65" fmla="*/ 7 h 43"/>
                <a:gd name="T66" fmla="*/ 39 w 43"/>
                <a:gd name="T67" fmla="*/ 10 h 43"/>
                <a:gd name="T68" fmla="*/ 41 w 43"/>
                <a:gd name="T69" fmla="*/ 13 h 43"/>
                <a:gd name="T70" fmla="*/ 43 w 43"/>
                <a:gd name="T71" fmla="*/ 17 h 43"/>
                <a:gd name="T72" fmla="*/ 43 w 43"/>
                <a:gd name="T73" fmla="*/ 22 h 43"/>
                <a:gd name="T74" fmla="*/ 43 w 43"/>
                <a:gd name="T75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2"/>
                  </a:moveTo>
                  <a:lnTo>
                    <a:pt x="43" y="22"/>
                  </a:lnTo>
                  <a:lnTo>
                    <a:pt x="43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7" y="37"/>
                  </a:lnTo>
                  <a:lnTo>
                    <a:pt x="33" y="40"/>
                  </a:lnTo>
                  <a:lnTo>
                    <a:pt x="30" y="42"/>
                  </a:lnTo>
                  <a:lnTo>
                    <a:pt x="26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9" y="40"/>
                  </a:lnTo>
                  <a:lnTo>
                    <a:pt x="6" y="37"/>
                  </a:lnTo>
                  <a:lnTo>
                    <a:pt x="4" y="34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6" y="7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30" y="2"/>
                  </a:lnTo>
                  <a:lnTo>
                    <a:pt x="33" y="4"/>
                  </a:lnTo>
                  <a:lnTo>
                    <a:pt x="37" y="7"/>
                  </a:lnTo>
                  <a:lnTo>
                    <a:pt x="39" y="10"/>
                  </a:lnTo>
                  <a:lnTo>
                    <a:pt x="41" y="13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16B75AA9-589D-4053-A572-8EDAAD31F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7" y="842"/>
              <a:ext cx="42" cy="43"/>
            </a:xfrm>
            <a:custGeom>
              <a:avLst/>
              <a:gdLst>
                <a:gd name="T0" fmla="*/ 42 w 42"/>
                <a:gd name="T1" fmla="*/ 22 h 43"/>
                <a:gd name="T2" fmla="*/ 42 w 42"/>
                <a:gd name="T3" fmla="*/ 22 h 43"/>
                <a:gd name="T4" fmla="*/ 42 w 42"/>
                <a:gd name="T5" fmla="*/ 26 h 43"/>
                <a:gd name="T6" fmla="*/ 41 w 42"/>
                <a:gd name="T7" fmla="*/ 30 h 43"/>
                <a:gd name="T8" fmla="*/ 39 w 42"/>
                <a:gd name="T9" fmla="*/ 34 h 43"/>
                <a:gd name="T10" fmla="*/ 36 w 42"/>
                <a:gd name="T11" fmla="*/ 37 h 43"/>
                <a:gd name="T12" fmla="*/ 33 w 42"/>
                <a:gd name="T13" fmla="*/ 40 h 43"/>
                <a:gd name="T14" fmla="*/ 29 w 42"/>
                <a:gd name="T15" fmla="*/ 42 h 43"/>
                <a:gd name="T16" fmla="*/ 25 w 42"/>
                <a:gd name="T17" fmla="*/ 43 h 43"/>
                <a:gd name="T18" fmla="*/ 21 w 42"/>
                <a:gd name="T19" fmla="*/ 43 h 43"/>
                <a:gd name="T20" fmla="*/ 21 w 42"/>
                <a:gd name="T21" fmla="*/ 43 h 43"/>
                <a:gd name="T22" fmla="*/ 17 w 42"/>
                <a:gd name="T23" fmla="*/ 43 h 43"/>
                <a:gd name="T24" fmla="*/ 13 w 42"/>
                <a:gd name="T25" fmla="*/ 42 h 43"/>
                <a:gd name="T26" fmla="*/ 9 w 42"/>
                <a:gd name="T27" fmla="*/ 40 h 43"/>
                <a:gd name="T28" fmla="*/ 6 w 42"/>
                <a:gd name="T29" fmla="*/ 37 h 43"/>
                <a:gd name="T30" fmla="*/ 3 w 42"/>
                <a:gd name="T31" fmla="*/ 34 h 43"/>
                <a:gd name="T32" fmla="*/ 1 w 42"/>
                <a:gd name="T33" fmla="*/ 30 h 43"/>
                <a:gd name="T34" fmla="*/ 0 w 42"/>
                <a:gd name="T35" fmla="*/ 26 h 43"/>
                <a:gd name="T36" fmla="*/ 0 w 42"/>
                <a:gd name="T37" fmla="*/ 22 h 43"/>
                <a:gd name="T38" fmla="*/ 0 w 42"/>
                <a:gd name="T39" fmla="*/ 22 h 43"/>
                <a:gd name="T40" fmla="*/ 0 w 42"/>
                <a:gd name="T41" fmla="*/ 17 h 43"/>
                <a:gd name="T42" fmla="*/ 1 w 42"/>
                <a:gd name="T43" fmla="*/ 13 h 43"/>
                <a:gd name="T44" fmla="*/ 3 w 42"/>
                <a:gd name="T45" fmla="*/ 10 h 43"/>
                <a:gd name="T46" fmla="*/ 6 w 42"/>
                <a:gd name="T47" fmla="*/ 7 h 43"/>
                <a:gd name="T48" fmla="*/ 9 w 42"/>
                <a:gd name="T49" fmla="*/ 4 h 43"/>
                <a:gd name="T50" fmla="*/ 13 w 42"/>
                <a:gd name="T51" fmla="*/ 2 h 43"/>
                <a:gd name="T52" fmla="*/ 17 w 42"/>
                <a:gd name="T53" fmla="*/ 1 h 43"/>
                <a:gd name="T54" fmla="*/ 21 w 42"/>
                <a:gd name="T55" fmla="*/ 0 h 43"/>
                <a:gd name="T56" fmla="*/ 21 w 42"/>
                <a:gd name="T57" fmla="*/ 0 h 43"/>
                <a:gd name="T58" fmla="*/ 25 w 42"/>
                <a:gd name="T59" fmla="*/ 1 h 43"/>
                <a:gd name="T60" fmla="*/ 29 w 42"/>
                <a:gd name="T61" fmla="*/ 2 h 43"/>
                <a:gd name="T62" fmla="*/ 33 w 42"/>
                <a:gd name="T63" fmla="*/ 4 h 43"/>
                <a:gd name="T64" fmla="*/ 36 w 42"/>
                <a:gd name="T65" fmla="*/ 7 h 43"/>
                <a:gd name="T66" fmla="*/ 39 w 42"/>
                <a:gd name="T67" fmla="*/ 10 h 43"/>
                <a:gd name="T68" fmla="*/ 41 w 42"/>
                <a:gd name="T69" fmla="*/ 13 h 43"/>
                <a:gd name="T70" fmla="*/ 42 w 42"/>
                <a:gd name="T71" fmla="*/ 17 h 43"/>
                <a:gd name="T72" fmla="*/ 42 w 42"/>
                <a:gd name="T73" fmla="*/ 22 h 43"/>
                <a:gd name="T74" fmla="*/ 42 w 42"/>
                <a:gd name="T75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3">
                  <a:moveTo>
                    <a:pt x="42" y="22"/>
                  </a:moveTo>
                  <a:lnTo>
                    <a:pt x="42" y="22"/>
                  </a:lnTo>
                  <a:lnTo>
                    <a:pt x="42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6" y="37"/>
                  </a:lnTo>
                  <a:lnTo>
                    <a:pt x="33" y="40"/>
                  </a:lnTo>
                  <a:lnTo>
                    <a:pt x="29" y="42"/>
                  </a:lnTo>
                  <a:lnTo>
                    <a:pt x="25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9" y="40"/>
                  </a:lnTo>
                  <a:lnTo>
                    <a:pt x="6" y="37"/>
                  </a:lnTo>
                  <a:lnTo>
                    <a:pt x="3" y="34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7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6" y="7"/>
                  </a:lnTo>
                  <a:lnTo>
                    <a:pt x="39" y="10"/>
                  </a:lnTo>
                  <a:lnTo>
                    <a:pt x="41" y="13"/>
                  </a:lnTo>
                  <a:lnTo>
                    <a:pt x="42" y="17"/>
                  </a:lnTo>
                  <a:lnTo>
                    <a:pt x="42" y="22"/>
                  </a:lnTo>
                  <a:lnTo>
                    <a:pt x="42" y="2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12578774-9053-456E-8C0E-3789C27F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" y="842"/>
              <a:ext cx="43" cy="43"/>
            </a:xfrm>
            <a:custGeom>
              <a:avLst/>
              <a:gdLst>
                <a:gd name="T0" fmla="*/ 43 w 43"/>
                <a:gd name="T1" fmla="*/ 22 h 43"/>
                <a:gd name="T2" fmla="*/ 43 w 43"/>
                <a:gd name="T3" fmla="*/ 22 h 43"/>
                <a:gd name="T4" fmla="*/ 43 w 43"/>
                <a:gd name="T5" fmla="*/ 26 h 43"/>
                <a:gd name="T6" fmla="*/ 41 w 43"/>
                <a:gd name="T7" fmla="*/ 30 h 43"/>
                <a:gd name="T8" fmla="*/ 39 w 43"/>
                <a:gd name="T9" fmla="*/ 34 h 43"/>
                <a:gd name="T10" fmla="*/ 37 w 43"/>
                <a:gd name="T11" fmla="*/ 37 h 43"/>
                <a:gd name="T12" fmla="*/ 34 w 43"/>
                <a:gd name="T13" fmla="*/ 40 h 43"/>
                <a:gd name="T14" fmla="*/ 30 w 43"/>
                <a:gd name="T15" fmla="*/ 42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2 h 43"/>
                <a:gd name="T26" fmla="*/ 10 w 43"/>
                <a:gd name="T27" fmla="*/ 40 h 43"/>
                <a:gd name="T28" fmla="*/ 6 w 43"/>
                <a:gd name="T29" fmla="*/ 37 h 43"/>
                <a:gd name="T30" fmla="*/ 4 w 43"/>
                <a:gd name="T31" fmla="*/ 34 h 43"/>
                <a:gd name="T32" fmla="*/ 2 w 43"/>
                <a:gd name="T33" fmla="*/ 30 h 43"/>
                <a:gd name="T34" fmla="*/ 0 w 43"/>
                <a:gd name="T35" fmla="*/ 26 h 43"/>
                <a:gd name="T36" fmla="*/ 0 w 43"/>
                <a:gd name="T37" fmla="*/ 22 h 43"/>
                <a:gd name="T38" fmla="*/ 0 w 43"/>
                <a:gd name="T39" fmla="*/ 22 h 43"/>
                <a:gd name="T40" fmla="*/ 0 w 43"/>
                <a:gd name="T41" fmla="*/ 17 h 43"/>
                <a:gd name="T42" fmla="*/ 2 w 43"/>
                <a:gd name="T43" fmla="*/ 13 h 43"/>
                <a:gd name="T44" fmla="*/ 4 w 43"/>
                <a:gd name="T45" fmla="*/ 10 h 43"/>
                <a:gd name="T46" fmla="*/ 6 w 43"/>
                <a:gd name="T47" fmla="*/ 7 h 43"/>
                <a:gd name="T48" fmla="*/ 10 w 43"/>
                <a:gd name="T49" fmla="*/ 4 h 43"/>
                <a:gd name="T50" fmla="*/ 13 w 43"/>
                <a:gd name="T51" fmla="*/ 2 h 43"/>
                <a:gd name="T52" fmla="*/ 17 w 43"/>
                <a:gd name="T53" fmla="*/ 1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1 h 43"/>
                <a:gd name="T60" fmla="*/ 30 w 43"/>
                <a:gd name="T61" fmla="*/ 2 h 43"/>
                <a:gd name="T62" fmla="*/ 34 w 43"/>
                <a:gd name="T63" fmla="*/ 4 h 43"/>
                <a:gd name="T64" fmla="*/ 37 w 43"/>
                <a:gd name="T65" fmla="*/ 7 h 43"/>
                <a:gd name="T66" fmla="*/ 39 w 43"/>
                <a:gd name="T67" fmla="*/ 10 h 43"/>
                <a:gd name="T68" fmla="*/ 41 w 43"/>
                <a:gd name="T69" fmla="*/ 13 h 43"/>
                <a:gd name="T70" fmla="*/ 43 w 43"/>
                <a:gd name="T71" fmla="*/ 17 h 43"/>
                <a:gd name="T72" fmla="*/ 43 w 43"/>
                <a:gd name="T73" fmla="*/ 22 h 43"/>
                <a:gd name="T74" fmla="*/ 43 w 43"/>
                <a:gd name="T75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2"/>
                  </a:moveTo>
                  <a:lnTo>
                    <a:pt x="43" y="22"/>
                  </a:lnTo>
                  <a:lnTo>
                    <a:pt x="43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7" y="37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10" y="40"/>
                  </a:lnTo>
                  <a:lnTo>
                    <a:pt x="6" y="37"/>
                  </a:lnTo>
                  <a:lnTo>
                    <a:pt x="4" y="34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6" y="7"/>
                  </a:lnTo>
                  <a:lnTo>
                    <a:pt x="10" y="4"/>
                  </a:lnTo>
                  <a:lnTo>
                    <a:pt x="13" y="2"/>
                  </a:lnTo>
                  <a:lnTo>
                    <a:pt x="17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1"/>
                  </a:lnTo>
                  <a:lnTo>
                    <a:pt x="30" y="2"/>
                  </a:lnTo>
                  <a:lnTo>
                    <a:pt x="34" y="4"/>
                  </a:lnTo>
                  <a:lnTo>
                    <a:pt x="37" y="7"/>
                  </a:lnTo>
                  <a:lnTo>
                    <a:pt x="39" y="10"/>
                  </a:lnTo>
                  <a:lnTo>
                    <a:pt x="41" y="13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383204BF-295E-4C64-B59C-A988CA3AB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2" y="826"/>
              <a:ext cx="370" cy="370"/>
            </a:xfrm>
            <a:custGeom>
              <a:avLst/>
              <a:gdLst>
                <a:gd name="T0" fmla="*/ 249 w 370"/>
                <a:gd name="T1" fmla="*/ 370 h 370"/>
                <a:gd name="T2" fmla="*/ 0 w 370"/>
                <a:gd name="T3" fmla="*/ 249 h 370"/>
                <a:gd name="T4" fmla="*/ 122 w 370"/>
                <a:gd name="T5" fmla="*/ 0 h 370"/>
                <a:gd name="T6" fmla="*/ 370 w 370"/>
                <a:gd name="T7" fmla="*/ 122 h 370"/>
                <a:gd name="T8" fmla="*/ 249 w 370"/>
                <a:gd name="T9" fmla="*/ 370 h 370"/>
                <a:gd name="T10" fmla="*/ 34 w 370"/>
                <a:gd name="T11" fmla="*/ 237 h 370"/>
                <a:gd name="T12" fmla="*/ 237 w 370"/>
                <a:gd name="T13" fmla="*/ 337 h 370"/>
                <a:gd name="T14" fmla="*/ 337 w 370"/>
                <a:gd name="T15" fmla="*/ 133 h 370"/>
                <a:gd name="T16" fmla="*/ 133 w 370"/>
                <a:gd name="T17" fmla="*/ 34 h 370"/>
                <a:gd name="T18" fmla="*/ 34 w 370"/>
                <a:gd name="T19" fmla="*/ 2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0" h="370">
                  <a:moveTo>
                    <a:pt x="249" y="370"/>
                  </a:moveTo>
                  <a:lnTo>
                    <a:pt x="0" y="249"/>
                  </a:lnTo>
                  <a:lnTo>
                    <a:pt x="122" y="0"/>
                  </a:lnTo>
                  <a:lnTo>
                    <a:pt x="370" y="122"/>
                  </a:lnTo>
                  <a:lnTo>
                    <a:pt x="249" y="370"/>
                  </a:lnTo>
                  <a:close/>
                  <a:moveTo>
                    <a:pt x="34" y="237"/>
                  </a:moveTo>
                  <a:lnTo>
                    <a:pt x="237" y="337"/>
                  </a:lnTo>
                  <a:lnTo>
                    <a:pt x="337" y="133"/>
                  </a:lnTo>
                  <a:lnTo>
                    <a:pt x="133" y="34"/>
                  </a:lnTo>
                  <a:lnTo>
                    <a:pt x="34" y="237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557CF26C-1244-470F-9350-0942D1CAC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" y="978"/>
              <a:ext cx="1584" cy="2229"/>
            </a:xfrm>
            <a:custGeom>
              <a:avLst/>
              <a:gdLst>
                <a:gd name="T0" fmla="*/ 794 w 1584"/>
                <a:gd name="T1" fmla="*/ 3 h 2229"/>
                <a:gd name="T2" fmla="*/ 744 w 1584"/>
                <a:gd name="T3" fmla="*/ 25 h 2229"/>
                <a:gd name="T4" fmla="*/ 704 w 1584"/>
                <a:gd name="T5" fmla="*/ 68 h 2229"/>
                <a:gd name="T6" fmla="*/ 674 w 1584"/>
                <a:gd name="T7" fmla="*/ 137 h 2229"/>
                <a:gd name="T8" fmla="*/ 616 w 1584"/>
                <a:gd name="T9" fmla="*/ 337 h 2229"/>
                <a:gd name="T10" fmla="*/ 584 w 1584"/>
                <a:gd name="T11" fmla="*/ 411 h 2229"/>
                <a:gd name="T12" fmla="*/ 530 w 1584"/>
                <a:gd name="T13" fmla="*/ 455 h 2229"/>
                <a:gd name="T14" fmla="*/ 428 w 1584"/>
                <a:gd name="T15" fmla="*/ 497 h 2229"/>
                <a:gd name="T16" fmla="*/ 193 w 1584"/>
                <a:gd name="T17" fmla="*/ 567 h 2229"/>
                <a:gd name="T18" fmla="*/ 112 w 1584"/>
                <a:gd name="T19" fmla="*/ 601 h 2229"/>
                <a:gd name="T20" fmla="*/ 55 w 1584"/>
                <a:gd name="T21" fmla="*/ 642 h 2229"/>
                <a:gd name="T22" fmla="*/ 20 w 1584"/>
                <a:gd name="T23" fmla="*/ 689 h 2229"/>
                <a:gd name="T24" fmla="*/ 3 w 1584"/>
                <a:gd name="T25" fmla="*/ 740 h 2229"/>
                <a:gd name="T26" fmla="*/ 10 w 1584"/>
                <a:gd name="T27" fmla="*/ 840 h 2229"/>
                <a:gd name="T28" fmla="*/ 59 w 1584"/>
                <a:gd name="T29" fmla="*/ 952 h 2229"/>
                <a:gd name="T30" fmla="*/ 143 w 1584"/>
                <a:gd name="T31" fmla="*/ 1073 h 2229"/>
                <a:gd name="T32" fmla="*/ 233 w 1584"/>
                <a:gd name="T33" fmla="*/ 1179 h 2229"/>
                <a:gd name="T34" fmla="*/ 277 w 1584"/>
                <a:gd name="T35" fmla="*/ 1268 h 2229"/>
                <a:gd name="T36" fmla="*/ 280 w 1584"/>
                <a:gd name="T37" fmla="*/ 1363 h 2229"/>
                <a:gd name="T38" fmla="*/ 252 w 1584"/>
                <a:gd name="T39" fmla="*/ 1465 h 2229"/>
                <a:gd name="T40" fmla="*/ 116 w 1584"/>
                <a:gd name="T41" fmla="*/ 1768 h 2229"/>
                <a:gd name="T42" fmla="*/ 60 w 1584"/>
                <a:gd name="T43" fmla="*/ 1913 h 2229"/>
                <a:gd name="T44" fmla="*/ 45 w 1584"/>
                <a:gd name="T45" fmla="*/ 2006 h 2229"/>
                <a:gd name="T46" fmla="*/ 58 w 1584"/>
                <a:gd name="T47" fmla="*/ 2082 h 2229"/>
                <a:gd name="T48" fmla="*/ 93 w 1584"/>
                <a:gd name="T49" fmla="*/ 2143 h 2229"/>
                <a:gd name="T50" fmla="*/ 145 w 1584"/>
                <a:gd name="T51" fmla="*/ 2188 h 2229"/>
                <a:gd name="T52" fmla="*/ 208 w 1584"/>
                <a:gd name="T53" fmla="*/ 2217 h 2229"/>
                <a:gd name="T54" fmla="*/ 277 w 1584"/>
                <a:gd name="T55" fmla="*/ 2229 h 2229"/>
                <a:gd name="T56" fmla="*/ 341 w 1584"/>
                <a:gd name="T57" fmla="*/ 2225 h 2229"/>
                <a:gd name="T58" fmla="*/ 417 w 1584"/>
                <a:gd name="T59" fmla="*/ 2197 h 2229"/>
                <a:gd name="T60" fmla="*/ 477 w 1584"/>
                <a:gd name="T61" fmla="*/ 2142 h 2229"/>
                <a:gd name="T62" fmla="*/ 512 w 1584"/>
                <a:gd name="T63" fmla="*/ 2064 h 2229"/>
                <a:gd name="T64" fmla="*/ 574 w 1584"/>
                <a:gd name="T65" fmla="*/ 1946 h 2229"/>
                <a:gd name="T66" fmla="*/ 642 w 1584"/>
                <a:gd name="T67" fmla="*/ 1887 h 2229"/>
                <a:gd name="T68" fmla="*/ 718 w 1584"/>
                <a:gd name="T69" fmla="*/ 1870 h 2229"/>
                <a:gd name="T70" fmla="*/ 791 w 1584"/>
                <a:gd name="T71" fmla="*/ 1878 h 2229"/>
                <a:gd name="T72" fmla="*/ 946 w 1584"/>
                <a:gd name="T73" fmla="*/ 1909 h 2229"/>
                <a:gd name="T74" fmla="*/ 1082 w 1584"/>
                <a:gd name="T75" fmla="*/ 1920 h 2229"/>
                <a:gd name="T76" fmla="*/ 1178 w 1584"/>
                <a:gd name="T77" fmla="*/ 1914 h 2229"/>
                <a:gd name="T78" fmla="*/ 1283 w 1584"/>
                <a:gd name="T79" fmla="*/ 1893 h 2229"/>
                <a:gd name="T80" fmla="*/ 1380 w 1584"/>
                <a:gd name="T81" fmla="*/ 1857 h 2229"/>
                <a:gd name="T82" fmla="*/ 1457 w 1584"/>
                <a:gd name="T83" fmla="*/ 1807 h 2229"/>
                <a:gd name="T84" fmla="*/ 1514 w 1584"/>
                <a:gd name="T85" fmla="*/ 1745 h 2229"/>
                <a:gd name="T86" fmla="*/ 1554 w 1584"/>
                <a:gd name="T87" fmla="*/ 1674 h 2229"/>
                <a:gd name="T88" fmla="*/ 1576 w 1584"/>
                <a:gd name="T89" fmla="*/ 1596 h 2229"/>
                <a:gd name="T90" fmla="*/ 1583 w 1584"/>
                <a:gd name="T91" fmla="*/ 1478 h 2229"/>
                <a:gd name="T92" fmla="*/ 1547 w 1584"/>
                <a:gd name="T93" fmla="*/ 1305 h 2229"/>
                <a:gd name="T94" fmla="*/ 1465 w 1584"/>
                <a:gd name="T95" fmla="*/ 1141 h 2229"/>
                <a:gd name="T96" fmla="*/ 1349 w 1584"/>
                <a:gd name="T97" fmla="*/ 1005 h 2229"/>
                <a:gd name="T98" fmla="*/ 1266 w 1584"/>
                <a:gd name="T99" fmla="*/ 931 h 2229"/>
                <a:gd name="T100" fmla="*/ 1204 w 1584"/>
                <a:gd name="T101" fmla="*/ 857 h 2229"/>
                <a:gd name="T102" fmla="*/ 1154 w 1584"/>
                <a:gd name="T103" fmla="*/ 771 h 2229"/>
                <a:gd name="T104" fmla="*/ 1118 w 1584"/>
                <a:gd name="T105" fmla="*/ 673 h 2229"/>
                <a:gd name="T106" fmla="*/ 1097 w 1584"/>
                <a:gd name="T107" fmla="*/ 563 h 2229"/>
                <a:gd name="T108" fmla="*/ 1091 w 1584"/>
                <a:gd name="T109" fmla="*/ 439 h 2229"/>
                <a:gd name="T110" fmla="*/ 1096 w 1584"/>
                <a:gd name="T111" fmla="*/ 339 h 2229"/>
                <a:gd name="T112" fmla="*/ 1089 w 1584"/>
                <a:gd name="T113" fmla="*/ 249 h 2229"/>
                <a:gd name="T114" fmla="*/ 1060 w 1584"/>
                <a:gd name="T115" fmla="*/ 169 h 2229"/>
                <a:gd name="T116" fmla="*/ 1017 w 1584"/>
                <a:gd name="T117" fmla="*/ 102 h 2229"/>
                <a:gd name="T118" fmla="*/ 962 w 1584"/>
                <a:gd name="T119" fmla="*/ 50 h 2229"/>
                <a:gd name="T120" fmla="*/ 901 w 1584"/>
                <a:gd name="T121" fmla="*/ 15 h 2229"/>
                <a:gd name="T122" fmla="*/ 839 w 1584"/>
                <a:gd name="T123" fmla="*/ 0 h 2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4" h="2229">
                  <a:moveTo>
                    <a:pt x="827" y="0"/>
                  </a:moveTo>
                  <a:lnTo>
                    <a:pt x="827" y="0"/>
                  </a:lnTo>
                  <a:lnTo>
                    <a:pt x="816" y="0"/>
                  </a:lnTo>
                  <a:lnTo>
                    <a:pt x="805" y="1"/>
                  </a:lnTo>
                  <a:lnTo>
                    <a:pt x="794" y="3"/>
                  </a:lnTo>
                  <a:lnTo>
                    <a:pt x="784" y="6"/>
                  </a:lnTo>
                  <a:lnTo>
                    <a:pt x="773" y="9"/>
                  </a:lnTo>
                  <a:lnTo>
                    <a:pt x="763" y="14"/>
                  </a:lnTo>
                  <a:lnTo>
                    <a:pt x="754" y="19"/>
                  </a:lnTo>
                  <a:lnTo>
                    <a:pt x="744" y="25"/>
                  </a:lnTo>
                  <a:lnTo>
                    <a:pt x="736" y="32"/>
                  </a:lnTo>
                  <a:lnTo>
                    <a:pt x="727" y="40"/>
                  </a:lnTo>
                  <a:lnTo>
                    <a:pt x="719" y="48"/>
                  </a:lnTo>
                  <a:lnTo>
                    <a:pt x="711" y="58"/>
                  </a:lnTo>
                  <a:lnTo>
                    <a:pt x="704" y="68"/>
                  </a:lnTo>
                  <a:lnTo>
                    <a:pt x="697" y="80"/>
                  </a:lnTo>
                  <a:lnTo>
                    <a:pt x="691" y="92"/>
                  </a:lnTo>
                  <a:lnTo>
                    <a:pt x="685" y="106"/>
                  </a:lnTo>
                  <a:lnTo>
                    <a:pt x="685" y="106"/>
                  </a:lnTo>
                  <a:lnTo>
                    <a:pt x="674" y="137"/>
                  </a:lnTo>
                  <a:lnTo>
                    <a:pt x="664" y="167"/>
                  </a:lnTo>
                  <a:lnTo>
                    <a:pt x="647" y="219"/>
                  </a:lnTo>
                  <a:lnTo>
                    <a:pt x="635" y="265"/>
                  </a:lnTo>
                  <a:lnTo>
                    <a:pt x="625" y="304"/>
                  </a:lnTo>
                  <a:lnTo>
                    <a:pt x="616" y="337"/>
                  </a:lnTo>
                  <a:lnTo>
                    <a:pt x="607" y="366"/>
                  </a:lnTo>
                  <a:lnTo>
                    <a:pt x="603" y="378"/>
                  </a:lnTo>
                  <a:lnTo>
                    <a:pt x="597" y="390"/>
                  </a:lnTo>
                  <a:lnTo>
                    <a:pt x="591" y="401"/>
                  </a:lnTo>
                  <a:lnTo>
                    <a:pt x="584" y="411"/>
                  </a:lnTo>
                  <a:lnTo>
                    <a:pt x="576" y="421"/>
                  </a:lnTo>
                  <a:lnTo>
                    <a:pt x="567" y="430"/>
                  </a:lnTo>
                  <a:lnTo>
                    <a:pt x="556" y="439"/>
                  </a:lnTo>
                  <a:lnTo>
                    <a:pt x="544" y="447"/>
                  </a:lnTo>
                  <a:lnTo>
                    <a:pt x="530" y="455"/>
                  </a:lnTo>
                  <a:lnTo>
                    <a:pt x="514" y="464"/>
                  </a:lnTo>
                  <a:lnTo>
                    <a:pt x="496" y="472"/>
                  </a:lnTo>
                  <a:lnTo>
                    <a:pt x="476" y="480"/>
                  </a:lnTo>
                  <a:lnTo>
                    <a:pt x="453" y="488"/>
                  </a:lnTo>
                  <a:lnTo>
                    <a:pt x="428" y="497"/>
                  </a:lnTo>
                  <a:lnTo>
                    <a:pt x="369" y="516"/>
                  </a:lnTo>
                  <a:lnTo>
                    <a:pt x="297" y="537"/>
                  </a:lnTo>
                  <a:lnTo>
                    <a:pt x="212" y="561"/>
                  </a:lnTo>
                  <a:lnTo>
                    <a:pt x="212" y="561"/>
                  </a:lnTo>
                  <a:lnTo>
                    <a:pt x="193" y="567"/>
                  </a:lnTo>
                  <a:lnTo>
                    <a:pt x="175" y="573"/>
                  </a:lnTo>
                  <a:lnTo>
                    <a:pt x="157" y="579"/>
                  </a:lnTo>
                  <a:lnTo>
                    <a:pt x="141" y="586"/>
                  </a:lnTo>
                  <a:lnTo>
                    <a:pt x="126" y="593"/>
                  </a:lnTo>
                  <a:lnTo>
                    <a:pt x="112" y="601"/>
                  </a:lnTo>
                  <a:lnTo>
                    <a:pt x="99" y="608"/>
                  </a:lnTo>
                  <a:lnTo>
                    <a:pt x="86" y="616"/>
                  </a:lnTo>
                  <a:lnTo>
                    <a:pt x="75" y="624"/>
                  </a:lnTo>
                  <a:lnTo>
                    <a:pt x="65" y="633"/>
                  </a:lnTo>
                  <a:lnTo>
                    <a:pt x="55" y="642"/>
                  </a:lnTo>
                  <a:lnTo>
                    <a:pt x="46" y="651"/>
                  </a:lnTo>
                  <a:lnTo>
                    <a:pt x="39" y="660"/>
                  </a:lnTo>
                  <a:lnTo>
                    <a:pt x="32" y="669"/>
                  </a:lnTo>
                  <a:lnTo>
                    <a:pt x="25" y="679"/>
                  </a:lnTo>
                  <a:lnTo>
                    <a:pt x="20" y="689"/>
                  </a:lnTo>
                  <a:lnTo>
                    <a:pt x="15" y="699"/>
                  </a:lnTo>
                  <a:lnTo>
                    <a:pt x="11" y="709"/>
                  </a:lnTo>
                  <a:lnTo>
                    <a:pt x="8" y="719"/>
                  </a:lnTo>
                  <a:lnTo>
                    <a:pt x="5" y="730"/>
                  </a:lnTo>
                  <a:lnTo>
                    <a:pt x="3" y="740"/>
                  </a:lnTo>
                  <a:lnTo>
                    <a:pt x="1" y="751"/>
                  </a:lnTo>
                  <a:lnTo>
                    <a:pt x="0" y="773"/>
                  </a:lnTo>
                  <a:lnTo>
                    <a:pt x="2" y="795"/>
                  </a:lnTo>
                  <a:lnTo>
                    <a:pt x="5" y="817"/>
                  </a:lnTo>
                  <a:lnTo>
                    <a:pt x="10" y="840"/>
                  </a:lnTo>
                  <a:lnTo>
                    <a:pt x="17" y="862"/>
                  </a:lnTo>
                  <a:lnTo>
                    <a:pt x="26" y="885"/>
                  </a:lnTo>
                  <a:lnTo>
                    <a:pt x="36" y="907"/>
                  </a:lnTo>
                  <a:lnTo>
                    <a:pt x="47" y="930"/>
                  </a:lnTo>
                  <a:lnTo>
                    <a:pt x="59" y="952"/>
                  </a:lnTo>
                  <a:lnTo>
                    <a:pt x="72" y="973"/>
                  </a:lnTo>
                  <a:lnTo>
                    <a:pt x="85" y="995"/>
                  </a:lnTo>
                  <a:lnTo>
                    <a:pt x="99" y="1015"/>
                  </a:lnTo>
                  <a:lnTo>
                    <a:pt x="114" y="1035"/>
                  </a:lnTo>
                  <a:lnTo>
                    <a:pt x="143" y="1073"/>
                  </a:lnTo>
                  <a:lnTo>
                    <a:pt x="171" y="1107"/>
                  </a:lnTo>
                  <a:lnTo>
                    <a:pt x="196" y="1137"/>
                  </a:lnTo>
                  <a:lnTo>
                    <a:pt x="218" y="1162"/>
                  </a:lnTo>
                  <a:lnTo>
                    <a:pt x="218" y="1162"/>
                  </a:lnTo>
                  <a:lnTo>
                    <a:pt x="233" y="1179"/>
                  </a:lnTo>
                  <a:lnTo>
                    <a:pt x="245" y="1197"/>
                  </a:lnTo>
                  <a:lnTo>
                    <a:pt x="256" y="1215"/>
                  </a:lnTo>
                  <a:lnTo>
                    <a:pt x="264" y="1232"/>
                  </a:lnTo>
                  <a:lnTo>
                    <a:pt x="271" y="1250"/>
                  </a:lnTo>
                  <a:lnTo>
                    <a:pt x="277" y="1268"/>
                  </a:lnTo>
                  <a:lnTo>
                    <a:pt x="280" y="1287"/>
                  </a:lnTo>
                  <a:lnTo>
                    <a:pt x="282" y="1305"/>
                  </a:lnTo>
                  <a:lnTo>
                    <a:pt x="283" y="1324"/>
                  </a:lnTo>
                  <a:lnTo>
                    <a:pt x="282" y="1343"/>
                  </a:lnTo>
                  <a:lnTo>
                    <a:pt x="280" y="1363"/>
                  </a:lnTo>
                  <a:lnTo>
                    <a:pt x="277" y="1382"/>
                  </a:lnTo>
                  <a:lnTo>
                    <a:pt x="272" y="1402"/>
                  </a:lnTo>
                  <a:lnTo>
                    <a:pt x="266" y="1423"/>
                  </a:lnTo>
                  <a:lnTo>
                    <a:pt x="260" y="1444"/>
                  </a:lnTo>
                  <a:lnTo>
                    <a:pt x="252" y="1465"/>
                  </a:lnTo>
                  <a:lnTo>
                    <a:pt x="235" y="1510"/>
                  </a:lnTo>
                  <a:lnTo>
                    <a:pt x="214" y="1556"/>
                  </a:lnTo>
                  <a:lnTo>
                    <a:pt x="167" y="1657"/>
                  </a:lnTo>
                  <a:lnTo>
                    <a:pt x="142" y="1711"/>
                  </a:lnTo>
                  <a:lnTo>
                    <a:pt x="116" y="1768"/>
                  </a:lnTo>
                  <a:lnTo>
                    <a:pt x="91" y="1829"/>
                  </a:lnTo>
                  <a:lnTo>
                    <a:pt x="78" y="1861"/>
                  </a:lnTo>
                  <a:lnTo>
                    <a:pt x="66" y="1893"/>
                  </a:lnTo>
                  <a:lnTo>
                    <a:pt x="66" y="1893"/>
                  </a:lnTo>
                  <a:lnTo>
                    <a:pt x="60" y="1913"/>
                  </a:lnTo>
                  <a:lnTo>
                    <a:pt x="54" y="1933"/>
                  </a:lnTo>
                  <a:lnTo>
                    <a:pt x="50" y="1952"/>
                  </a:lnTo>
                  <a:lnTo>
                    <a:pt x="47" y="1971"/>
                  </a:lnTo>
                  <a:lnTo>
                    <a:pt x="45" y="1988"/>
                  </a:lnTo>
                  <a:lnTo>
                    <a:pt x="45" y="2006"/>
                  </a:lnTo>
                  <a:lnTo>
                    <a:pt x="45" y="2022"/>
                  </a:lnTo>
                  <a:lnTo>
                    <a:pt x="47" y="2038"/>
                  </a:lnTo>
                  <a:lnTo>
                    <a:pt x="50" y="2054"/>
                  </a:lnTo>
                  <a:lnTo>
                    <a:pt x="53" y="2068"/>
                  </a:lnTo>
                  <a:lnTo>
                    <a:pt x="58" y="2082"/>
                  </a:lnTo>
                  <a:lnTo>
                    <a:pt x="63" y="2096"/>
                  </a:lnTo>
                  <a:lnTo>
                    <a:pt x="70" y="2109"/>
                  </a:lnTo>
                  <a:lnTo>
                    <a:pt x="77" y="2121"/>
                  </a:lnTo>
                  <a:lnTo>
                    <a:pt x="84" y="2133"/>
                  </a:lnTo>
                  <a:lnTo>
                    <a:pt x="93" y="2143"/>
                  </a:lnTo>
                  <a:lnTo>
                    <a:pt x="102" y="2154"/>
                  </a:lnTo>
                  <a:lnTo>
                    <a:pt x="112" y="2163"/>
                  </a:lnTo>
                  <a:lnTo>
                    <a:pt x="122" y="2172"/>
                  </a:lnTo>
                  <a:lnTo>
                    <a:pt x="133" y="2181"/>
                  </a:lnTo>
                  <a:lnTo>
                    <a:pt x="145" y="2188"/>
                  </a:lnTo>
                  <a:lnTo>
                    <a:pt x="157" y="2196"/>
                  </a:lnTo>
                  <a:lnTo>
                    <a:pt x="169" y="2202"/>
                  </a:lnTo>
                  <a:lnTo>
                    <a:pt x="182" y="2208"/>
                  </a:lnTo>
                  <a:lnTo>
                    <a:pt x="195" y="2213"/>
                  </a:lnTo>
                  <a:lnTo>
                    <a:pt x="208" y="2217"/>
                  </a:lnTo>
                  <a:lnTo>
                    <a:pt x="221" y="2221"/>
                  </a:lnTo>
                  <a:lnTo>
                    <a:pt x="235" y="2224"/>
                  </a:lnTo>
                  <a:lnTo>
                    <a:pt x="249" y="2226"/>
                  </a:lnTo>
                  <a:lnTo>
                    <a:pt x="263" y="2228"/>
                  </a:lnTo>
                  <a:lnTo>
                    <a:pt x="277" y="2229"/>
                  </a:lnTo>
                  <a:lnTo>
                    <a:pt x="290" y="2229"/>
                  </a:lnTo>
                  <a:lnTo>
                    <a:pt x="290" y="2229"/>
                  </a:lnTo>
                  <a:lnTo>
                    <a:pt x="307" y="2229"/>
                  </a:lnTo>
                  <a:lnTo>
                    <a:pt x="324" y="2227"/>
                  </a:lnTo>
                  <a:lnTo>
                    <a:pt x="341" y="2225"/>
                  </a:lnTo>
                  <a:lnTo>
                    <a:pt x="357" y="2221"/>
                  </a:lnTo>
                  <a:lnTo>
                    <a:pt x="373" y="2217"/>
                  </a:lnTo>
                  <a:lnTo>
                    <a:pt x="388" y="2211"/>
                  </a:lnTo>
                  <a:lnTo>
                    <a:pt x="403" y="2204"/>
                  </a:lnTo>
                  <a:lnTo>
                    <a:pt x="417" y="2197"/>
                  </a:lnTo>
                  <a:lnTo>
                    <a:pt x="431" y="2188"/>
                  </a:lnTo>
                  <a:lnTo>
                    <a:pt x="444" y="2178"/>
                  </a:lnTo>
                  <a:lnTo>
                    <a:pt x="456" y="2167"/>
                  </a:lnTo>
                  <a:lnTo>
                    <a:pt x="467" y="2155"/>
                  </a:lnTo>
                  <a:lnTo>
                    <a:pt x="477" y="2142"/>
                  </a:lnTo>
                  <a:lnTo>
                    <a:pt x="486" y="2128"/>
                  </a:lnTo>
                  <a:lnTo>
                    <a:pt x="494" y="2113"/>
                  </a:lnTo>
                  <a:lnTo>
                    <a:pt x="500" y="2097"/>
                  </a:lnTo>
                  <a:lnTo>
                    <a:pt x="500" y="2097"/>
                  </a:lnTo>
                  <a:lnTo>
                    <a:pt x="512" y="2064"/>
                  </a:lnTo>
                  <a:lnTo>
                    <a:pt x="524" y="2035"/>
                  </a:lnTo>
                  <a:lnTo>
                    <a:pt x="537" y="2009"/>
                  </a:lnTo>
                  <a:lnTo>
                    <a:pt x="549" y="1985"/>
                  </a:lnTo>
                  <a:lnTo>
                    <a:pt x="562" y="1964"/>
                  </a:lnTo>
                  <a:lnTo>
                    <a:pt x="574" y="1946"/>
                  </a:lnTo>
                  <a:lnTo>
                    <a:pt x="587" y="1930"/>
                  </a:lnTo>
                  <a:lnTo>
                    <a:pt x="600" y="1916"/>
                  </a:lnTo>
                  <a:lnTo>
                    <a:pt x="614" y="1904"/>
                  </a:lnTo>
                  <a:lnTo>
                    <a:pt x="628" y="1894"/>
                  </a:lnTo>
                  <a:lnTo>
                    <a:pt x="642" y="1887"/>
                  </a:lnTo>
                  <a:lnTo>
                    <a:pt x="656" y="1880"/>
                  </a:lnTo>
                  <a:lnTo>
                    <a:pt x="671" y="1876"/>
                  </a:lnTo>
                  <a:lnTo>
                    <a:pt x="686" y="1873"/>
                  </a:lnTo>
                  <a:lnTo>
                    <a:pt x="702" y="1871"/>
                  </a:lnTo>
                  <a:lnTo>
                    <a:pt x="718" y="1870"/>
                  </a:lnTo>
                  <a:lnTo>
                    <a:pt x="718" y="1870"/>
                  </a:lnTo>
                  <a:lnTo>
                    <a:pt x="736" y="1871"/>
                  </a:lnTo>
                  <a:lnTo>
                    <a:pt x="754" y="1873"/>
                  </a:lnTo>
                  <a:lnTo>
                    <a:pt x="772" y="1875"/>
                  </a:lnTo>
                  <a:lnTo>
                    <a:pt x="791" y="1878"/>
                  </a:lnTo>
                  <a:lnTo>
                    <a:pt x="832" y="1886"/>
                  </a:lnTo>
                  <a:lnTo>
                    <a:pt x="875" y="1895"/>
                  </a:lnTo>
                  <a:lnTo>
                    <a:pt x="875" y="1895"/>
                  </a:lnTo>
                  <a:lnTo>
                    <a:pt x="921" y="1904"/>
                  </a:lnTo>
                  <a:lnTo>
                    <a:pt x="946" y="1909"/>
                  </a:lnTo>
                  <a:lnTo>
                    <a:pt x="971" y="1912"/>
                  </a:lnTo>
                  <a:lnTo>
                    <a:pt x="998" y="1915"/>
                  </a:lnTo>
                  <a:lnTo>
                    <a:pt x="1025" y="1918"/>
                  </a:lnTo>
                  <a:lnTo>
                    <a:pt x="1053" y="1919"/>
                  </a:lnTo>
                  <a:lnTo>
                    <a:pt x="1082" y="1920"/>
                  </a:lnTo>
                  <a:lnTo>
                    <a:pt x="1082" y="1920"/>
                  </a:lnTo>
                  <a:lnTo>
                    <a:pt x="1105" y="1920"/>
                  </a:lnTo>
                  <a:lnTo>
                    <a:pt x="1129" y="1919"/>
                  </a:lnTo>
                  <a:lnTo>
                    <a:pt x="1153" y="1917"/>
                  </a:lnTo>
                  <a:lnTo>
                    <a:pt x="1178" y="1914"/>
                  </a:lnTo>
                  <a:lnTo>
                    <a:pt x="1203" y="1910"/>
                  </a:lnTo>
                  <a:lnTo>
                    <a:pt x="1229" y="1906"/>
                  </a:lnTo>
                  <a:lnTo>
                    <a:pt x="1256" y="1900"/>
                  </a:lnTo>
                  <a:lnTo>
                    <a:pt x="1283" y="1893"/>
                  </a:lnTo>
                  <a:lnTo>
                    <a:pt x="1283" y="1893"/>
                  </a:lnTo>
                  <a:lnTo>
                    <a:pt x="1304" y="1887"/>
                  </a:lnTo>
                  <a:lnTo>
                    <a:pt x="1325" y="1881"/>
                  </a:lnTo>
                  <a:lnTo>
                    <a:pt x="1344" y="1873"/>
                  </a:lnTo>
                  <a:lnTo>
                    <a:pt x="1362" y="1866"/>
                  </a:lnTo>
                  <a:lnTo>
                    <a:pt x="1380" y="1857"/>
                  </a:lnTo>
                  <a:lnTo>
                    <a:pt x="1397" y="1848"/>
                  </a:lnTo>
                  <a:lnTo>
                    <a:pt x="1413" y="1839"/>
                  </a:lnTo>
                  <a:lnTo>
                    <a:pt x="1428" y="1829"/>
                  </a:lnTo>
                  <a:lnTo>
                    <a:pt x="1443" y="1818"/>
                  </a:lnTo>
                  <a:lnTo>
                    <a:pt x="1457" y="1807"/>
                  </a:lnTo>
                  <a:lnTo>
                    <a:pt x="1470" y="1796"/>
                  </a:lnTo>
                  <a:lnTo>
                    <a:pt x="1482" y="1784"/>
                  </a:lnTo>
                  <a:lnTo>
                    <a:pt x="1493" y="1771"/>
                  </a:lnTo>
                  <a:lnTo>
                    <a:pt x="1504" y="1759"/>
                  </a:lnTo>
                  <a:lnTo>
                    <a:pt x="1514" y="1745"/>
                  </a:lnTo>
                  <a:lnTo>
                    <a:pt x="1523" y="1732"/>
                  </a:lnTo>
                  <a:lnTo>
                    <a:pt x="1532" y="1718"/>
                  </a:lnTo>
                  <a:lnTo>
                    <a:pt x="1540" y="1704"/>
                  </a:lnTo>
                  <a:lnTo>
                    <a:pt x="1547" y="1689"/>
                  </a:lnTo>
                  <a:lnTo>
                    <a:pt x="1554" y="1674"/>
                  </a:lnTo>
                  <a:lnTo>
                    <a:pt x="1559" y="1659"/>
                  </a:lnTo>
                  <a:lnTo>
                    <a:pt x="1565" y="1644"/>
                  </a:lnTo>
                  <a:lnTo>
                    <a:pt x="1569" y="1628"/>
                  </a:lnTo>
                  <a:lnTo>
                    <a:pt x="1573" y="1612"/>
                  </a:lnTo>
                  <a:lnTo>
                    <a:pt x="1576" y="1596"/>
                  </a:lnTo>
                  <a:lnTo>
                    <a:pt x="1579" y="1580"/>
                  </a:lnTo>
                  <a:lnTo>
                    <a:pt x="1581" y="1563"/>
                  </a:lnTo>
                  <a:lnTo>
                    <a:pt x="1583" y="1546"/>
                  </a:lnTo>
                  <a:lnTo>
                    <a:pt x="1584" y="1512"/>
                  </a:lnTo>
                  <a:lnTo>
                    <a:pt x="1583" y="1478"/>
                  </a:lnTo>
                  <a:lnTo>
                    <a:pt x="1580" y="1444"/>
                  </a:lnTo>
                  <a:lnTo>
                    <a:pt x="1574" y="1409"/>
                  </a:lnTo>
                  <a:lnTo>
                    <a:pt x="1567" y="1374"/>
                  </a:lnTo>
                  <a:lnTo>
                    <a:pt x="1558" y="1339"/>
                  </a:lnTo>
                  <a:lnTo>
                    <a:pt x="1547" y="1305"/>
                  </a:lnTo>
                  <a:lnTo>
                    <a:pt x="1534" y="1271"/>
                  </a:lnTo>
                  <a:lnTo>
                    <a:pt x="1519" y="1237"/>
                  </a:lnTo>
                  <a:lnTo>
                    <a:pt x="1503" y="1204"/>
                  </a:lnTo>
                  <a:lnTo>
                    <a:pt x="1485" y="1172"/>
                  </a:lnTo>
                  <a:lnTo>
                    <a:pt x="1465" y="1141"/>
                  </a:lnTo>
                  <a:lnTo>
                    <a:pt x="1445" y="1111"/>
                  </a:lnTo>
                  <a:lnTo>
                    <a:pt x="1423" y="1082"/>
                  </a:lnTo>
                  <a:lnTo>
                    <a:pt x="1399" y="1055"/>
                  </a:lnTo>
                  <a:lnTo>
                    <a:pt x="1375" y="1029"/>
                  </a:lnTo>
                  <a:lnTo>
                    <a:pt x="1349" y="1005"/>
                  </a:lnTo>
                  <a:lnTo>
                    <a:pt x="1323" y="983"/>
                  </a:lnTo>
                  <a:lnTo>
                    <a:pt x="1323" y="983"/>
                  </a:lnTo>
                  <a:lnTo>
                    <a:pt x="1293" y="958"/>
                  </a:lnTo>
                  <a:lnTo>
                    <a:pt x="1279" y="945"/>
                  </a:lnTo>
                  <a:lnTo>
                    <a:pt x="1266" y="931"/>
                  </a:lnTo>
                  <a:lnTo>
                    <a:pt x="1252" y="917"/>
                  </a:lnTo>
                  <a:lnTo>
                    <a:pt x="1240" y="903"/>
                  </a:lnTo>
                  <a:lnTo>
                    <a:pt x="1227" y="888"/>
                  </a:lnTo>
                  <a:lnTo>
                    <a:pt x="1215" y="873"/>
                  </a:lnTo>
                  <a:lnTo>
                    <a:pt x="1204" y="857"/>
                  </a:lnTo>
                  <a:lnTo>
                    <a:pt x="1193" y="841"/>
                  </a:lnTo>
                  <a:lnTo>
                    <a:pt x="1183" y="824"/>
                  </a:lnTo>
                  <a:lnTo>
                    <a:pt x="1173" y="807"/>
                  </a:lnTo>
                  <a:lnTo>
                    <a:pt x="1163" y="789"/>
                  </a:lnTo>
                  <a:lnTo>
                    <a:pt x="1154" y="771"/>
                  </a:lnTo>
                  <a:lnTo>
                    <a:pt x="1146" y="753"/>
                  </a:lnTo>
                  <a:lnTo>
                    <a:pt x="1138" y="734"/>
                  </a:lnTo>
                  <a:lnTo>
                    <a:pt x="1131" y="714"/>
                  </a:lnTo>
                  <a:lnTo>
                    <a:pt x="1124" y="694"/>
                  </a:lnTo>
                  <a:lnTo>
                    <a:pt x="1118" y="673"/>
                  </a:lnTo>
                  <a:lnTo>
                    <a:pt x="1113" y="652"/>
                  </a:lnTo>
                  <a:lnTo>
                    <a:pt x="1108" y="631"/>
                  </a:lnTo>
                  <a:lnTo>
                    <a:pt x="1103" y="609"/>
                  </a:lnTo>
                  <a:lnTo>
                    <a:pt x="1100" y="586"/>
                  </a:lnTo>
                  <a:lnTo>
                    <a:pt x="1097" y="563"/>
                  </a:lnTo>
                  <a:lnTo>
                    <a:pt x="1094" y="539"/>
                  </a:lnTo>
                  <a:lnTo>
                    <a:pt x="1092" y="515"/>
                  </a:lnTo>
                  <a:lnTo>
                    <a:pt x="1091" y="490"/>
                  </a:lnTo>
                  <a:lnTo>
                    <a:pt x="1091" y="465"/>
                  </a:lnTo>
                  <a:lnTo>
                    <a:pt x="1091" y="439"/>
                  </a:lnTo>
                  <a:lnTo>
                    <a:pt x="1091" y="412"/>
                  </a:lnTo>
                  <a:lnTo>
                    <a:pt x="1093" y="385"/>
                  </a:lnTo>
                  <a:lnTo>
                    <a:pt x="1095" y="358"/>
                  </a:lnTo>
                  <a:lnTo>
                    <a:pt x="1095" y="358"/>
                  </a:lnTo>
                  <a:lnTo>
                    <a:pt x="1096" y="339"/>
                  </a:lnTo>
                  <a:lnTo>
                    <a:pt x="1097" y="320"/>
                  </a:lnTo>
                  <a:lnTo>
                    <a:pt x="1096" y="302"/>
                  </a:lnTo>
                  <a:lnTo>
                    <a:pt x="1094" y="284"/>
                  </a:lnTo>
                  <a:lnTo>
                    <a:pt x="1092" y="266"/>
                  </a:lnTo>
                  <a:lnTo>
                    <a:pt x="1089" y="249"/>
                  </a:lnTo>
                  <a:lnTo>
                    <a:pt x="1084" y="232"/>
                  </a:lnTo>
                  <a:lnTo>
                    <a:pt x="1079" y="216"/>
                  </a:lnTo>
                  <a:lnTo>
                    <a:pt x="1074" y="200"/>
                  </a:lnTo>
                  <a:lnTo>
                    <a:pt x="1067" y="184"/>
                  </a:lnTo>
                  <a:lnTo>
                    <a:pt x="1060" y="169"/>
                  </a:lnTo>
                  <a:lnTo>
                    <a:pt x="1053" y="155"/>
                  </a:lnTo>
                  <a:lnTo>
                    <a:pt x="1044" y="141"/>
                  </a:lnTo>
                  <a:lnTo>
                    <a:pt x="1036" y="127"/>
                  </a:lnTo>
                  <a:lnTo>
                    <a:pt x="1026" y="114"/>
                  </a:lnTo>
                  <a:lnTo>
                    <a:pt x="1017" y="102"/>
                  </a:lnTo>
                  <a:lnTo>
                    <a:pt x="1006" y="90"/>
                  </a:lnTo>
                  <a:lnTo>
                    <a:pt x="996" y="79"/>
                  </a:lnTo>
                  <a:lnTo>
                    <a:pt x="985" y="69"/>
                  </a:lnTo>
                  <a:lnTo>
                    <a:pt x="974" y="59"/>
                  </a:lnTo>
                  <a:lnTo>
                    <a:pt x="962" y="50"/>
                  </a:lnTo>
                  <a:lnTo>
                    <a:pt x="950" y="42"/>
                  </a:lnTo>
                  <a:lnTo>
                    <a:pt x="938" y="34"/>
                  </a:lnTo>
                  <a:lnTo>
                    <a:pt x="926" y="27"/>
                  </a:lnTo>
                  <a:lnTo>
                    <a:pt x="914" y="21"/>
                  </a:lnTo>
                  <a:lnTo>
                    <a:pt x="901" y="15"/>
                  </a:lnTo>
                  <a:lnTo>
                    <a:pt x="889" y="11"/>
                  </a:lnTo>
                  <a:lnTo>
                    <a:pt x="876" y="7"/>
                  </a:lnTo>
                  <a:lnTo>
                    <a:pt x="864" y="4"/>
                  </a:lnTo>
                  <a:lnTo>
                    <a:pt x="851" y="2"/>
                  </a:lnTo>
                  <a:lnTo>
                    <a:pt x="839" y="0"/>
                  </a:lnTo>
                  <a:lnTo>
                    <a:pt x="827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E319B62B-8BA7-4783-9561-F7038DE32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" y="978"/>
              <a:ext cx="1584" cy="2229"/>
            </a:xfrm>
            <a:custGeom>
              <a:avLst/>
              <a:gdLst>
                <a:gd name="T0" fmla="*/ 794 w 1584"/>
                <a:gd name="T1" fmla="*/ 3 h 2229"/>
                <a:gd name="T2" fmla="*/ 744 w 1584"/>
                <a:gd name="T3" fmla="*/ 25 h 2229"/>
                <a:gd name="T4" fmla="*/ 704 w 1584"/>
                <a:gd name="T5" fmla="*/ 68 h 2229"/>
                <a:gd name="T6" fmla="*/ 674 w 1584"/>
                <a:gd name="T7" fmla="*/ 137 h 2229"/>
                <a:gd name="T8" fmla="*/ 616 w 1584"/>
                <a:gd name="T9" fmla="*/ 337 h 2229"/>
                <a:gd name="T10" fmla="*/ 584 w 1584"/>
                <a:gd name="T11" fmla="*/ 411 h 2229"/>
                <a:gd name="T12" fmla="*/ 530 w 1584"/>
                <a:gd name="T13" fmla="*/ 455 h 2229"/>
                <a:gd name="T14" fmla="*/ 428 w 1584"/>
                <a:gd name="T15" fmla="*/ 497 h 2229"/>
                <a:gd name="T16" fmla="*/ 193 w 1584"/>
                <a:gd name="T17" fmla="*/ 567 h 2229"/>
                <a:gd name="T18" fmla="*/ 112 w 1584"/>
                <a:gd name="T19" fmla="*/ 601 h 2229"/>
                <a:gd name="T20" fmla="*/ 55 w 1584"/>
                <a:gd name="T21" fmla="*/ 642 h 2229"/>
                <a:gd name="T22" fmla="*/ 20 w 1584"/>
                <a:gd name="T23" fmla="*/ 689 h 2229"/>
                <a:gd name="T24" fmla="*/ 3 w 1584"/>
                <a:gd name="T25" fmla="*/ 740 h 2229"/>
                <a:gd name="T26" fmla="*/ 10 w 1584"/>
                <a:gd name="T27" fmla="*/ 840 h 2229"/>
                <a:gd name="T28" fmla="*/ 59 w 1584"/>
                <a:gd name="T29" fmla="*/ 952 h 2229"/>
                <a:gd name="T30" fmla="*/ 143 w 1584"/>
                <a:gd name="T31" fmla="*/ 1073 h 2229"/>
                <a:gd name="T32" fmla="*/ 233 w 1584"/>
                <a:gd name="T33" fmla="*/ 1179 h 2229"/>
                <a:gd name="T34" fmla="*/ 277 w 1584"/>
                <a:gd name="T35" fmla="*/ 1268 h 2229"/>
                <a:gd name="T36" fmla="*/ 280 w 1584"/>
                <a:gd name="T37" fmla="*/ 1363 h 2229"/>
                <a:gd name="T38" fmla="*/ 252 w 1584"/>
                <a:gd name="T39" fmla="*/ 1465 h 2229"/>
                <a:gd name="T40" fmla="*/ 116 w 1584"/>
                <a:gd name="T41" fmla="*/ 1768 h 2229"/>
                <a:gd name="T42" fmla="*/ 60 w 1584"/>
                <a:gd name="T43" fmla="*/ 1913 h 2229"/>
                <a:gd name="T44" fmla="*/ 45 w 1584"/>
                <a:gd name="T45" fmla="*/ 2006 h 2229"/>
                <a:gd name="T46" fmla="*/ 58 w 1584"/>
                <a:gd name="T47" fmla="*/ 2082 h 2229"/>
                <a:gd name="T48" fmla="*/ 93 w 1584"/>
                <a:gd name="T49" fmla="*/ 2143 h 2229"/>
                <a:gd name="T50" fmla="*/ 145 w 1584"/>
                <a:gd name="T51" fmla="*/ 2188 h 2229"/>
                <a:gd name="T52" fmla="*/ 208 w 1584"/>
                <a:gd name="T53" fmla="*/ 2217 h 2229"/>
                <a:gd name="T54" fmla="*/ 277 w 1584"/>
                <a:gd name="T55" fmla="*/ 2229 h 2229"/>
                <a:gd name="T56" fmla="*/ 341 w 1584"/>
                <a:gd name="T57" fmla="*/ 2225 h 2229"/>
                <a:gd name="T58" fmla="*/ 417 w 1584"/>
                <a:gd name="T59" fmla="*/ 2197 h 2229"/>
                <a:gd name="T60" fmla="*/ 477 w 1584"/>
                <a:gd name="T61" fmla="*/ 2142 h 2229"/>
                <a:gd name="T62" fmla="*/ 512 w 1584"/>
                <a:gd name="T63" fmla="*/ 2064 h 2229"/>
                <a:gd name="T64" fmla="*/ 574 w 1584"/>
                <a:gd name="T65" fmla="*/ 1946 h 2229"/>
                <a:gd name="T66" fmla="*/ 642 w 1584"/>
                <a:gd name="T67" fmla="*/ 1887 h 2229"/>
                <a:gd name="T68" fmla="*/ 718 w 1584"/>
                <a:gd name="T69" fmla="*/ 1870 h 2229"/>
                <a:gd name="T70" fmla="*/ 791 w 1584"/>
                <a:gd name="T71" fmla="*/ 1878 h 2229"/>
                <a:gd name="T72" fmla="*/ 946 w 1584"/>
                <a:gd name="T73" fmla="*/ 1909 h 2229"/>
                <a:gd name="T74" fmla="*/ 1082 w 1584"/>
                <a:gd name="T75" fmla="*/ 1920 h 2229"/>
                <a:gd name="T76" fmla="*/ 1178 w 1584"/>
                <a:gd name="T77" fmla="*/ 1914 h 2229"/>
                <a:gd name="T78" fmla="*/ 1283 w 1584"/>
                <a:gd name="T79" fmla="*/ 1893 h 2229"/>
                <a:gd name="T80" fmla="*/ 1380 w 1584"/>
                <a:gd name="T81" fmla="*/ 1857 h 2229"/>
                <a:gd name="T82" fmla="*/ 1457 w 1584"/>
                <a:gd name="T83" fmla="*/ 1807 h 2229"/>
                <a:gd name="T84" fmla="*/ 1514 w 1584"/>
                <a:gd name="T85" fmla="*/ 1745 h 2229"/>
                <a:gd name="T86" fmla="*/ 1554 w 1584"/>
                <a:gd name="T87" fmla="*/ 1674 h 2229"/>
                <a:gd name="T88" fmla="*/ 1576 w 1584"/>
                <a:gd name="T89" fmla="*/ 1596 h 2229"/>
                <a:gd name="T90" fmla="*/ 1583 w 1584"/>
                <a:gd name="T91" fmla="*/ 1478 h 2229"/>
                <a:gd name="T92" fmla="*/ 1547 w 1584"/>
                <a:gd name="T93" fmla="*/ 1305 h 2229"/>
                <a:gd name="T94" fmla="*/ 1465 w 1584"/>
                <a:gd name="T95" fmla="*/ 1141 h 2229"/>
                <a:gd name="T96" fmla="*/ 1349 w 1584"/>
                <a:gd name="T97" fmla="*/ 1005 h 2229"/>
                <a:gd name="T98" fmla="*/ 1266 w 1584"/>
                <a:gd name="T99" fmla="*/ 931 h 2229"/>
                <a:gd name="T100" fmla="*/ 1204 w 1584"/>
                <a:gd name="T101" fmla="*/ 857 h 2229"/>
                <a:gd name="T102" fmla="*/ 1154 w 1584"/>
                <a:gd name="T103" fmla="*/ 771 h 2229"/>
                <a:gd name="T104" fmla="*/ 1118 w 1584"/>
                <a:gd name="T105" fmla="*/ 673 h 2229"/>
                <a:gd name="T106" fmla="*/ 1097 w 1584"/>
                <a:gd name="T107" fmla="*/ 563 h 2229"/>
                <a:gd name="T108" fmla="*/ 1091 w 1584"/>
                <a:gd name="T109" fmla="*/ 439 h 2229"/>
                <a:gd name="T110" fmla="*/ 1096 w 1584"/>
                <a:gd name="T111" fmla="*/ 339 h 2229"/>
                <a:gd name="T112" fmla="*/ 1089 w 1584"/>
                <a:gd name="T113" fmla="*/ 249 h 2229"/>
                <a:gd name="T114" fmla="*/ 1060 w 1584"/>
                <a:gd name="T115" fmla="*/ 169 h 2229"/>
                <a:gd name="T116" fmla="*/ 1017 w 1584"/>
                <a:gd name="T117" fmla="*/ 102 h 2229"/>
                <a:gd name="T118" fmla="*/ 962 w 1584"/>
                <a:gd name="T119" fmla="*/ 50 h 2229"/>
                <a:gd name="T120" fmla="*/ 901 w 1584"/>
                <a:gd name="T121" fmla="*/ 15 h 2229"/>
                <a:gd name="T122" fmla="*/ 839 w 1584"/>
                <a:gd name="T123" fmla="*/ 0 h 2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4" h="2229">
                  <a:moveTo>
                    <a:pt x="827" y="0"/>
                  </a:moveTo>
                  <a:lnTo>
                    <a:pt x="827" y="0"/>
                  </a:lnTo>
                  <a:lnTo>
                    <a:pt x="816" y="0"/>
                  </a:lnTo>
                  <a:lnTo>
                    <a:pt x="805" y="1"/>
                  </a:lnTo>
                  <a:lnTo>
                    <a:pt x="794" y="3"/>
                  </a:lnTo>
                  <a:lnTo>
                    <a:pt x="784" y="6"/>
                  </a:lnTo>
                  <a:lnTo>
                    <a:pt x="773" y="9"/>
                  </a:lnTo>
                  <a:lnTo>
                    <a:pt x="763" y="14"/>
                  </a:lnTo>
                  <a:lnTo>
                    <a:pt x="754" y="19"/>
                  </a:lnTo>
                  <a:lnTo>
                    <a:pt x="744" y="25"/>
                  </a:lnTo>
                  <a:lnTo>
                    <a:pt x="736" y="32"/>
                  </a:lnTo>
                  <a:lnTo>
                    <a:pt x="727" y="40"/>
                  </a:lnTo>
                  <a:lnTo>
                    <a:pt x="719" y="48"/>
                  </a:lnTo>
                  <a:lnTo>
                    <a:pt x="711" y="58"/>
                  </a:lnTo>
                  <a:lnTo>
                    <a:pt x="704" y="68"/>
                  </a:lnTo>
                  <a:lnTo>
                    <a:pt x="697" y="80"/>
                  </a:lnTo>
                  <a:lnTo>
                    <a:pt x="691" y="92"/>
                  </a:lnTo>
                  <a:lnTo>
                    <a:pt x="685" y="106"/>
                  </a:lnTo>
                  <a:lnTo>
                    <a:pt x="685" y="106"/>
                  </a:lnTo>
                  <a:lnTo>
                    <a:pt x="674" y="137"/>
                  </a:lnTo>
                  <a:lnTo>
                    <a:pt x="664" y="167"/>
                  </a:lnTo>
                  <a:lnTo>
                    <a:pt x="647" y="219"/>
                  </a:lnTo>
                  <a:lnTo>
                    <a:pt x="635" y="265"/>
                  </a:lnTo>
                  <a:lnTo>
                    <a:pt x="625" y="304"/>
                  </a:lnTo>
                  <a:lnTo>
                    <a:pt x="616" y="337"/>
                  </a:lnTo>
                  <a:lnTo>
                    <a:pt x="607" y="366"/>
                  </a:lnTo>
                  <a:lnTo>
                    <a:pt x="603" y="378"/>
                  </a:lnTo>
                  <a:lnTo>
                    <a:pt x="597" y="390"/>
                  </a:lnTo>
                  <a:lnTo>
                    <a:pt x="591" y="401"/>
                  </a:lnTo>
                  <a:lnTo>
                    <a:pt x="584" y="411"/>
                  </a:lnTo>
                  <a:lnTo>
                    <a:pt x="576" y="421"/>
                  </a:lnTo>
                  <a:lnTo>
                    <a:pt x="567" y="430"/>
                  </a:lnTo>
                  <a:lnTo>
                    <a:pt x="556" y="439"/>
                  </a:lnTo>
                  <a:lnTo>
                    <a:pt x="544" y="447"/>
                  </a:lnTo>
                  <a:lnTo>
                    <a:pt x="530" y="455"/>
                  </a:lnTo>
                  <a:lnTo>
                    <a:pt x="514" y="464"/>
                  </a:lnTo>
                  <a:lnTo>
                    <a:pt x="496" y="472"/>
                  </a:lnTo>
                  <a:lnTo>
                    <a:pt x="476" y="480"/>
                  </a:lnTo>
                  <a:lnTo>
                    <a:pt x="453" y="488"/>
                  </a:lnTo>
                  <a:lnTo>
                    <a:pt x="428" y="497"/>
                  </a:lnTo>
                  <a:lnTo>
                    <a:pt x="369" y="516"/>
                  </a:lnTo>
                  <a:lnTo>
                    <a:pt x="297" y="537"/>
                  </a:lnTo>
                  <a:lnTo>
                    <a:pt x="212" y="561"/>
                  </a:lnTo>
                  <a:lnTo>
                    <a:pt x="212" y="561"/>
                  </a:lnTo>
                  <a:lnTo>
                    <a:pt x="193" y="567"/>
                  </a:lnTo>
                  <a:lnTo>
                    <a:pt x="175" y="573"/>
                  </a:lnTo>
                  <a:lnTo>
                    <a:pt x="157" y="579"/>
                  </a:lnTo>
                  <a:lnTo>
                    <a:pt x="141" y="586"/>
                  </a:lnTo>
                  <a:lnTo>
                    <a:pt x="126" y="593"/>
                  </a:lnTo>
                  <a:lnTo>
                    <a:pt x="112" y="601"/>
                  </a:lnTo>
                  <a:lnTo>
                    <a:pt x="99" y="608"/>
                  </a:lnTo>
                  <a:lnTo>
                    <a:pt x="86" y="616"/>
                  </a:lnTo>
                  <a:lnTo>
                    <a:pt x="75" y="624"/>
                  </a:lnTo>
                  <a:lnTo>
                    <a:pt x="65" y="633"/>
                  </a:lnTo>
                  <a:lnTo>
                    <a:pt x="55" y="642"/>
                  </a:lnTo>
                  <a:lnTo>
                    <a:pt x="46" y="651"/>
                  </a:lnTo>
                  <a:lnTo>
                    <a:pt x="39" y="660"/>
                  </a:lnTo>
                  <a:lnTo>
                    <a:pt x="32" y="669"/>
                  </a:lnTo>
                  <a:lnTo>
                    <a:pt x="25" y="679"/>
                  </a:lnTo>
                  <a:lnTo>
                    <a:pt x="20" y="689"/>
                  </a:lnTo>
                  <a:lnTo>
                    <a:pt x="15" y="699"/>
                  </a:lnTo>
                  <a:lnTo>
                    <a:pt x="11" y="709"/>
                  </a:lnTo>
                  <a:lnTo>
                    <a:pt x="8" y="719"/>
                  </a:lnTo>
                  <a:lnTo>
                    <a:pt x="5" y="730"/>
                  </a:lnTo>
                  <a:lnTo>
                    <a:pt x="3" y="740"/>
                  </a:lnTo>
                  <a:lnTo>
                    <a:pt x="1" y="751"/>
                  </a:lnTo>
                  <a:lnTo>
                    <a:pt x="0" y="773"/>
                  </a:lnTo>
                  <a:lnTo>
                    <a:pt x="2" y="795"/>
                  </a:lnTo>
                  <a:lnTo>
                    <a:pt x="5" y="817"/>
                  </a:lnTo>
                  <a:lnTo>
                    <a:pt x="10" y="840"/>
                  </a:lnTo>
                  <a:lnTo>
                    <a:pt x="17" y="862"/>
                  </a:lnTo>
                  <a:lnTo>
                    <a:pt x="26" y="885"/>
                  </a:lnTo>
                  <a:lnTo>
                    <a:pt x="36" y="907"/>
                  </a:lnTo>
                  <a:lnTo>
                    <a:pt x="47" y="930"/>
                  </a:lnTo>
                  <a:lnTo>
                    <a:pt x="59" y="952"/>
                  </a:lnTo>
                  <a:lnTo>
                    <a:pt x="72" y="973"/>
                  </a:lnTo>
                  <a:lnTo>
                    <a:pt x="85" y="995"/>
                  </a:lnTo>
                  <a:lnTo>
                    <a:pt x="99" y="1015"/>
                  </a:lnTo>
                  <a:lnTo>
                    <a:pt x="114" y="1035"/>
                  </a:lnTo>
                  <a:lnTo>
                    <a:pt x="143" y="1073"/>
                  </a:lnTo>
                  <a:lnTo>
                    <a:pt x="171" y="1107"/>
                  </a:lnTo>
                  <a:lnTo>
                    <a:pt x="196" y="1137"/>
                  </a:lnTo>
                  <a:lnTo>
                    <a:pt x="218" y="1162"/>
                  </a:lnTo>
                  <a:lnTo>
                    <a:pt x="218" y="1162"/>
                  </a:lnTo>
                  <a:lnTo>
                    <a:pt x="233" y="1179"/>
                  </a:lnTo>
                  <a:lnTo>
                    <a:pt x="245" y="1197"/>
                  </a:lnTo>
                  <a:lnTo>
                    <a:pt x="256" y="1215"/>
                  </a:lnTo>
                  <a:lnTo>
                    <a:pt x="264" y="1232"/>
                  </a:lnTo>
                  <a:lnTo>
                    <a:pt x="271" y="1250"/>
                  </a:lnTo>
                  <a:lnTo>
                    <a:pt x="277" y="1268"/>
                  </a:lnTo>
                  <a:lnTo>
                    <a:pt x="280" y="1287"/>
                  </a:lnTo>
                  <a:lnTo>
                    <a:pt x="282" y="1305"/>
                  </a:lnTo>
                  <a:lnTo>
                    <a:pt x="283" y="1324"/>
                  </a:lnTo>
                  <a:lnTo>
                    <a:pt x="282" y="1343"/>
                  </a:lnTo>
                  <a:lnTo>
                    <a:pt x="280" y="1363"/>
                  </a:lnTo>
                  <a:lnTo>
                    <a:pt x="277" y="1382"/>
                  </a:lnTo>
                  <a:lnTo>
                    <a:pt x="272" y="1402"/>
                  </a:lnTo>
                  <a:lnTo>
                    <a:pt x="266" y="1423"/>
                  </a:lnTo>
                  <a:lnTo>
                    <a:pt x="260" y="1444"/>
                  </a:lnTo>
                  <a:lnTo>
                    <a:pt x="252" y="1465"/>
                  </a:lnTo>
                  <a:lnTo>
                    <a:pt x="235" y="1510"/>
                  </a:lnTo>
                  <a:lnTo>
                    <a:pt x="214" y="1556"/>
                  </a:lnTo>
                  <a:lnTo>
                    <a:pt x="167" y="1657"/>
                  </a:lnTo>
                  <a:lnTo>
                    <a:pt x="142" y="1711"/>
                  </a:lnTo>
                  <a:lnTo>
                    <a:pt x="116" y="1768"/>
                  </a:lnTo>
                  <a:lnTo>
                    <a:pt x="91" y="1829"/>
                  </a:lnTo>
                  <a:lnTo>
                    <a:pt x="78" y="1861"/>
                  </a:lnTo>
                  <a:lnTo>
                    <a:pt x="66" y="1893"/>
                  </a:lnTo>
                  <a:lnTo>
                    <a:pt x="66" y="1893"/>
                  </a:lnTo>
                  <a:lnTo>
                    <a:pt x="60" y="1913"/>
                  </a:lnTo>
                  <a:lnTo>
                    <a:pt x="54" y="1933"/>
                  </a:lnTo>
                  <a:lnTo>
                    <a:pt x="50" y="1952"/>
                  </a:lnTo>
                  <a:lnTo>
                    <a:pt x="47" y="1971"/>
                  </a:lnTo>
                  <a:lnTo>
                    <a:pt x="45" y="1988"/>
                  </a:lnTo>
                  <a:lnTo>
                    <a:pt x="45" y="2006"/>
                  </a:lnTo>
                  <a:lnTo>
                    <a:pt x="45" y="2022"/>
                  </a:lnTo>
                  <a:lnTo>
                    <a:pt x="47" y="2038"/>
                  </a:lnTo>
                  <a:lnTo>
                    <a:pt x="50" y="2054"/>
                  </a:lnTo>
                  <a:lnTo>
                    <a:pt x="53" y="2068"/>
                  </a:lnTo>
                  <a:lnTo>
                    <a:pt x="58" y="2082"/>
                  </a:lnTo>
                  <a:lnTo>
                    <a:pt x="63" y="2096"/>
                  </a:lnTo>
                  <a:lnTo>
                    <a:pt x="70" y="2109"/>
                  </a:lnTo>
                  <a:lnTo>
                    <a:pt x="77" y="2121"/>
                  </a:lnTo>
                  <a:lnTo>
                    <a:pt x="84" y="2133"/>
                  </a:lnTo>
                  <a:lnTo>
                    <a:pt x="93" y="2143"/>
                  </a:lnTo>
                  <a:lnTo>
                    <a:pt x="102" y="2154"/>
                  </a:lnTo>
                  <a:lnTo>
                    <a:pt x="112" y="2163"/>
                  </a:lnTo>
                  <a:lnTo>
                    <a:pt x="122" y="2172"/>
                  </a:lnTo>
                  <a:lnTo>
                    <a:pt x="133" y="2181"/>
                  </a:lnTo>
                  <a:lnTo>
                    <a:pt x="145" y="2188"/>
                  </a:lnTo>
                  <a:lnTo>
                    <a:pt x="157" y="2196"/>
                  </a:lnTo>
                  <a:lnTo>
                    <a:pt x="169" y="2202"/>
                  </a:lnTo>
                  <a:lnTo>
                    <a:pt x="182" y="2208"/>
                  </a:lnTo>
                  <a:lnTo>
                    <a:pt x="195" y="2213"/>
                  </a:lnTo>
                  <a:lnTo>
                    <a:pt x="208" y="2217"/>
                  </a:lnTo>
                  <a:lnTo>
                    <a:pt x="221" y="2221"/>
                  </a:lnTo>
                  <a:lnTo>
                    <a:pt x="235" y="2224"/>
                  </a:lnTo>
                  <a:lnTo>
                    <a:pt x="249" y="2226"/>
                  </a:lnTo>
                  <a:lnTo>
                    <a:pt x="263" y="2228"/>
                  </a:lnTo>
                  <a:lnTo>
                    <a:pt x="277" y="2229"/>
                  </a:lnTo>
                  <a:lnTo>
                    <a:pt x="290" y="2229"/>
                  </a:lnTo>
                  <a:lnTo>
                    <a:pt x="290" y="2229"/>
                  </a:lnTo>
                  <a:lnTo>
                    <a:pt x="307" y="2229"/>
                  </a:lnTo>
                  <a:lnTo>
                    <a:pt x="324" y="2227"/>
                  </a:lnTo>
                  <a:lnTo>
                    <a:pt x="341" y="2225"/>
                  </a:lnTo>
                  <a:lnTo>
                    <a:pt x="357" y="2221"/>
                  </a:lnTo>
                  <a:lnTo>
                    <a:pt x="373" y="2217"/>
                  </a:lnTo>
                  <a:lnTo>
                    <a:pt x="388" y="2211"/>
                  </a:lnTo>
                  <a:lnTo>
                    <a:pt x="403" y="2204"/>
                  </a:lnTo>
                  <a:lnTo>
                    <a:pt x="417" y="2197"/>
                  </a:lnTo>
                  <a:lnTo>
                    <a:pt x="431" y="2188"/>
                  </a:lnTo>
                  <a:lnTo>
                    <a:pt x="444" y="2178"/>
                  </a:lnTo>
                  <a:lnTo>
                    <a:pt x="456" y="2167"/>
                  </a:lnTo>
                  <a:lnTo>
                    <a:pt x="467" y="2155"/>
                  </a:lnTo>
                  <a:lnTo>
                    <a:pt x="477" y="2142"/>
                  </a:lnTo>
                  <a:lnTo>
                    <a:pt x="486" y="2128"/>
                  </a:lnTo>
                  <a:lnTo>
                    <a:pt x="494" y="2113"/>
                  </a:lnTo>
                  <a:lnTo>
                    <a:pt x="500" y="2097"/>
                  </a:lnTo>
                  <a:lnTo>
                    <a:pt x="500" y="2097"/>
                  </a:lnTo>
                  <a:lnTo>
                    <a:pt x="512" y="2064"/>
                  </a:lnTo>
                  <a:lnTo>
                    <a:pt x="524" y="2035"/>
                  </a:lnTo>
                  <a:lnTo>
                    <a:pt x="537" y="2009"/>
                  </a:lnTo>
                  <a:lnTo>
                    <a:pt x="549" y="1985"/>
                  </a:lnTo>
                  <a:lnTo>
                    <a:pt x="562" y="1964"/>
                  </a:lnTo>
                  <a:lnTo>
                    <a:pt x="574" y="1946"/>
                  </a:lnTo>
                  <a:lnTo>
                    <a:pt x="587" y="1930"/>
                  </a:lnTo>
                  <a:lnTo>
                    <a:pt x="600" y="1916"/>
                  </a:lnTo>
                  <a:lnTo>
                    <a:pt x="614" y="1904"/>
                  </a:lnTo>
                  <a:lnTo>
                    <a:pt x="628" y="1894"/>
                  </a:lnTo>
                  <a:lnTo>
                    <a:pt x="642" y="1887"/>
                  </a:lnTo>
                  <a:lnTo>
                    <a:pt x="656" y="1880"/>
                  </a:lnTo>
                  <a:lnTo>
                    <a:pt x="671" y="1876"/>
                  </a:lnTo>
                  <a:lnTo>
                    <a:pt x="686" y="1873"/>
                  </a:lnTo>
                  <a:lnTo>
                    <a:pt x="702" y="1871"/>
                  </a:lnTo>
                  <a:lnTo>
                    <a:pt x="718" y="1870"/>
                  </a:lnTo>
                  <a:lnTo>
                    <a:pt x="718" y="1870"/>
                  </a:lnTo>
                  <a:lnTo>
                    <a:pt x="736" y="1871"/>
                  </a:lnTo>
                  <a:lnTo>
                    <a:pt x="754" y="1873"/>
                  </a:lnTo>
                  <a:lnTo>
                    <a:pt x="772" y="1875"/>
                  </a:lnTo>
                  <a:lnTo>
                    <a:pt x="791" y="1878"/>
                  </a:lnTo>
                  <a:lnTo>
                    <a:pt x="832" y="1886"/>
                  </a:lnTo>
                  <a:lnTo>
                    <a:pt x="875" y="1895"/>
                  </a:lnTo>
                  <a:lnTo>
                    <a:pt x="875" y="1895"/>
                  </a:lnTo>
                  <a:lnTo>
                    <a:pt x="921" y="1904"/>
                  </a:lnTo>
                  <a:lnTo>
                    <a:pt x="946" y="1909"/>
                  </a:lnTo>
                  <a:lnTo>
                    <a:pt x="971" y="1912"/>
                  </a:lnTo>
                  <a:lnTo>
                    <a:pt x="998" y="1915"/>
                  </a:lnTo>
                  <a:lnTo>
                    <a:pt x="1025" y="1918"/>
                  </a:lnTo>
                  <a:lnTo>
                    <a:pt x="1053" y="1919"/>
                  </a:lnTo>
                  <a:lnTo>
                    <a:pt x="1082" y="1920"/>
                  </a:lnTo>
                  <a:lnTo>
                    <a:pt x="1082" y="1920"/>
                  </a:lnTo>
                  <a:lnTo>
                    <a:pt x="1105" y="1920"/>
                  </a:lnTo>
                  <a:lnTo>
                    <a:pt x="1129" y="1919"/>
                  </a:lnTo>
                  <a:lnTo>
                    <a:pt x="1153" y="1917"/>
                  </a:lnTo>
                  <a:lnTo>
                    <a:pt x="1178" y="1914"/>
                  </a:lnTo>
                  <a:lnTo>
                    <a:pt x="1203" y="1910"/>
                  </a:lnTo>
                  <a:lnTo>
                    <a:pt x="1229" y="1906"/>
                  </a:lnTo>
                  <a:lnTo>
                    <a:pt x="1256" y="1900"/>
                  </a:lnTo>
                  <a:lnTo>
                    <a:pt x="1283" y="1893"/>
                  </a:lnTo>
                  <a:lnTo>
                    <a:pt x="1283" y="1893"/>
                  </a:lnTo>
                  <a:lnTo>
                    <a:pt x="1304" y="1887"/>
                  </a:lnTo>
                  <a:lnTo>
                    <a:pt x="1325" y="1881"/>
                  </a:lnTo>
                  <a:lnTo>
                    <a:pt x="1344" y="1873"/>
                  </a:lnTo>
                  <a:lnTo>
                    <a:pt x="1362" y="1866"/>
                  </a:lnTo>
                  <a:lnTo>
                    <a:pt x="1380" y="1857"/>
                  </a:lnTo>
                  <a:lnTo>
                    <a:pt x="1397" y="1848"/>
                  </a:lnTo>
                  <a:lnTo>
                    <a:pt x="1413" y="1839"/>
                  </a:lnTo>
                  <a:lnTo>
                    <a:pt x="1428" y="1829"/>
                  </a:lnTo>
                  <a:lnTo>
                    <a:pt x="1443" y="1818"/>
                  </a:lnTo>
                  <a:lnTo>
                    <a:pt x="1457" y="1807"/>
                  </a:lnTo>
                  <a:lnTo>
                    <a:pt x="1470" y="1796"/>
                  </a:lnTo>
                  <a:lnTo>
                    <a:pt x="1482" y="1784"/>
                  </a:lnTo>
                  <a:lnTo>
                    <a:pt x="1493" y="1771"/>
                  </a:lnTo>
                  <a:lnTo>
                    <a:pt x="1504" y="1759"/>
                  </a:lnTo>
                  <a:lnTo>
                    <a:pt x="1514" y="1745"/>
                  </a:lnTo>
                  <a:lnTo>
                    <a:pt x="1523" y="1732"/>
                  </a:lnTo>
                  <a:lnTo>
                    <a:pt x="1532" y="1718"/>
                  </a:lnTo>
                  <a:lnTo>
                    <a:pt x="1540" y="1704"/>
                  </a:lnTo>
                  <a:lnTo>
                    <a:pt x="1547" y="1689"/>
                  </a:lnTo>
                  <a:lnTo>
                    <a:pt x="1554" y="1674"/>
                  </a:lnTo>
                  <a:lnTo>
                    <a:pt x="1559" y="1659"/>
                  </a:lnTo>
                  <a:lnTo>
                    <a:pt x="1565" y="1644"/>
                  </a:lnTo>
                  <a:lnTo>
                    <a:pt x="1569" y="1628"/>
                  </a:lnTo>
                  <a:lnTo>
                    <a:pt x="1573" y="1612"/>
                  </a:lnTo>
                  <a:lnTo>
                    <a:pt x="1576" y="1596"/>
                  </a:lnTo>
                  <a:lnTo>
                    <a:pt x="1579" y="1580"/>
                  </a:lnTo>
                  <a:lnTo>
                    <a:pt x="1581" y="1563"/>
                  </a:lnTo>
                  <a:lnTo>
                    <a:pt x="1583" y="1546"/>
                  </a:lnTo>
                  <a:lnTo>
                    <a:pt x="1584" y="1512"/>
                  </a:lnTo>
                  <a:lnTo>
                    <a:pt x="1583" y="1478"/>
                  </a:lnTo>
                  <a:lnTo>
                    <a:pt x="1580" y="1444"/>
                  </a:lnTo>
                  <a:lnTo>
                    <a:pt x="1574" y="1409"/>
                  </a:lnTo>
                  <a:lnTo>
                    <a:pt x="1567" y="1374"/>
                  </a:lnTo>
                  <a:lnTo>
                    <a:pt x="1558" y="1339"/>
                  </a:lnTo>
                  <a:lnTo>
                    <a:pt x="1547" y="1305"/>
                  </a:lnTo>
                  <a:lnTo>
                    <a:pt x="1534" y="1271"/>
                  </a:lnTo>
                  <a:lnTo>
                    <a:pt x="1519" y="1237"/>
                  </a:lnTo>
                  <a:lnTo>
                    <a:pt x="1503" y="1204"/>
                  </a:lnTo>
                  <a:lnTo>
                    <a:pt x="1485" y="1172"/>
                  </a:lnTo>
                  <a:lnTo>
                    <a:pt x="1465" y="1141"/>
                  </a:lnTo>
                  <a:lnTo>
                    <a:pt x="1445" y="1111"/>
                  </a:lnTo>
                  <a:lnTo>
                    <a:pt x="1423" y="1082"/>
                  </a:lnTo>
                  <a:lnTo>
                    <a:pt x="1399" y="1055"/>
                  </a:lnTo>
                  <a:lnTo>
                    <a:pt x="1375" y="1029"/>
                  </a:lnTo>
                  <a:lnTo>
                    <a:pt x="1349" y="1005"/>
                  </a:lnTo>
                  <a:lnTo>
                    <a:pt x="1323" y="983"/>
                  </a:lnTo>
                  <a:lnTo>
                    <a:pt x="1323" y="983"/>
                  </a:lnTo>
                  <a:lnTo>
                    <a:pt x="1293" y="958"/>
                  </a:lnTo>
                  <a:lnTo>
                    <a:pt x="1279" y="945"/>
                  </a:lnTo>
                  <a:lnTo>
                    <a:pt x="1266" y="931"/>
                  </a:lnTo>
                  <a:lnTo>
                    <a:pt x="1252" y="917"/>
                  </a:lnTo>
                  <a:lnTo>
                    <a:pt x="1240" y="903"/>
                  </a:lnTo>
                  <a:lnTo>
                    <a:pt x="1227" y="888"/>
                  </a:lnTo>
                  <a:lnTo>
                    <a:pt x="1215" y="873"/>
                  </a:lnTo>
                  <a:lnTo>
                    <a:pt x="1204" y="857"/>
                  </a:lnTo>
                  <a:lnTo>
                    <a:pt x="1193" y="841"/>
                  </a:lnTo>
                  <a:lnTo>
                    <a:pt x="1183" y="824"/>
                  </a:lnTo>
                  <a:lnTo>
                    <a:pt x="1173" y="807"/>
                  </a:lnTo>
                  <a:lnTo>
                    <a:pt x="1163" y="789"/>
                  </a:lnTo>
                  <a:lnTo>
                    <a:pt x="1154" y="771"/>
                  </a:lnTo>
                  <a:lnTo>
                    <a:pt x="1146" y="753"/>
                  </a:lnTo>
                  <a:lnTo>
                    <a:pt x="1138" y="734"/>
                  </a:lnTo>
                  <a:lnTo>
                    <a:pt x="1131" y="714"/>
                  </a:lnTo>
                  <a:lnTo>
                    <a:pt x="1124" y="694"/>
                  </a:lnTo>
                  <a:lnTo>
                    <a:pt x="1118" y="673"/>
                  </a:lnTo>
                  <a:lnTo>
                    <a:pt x="1113" y="652"/>
                  </a:lnTo>
                  <a:lnTo>
                    <a:pt x="1108" y="631"/>
                  </a:lnTo>
                  <a:lnTo>
                    <a:pt x="1103" y="609"/>
                  </a:lnTo>
                  <a:lnTo>
                    <a:pt x="1100" y="586"/>
                  </a:lnTo>
                  <a:lnTo>
                    <a:pt x="1097" y="563"/>
                  </a:lnTo>
                  <a:lnTo>
                    <a:pt x="1094" y="539"/>
                  </a:lnTo>
                  <a:lnTo>
                    <a:pt x="1092" y="515"/>
                  </a:lnTo>
                  <a:lnTo>
                    <a:pt x="1091" y="490"/>
                  </a:lnTo>
                  <a:lnTo>
                    <a:pt x="1091" y="465"/>
                  </a:lnTo>
                  <a:lnTo>
                    <a:pt x="1091" y="439"/>
                  </a:lnTo>
                  <a:lnTo>
                    <a:pt x="1091" y="412"/>
                  </a:lnTo>
                  <a:lnTo>
                    <a:pt x="1093" y="385"/>
                  </a:lnTo>
                  <a:lnTo>
                    <a:pt x="1095" y="358"/>
                  </a:lnTo>
                  <a:lnTo>
                    <a:pt x="1095" y="358"/>
                  </a:lnTo>
                  <a:lnTo>
                    <a:pt x="1096" y="339"/>
                  </a:lnTo>
                  <a:lnTo>
                    <a:pt x="1097" y="320"/>
                  </a:lnTo>
                  <a:lnTo>
                    <a:pt x="1096" y="302"/>
                  </a:lnTo>
                  <a:lnTo>
                    <a:pt x="1094" y="284"/>
                  </a:lnTo>
                  <a:lnTo>
                    <a:pt x="1092" y="266"/>
                  </a:lnTo>
                  <a:lnTo>
                    <a:pt x="1089" y="249"/>
                  </a:lnTo>
                  <a:lnTo>
                    <a:pt x="1084" y="232"/>
                  </a:lnTo>
                  <a:lnTo>
                    <a:pt x="1079" y="216"/>
                  </a:lnTo>
                  <a:lnTo>
                    <a:pt x="1074" y="200"/>
                  </a:lnTo>
                  <a:lnTo>
                    <a:pt x="1067" y="184"/>
                  </a:lnTo>
                  <a:lnTo>
                    <a:pt x="1060" y="169"/>
                  </a:lnTo>
                  <a:lnTo>
                    <a:pt x="1053" y="155"/>
                  </a:lnTo>
                  <a:lnTo>
                    <a:pt x="1044" y="141"/>
                  </a:lnTo>
                  <a:lnTo>
                    <a:pt x="1036" y="127"/>
                  </a:lnTo>
                  <a:lnTo>
                    <a:pt x="1026" y="114"/>
                  </a:lnTo>
                  <a:lnTo>
                    <a:pt x="1017" y="102"/>
                  </a:lnTo>
                  <a:lnTo>
                    <a:pt x="1006" y="90"/>
                  </a:lnTo>
                  <a:lnTo>
                    <a:pt x="996" y="79"/>
                  </a:lnTo>
                  <a:lnTo>
                    <a:pt x="985" y="69"/>
                  </a:lnTo>
                  <a:lnTo>
                    <a:pt x="974" y="59"/>
                  </a:lnTo>
                  <a:lnTo>
                    <a:pt x="962" y="50"/>
                  </a:lnTo>
                  <a:lnTo>
                    <a:pt x="950" y="42"/>
                  </a:lnTo>
                  <a:lnTo>
                    <a:pt x="938" y="34"/>
                  </a:lnTo>
                  <a:lnTo>
                    <a:pt x="926" y="27"/>
                  </a:lnTo>
                  <a:lnTo>
                    <a:pt x="914" y="21"/>
                  </a:lnTo>
                  <a:lnTo>
                    <a:pt x="901" y="15"/>
                  </a:lnTo>
                  <a:lnTo>
                    <a:pt x="889" y="11"/>
                  </a:lnTo>
                  <a:lnTo>
                    <a:pt x="876" y="7"/>
                  </a:lnTo>
                  <a:lnTo>
                    <a:pt x="864" y="4"/>
                  </a:lnTo>
                  <a:lnTo>
                    <a:pt x="851" y="2"/>
                  </a:lnTo>
                  <a:lnTo>
                    <a:pt x="839" y="0"/>
                  </a:lnTo>
                  <a:lnTo>
                    <a:pt x="8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5" name="Rectangle 27">
              <a:extLst>
                <a:ext uri="{FF2B5EF4-FFF2-40B4-BE49-F238E27FC236}">
                  <a16:creationId xmlns:a16="http://schemas.microsoft.com/office/drawing/2014/main" id="{9E43FD3A-088A-4071-A55F-E721C581B3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4" y="740"/>
              <a:ext cx="374" cy="752"/>
            </a:xfrm>
            <a:prstGeom prst="rect">
              <a:avLst/>
            </a:prstGeom>
            <a:solidFill>
              <a:srgbClr val="6EB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1D325F87-8C03-40D6-ADF8-A7309B3EC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" y="1220"/>
              <a:ext cx="410" cy="607"/>
            </a:xfrm>
            <a:custGeom>
              <a:avLst/>
              <a:gdLst>
                <a:gd name="T0" fmla="*/ 48 w 410"/>
                <a:gd name="T1" fmla="*/ 0 h 607"/>
                <a:gd name="T2" fmla="*/ 84 w 410"/>
                <a:gd name="T3" fmla="*/ 16 h 607"/>
                <a:gd name="T4" fmla="*/ 139 w 410"/>
                <a:gd name="T5" fmla="*/ 45 h 607"/>
                <a:gd name="T6" fmla="*/ 206 w 410"/>
                <a:gd name="T7" fmla="*/ 87 h 607"/>
                <a:gd name="T8" fmla="*/ 242 w 410"/>
                <a:gd name="T9" fmla="*/ 112 h 607"/>
                <a:gd name="T10" fmla="*/ 277 w 410"/>
                <a:gd name="T11" fmla="*/ 140 h 607"/>
                <a:gd name="T12" fmla="*/ 310 w 410"/>
                <a:gd name="T13" fmla="*/ 172 h 607"/>
                <a:gd name="T14" fmla="*/ 340 w 410"/>
                <a:gd name="T15" fmla="*/ 206 h 607"/>
                <a:gd name="T16" fmla="*/ 367 w 410"/>
                <a:gd name="T17" fmla="*/ 243 h 607"/>
                <a:gd name="T18" fmla="*/ 388 w 410"/>
                <a:gd name="T19" fmla="*/ 283 h 607"/>
                <a:gd name="T20" fmla="*/ 403 w 410"/>
                <a:gd name="T21" fmla="*/ 325 h 607"/>
                <a:gd name="T22" fmla="*/ 410 w 410"/>
                <a:gd name="T23" fmla="*/ 369 h 607"/>
                <a:gd name="T24" fmla="*/ 409 w 410"/>
                <a:gd name="T25" fmla="*/ 404 h 607"/>
                <a:gd name="T26" fmla="*/ 408 w 410"/>
                <a:gd name="T27" fmla="*/ 416 h 607"/>
                <a:gd name="T28" fmla="*/ 397 w 410"/>
                <a:gd name="T29" fmla="*/ 460 h 607"/>
                <a:gd name="T30" fmla="*/ 380 w 410"/>
                <a:gd name="T31" fmla="*/ 497 h 607"/>
                <a:gd name="T32" fmla="*/ 357 w 410"/>
                <a:gd name="T33" fmla="*/ 528 h 607"/>
                <a:gd name="T34" fmla="*/ 329 w 410"/>
                <a:gd name="T35" fmla="*/ 552 h 607"/>
                <a:gd name="T36" fmla="*/ 297 w 410"/>
                <a:gd name="T37" fmla="*/ 571 h 607"/>
                <a:gd name="T38" fmla="*/ 263 w 410"/>
                <a:gd name="T39" fmla="*/ 585 h 607"/>
                <a:gd name="T40" fmla="*/ 227 w 410"/>
                <a:gd name="T41" fmla="*/ 596 h 607"/>
                <a:gd name="T42" fmla="*/ 191 w 410"/>
                <a:gd name="T43" fmla="*/ 602 h 607"/>
                <a:gd name="T44" fmla="*/ 154 w 410"/>
                <a:gd name="T45" fmla="*/ 605 h 607"/>
                <a:gd name="T46" fmla="*/ 87 w 410"/>
                <a:gd name="T47" fmla="*/ 606 h 607"/>
                <a:gd name="T48" fmla="*/ 35 w 410"/>
                <a:gd name="T49" fmla="*/ 601 h 607"/>
                <a:gd name="T50" fmla="*/ 0 w 410"/>
                <a:gd name="T51" fmla="*/ 596 h 607"/>
                <a:gd name="T52" fmla="*/ 40 w 410"/>
                <a:gd name="T53" fmla="*/ 424 h 607"/>
                <a:gd name="T54" fmla="*/ 66 w 410"/>
                <a:gd name="T55" fmla="*/ 427 h 607"/>
                <a:gd name="T56" fmla="*/ 103 w 410"/>
                <a:gd name="T57" fmla="*/ 428 h 607"/>
                <a:gd name="T58" fmla="*/ 145 w 410"/>
                <a:gd name="T59" fmla="*/ 424 h 607"/>
                <a:gd name="T60" fmla="*/ 166 w 410"/>
                <a:gd name="T61" fmla="*/ 420 h 607"/>
                <a:gd name="T62" fmla="*/ 184 w 410"/>
                <a:gd name="T63" fmla="*/ 413 h 607"/>
                <a:gd name="T64" fmla="*/ 200 w 410"/>
                <a:gd name="T65" fmla="*/ 403 h 607"/>
                <a:gd name="T66" fmla="*/ 211 w 410"/>
                <a:gd name="T67" fmla="*/ 390 h 607"/>
                <a:gd name="T68" fmla="*/ 217 w 410"/>
                <a:gd name="T69" fmla="*/ 373 h 607"/>
                <a:gd name="T70" fmla="*/ 217 w 410"/>
                <a:gd name="T71" fmla="*/ 352 h 607"/>
                <a:gd name="T72" fmla="*/ 210 w 410"/>
                <a:gd name="T73" fmla="*/ 327 h 607"/>
                <a:gd name="T74" fmla="*/ 194 w 410"/>
                <a:gd name="T75" fmla="*/ 296 h 607"/>
                <a:gd name="T76" fmla="*/ 168 w 410"/>
                <a:gd name="T77" fmla="*/ 26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607">
                  <a:moveTo>
                    <a:pt x="48" y="0"/>
                  </a:moveTo>
                  <a:lnTo>
                    <a:pt x="48" y="0"/>
                  </a:lnTo>
                  <a:lnTo>
                    <a:pt x="65" y="7"/>
                  </a:lnTo>
                  <a:lnTo>
                    <a:pt x="84" y="16"/>
                  </a:lnTo>
                  <a:lnTo>
                    <a:pt x="109" y="29"/>
                  </a:lnTo>
                  <a:lnTo>
                    <a:pt x="139" y="45"/>
                  </a:lnTo>
                  <a:lnTo>
                    <a:pt x="171" y="64"/>
                  </a:lnTo>
                  <a:lnTo>
                    <a:pt x="206" y="87"/>
                  </a:lnTo>
                  <a:lnTo>
                    <a:pt x="224" y="99"/>
                  </a:lnTo>
                  <a:lnTo>
                    <a:pt x="242" y="112"/>
                  </a:lnTo>
                  <a:lnTo>
                    <a:pt x="259" y="126"/>
                  </a:lnTo>
                  <a:lnTo>
                    <a:pt x="277" y="140"/>
                  </a:lnTo>
                  <a:lnTo>
                    <a:pt x="293" y="156"/>
                  </a:lnTo>
                  <a:lnTo>
                    <a:pt x="310" y="172"/>
                  </a:lnTo>
                  <a:lnTo>
                    <a:pt x="326" y="189"/>
                  </a:lnTo>
                  <a:lnTo>
                    <a:pt x="340" y="206"/>
                  </a:lnTo>
                  <a:lnTo>
                    <a:pt x="354" y="224"/>
                  </a:lnTo>
                  <a:lnTo>
                    <a:pt x="367" y="243"/>
                  </a:lnTo>
                  <a:lnTo>
                    <a:pt x="378" y="262"/>
                  </a:lnTo>
                  <a:lnTo>
                    <a:pt x="388" y="283"/>
                  </a:lnTo>
                  <a:lnTo>
                    <a:pt x="396" y="303"/>
                  </a:lnTo>
                  <a:lnTo>
                    <a:pt x="403" y="325"/>
                  </a:lnTo>
                  <a:lnTo>
                    <a:pt x="407" y="347"/>
                  </a:lnTo>
                  <a:lnTo>
                    <a:pt x="410" y="369"/>
                  </a:lnTo>
                  <a:lnTo>
                    <a:pt x="410" y="392"/>
                  </a:lnTo>
                  <a:lnTo>
                    <a:pt x="409" y="404"/>
                  </a:lnTo>
                  <a:lnTo>
                    <a:pt x="408" y="416"/>
                  </a:lnTo>
                  <a:lnTo>
                    <a:pt x="408" y="416"/>
                  </a:lnTo>
                  <a:lnTo>
                    <a:pt x="404" y="439"/>
                  </a:lnTo>
                  <a:lnTo>
                    <a:pt x="397" y="460"/>
                  </a:lnTo>
                  <a:lnTo>
                    <a:pt x="390" y="480"/>
                  </a:lnTo>
                  <a:lnTo>
                    <a:pt x="380" y="497"/>
                  </a:lnTo>
                  <a:lnTo>
                    <a:pt x="369" y="513"/>
                  </a:lnTo>
                  <a:lnTo>
                    <a:pt x="357" y="528"/>
                  </a:lnTo>
                  <a:lnTo>
                    <a:pt x="344" y="541"/>
                  </a:lnTo>
                  <a:lnTo>
                    <a:pt x="329" y="552"/>
                  </a:lnTo>
                  <a:lnTo>
                    <a:pt x="314" y="562"/>
                  </a:lnTo>
                  <a:lnTo>
                    <a:pt x="297" y="571"/>
                  </a:lnTo>
                  <a:lnTo>
                    <a:pt x="281" y="579"/>
                  </a:lnTo>
                  <a:lnTo>
                    <a:pt x="263" y="585"/>
                  </a:lnTo>
                  <a:lnTo>
                    <a:pt x="245" y="591"/>
                  </a:lnTo>
                  <a:lnTo>
                    <a:pt x="227" y="596"/>
                  </a:lnTo>
                  <a:lnTo>
                    <a:pt x="209" y="599"/>
                  </a:lnTo>
                  <a:lnTo>
                    <a:pt x="191" y="602"/>
                  </a:lnTo>
                  <a:lnTo>
                    <a:pt x="172" y="604"/>
                  </a:lnTo>
                  <a:lnTo>
                    <a:pt x="154" y="605"/>
                  </a:lnTo>
                  <a:lnTo>
                    <a:pt x="120" y="607"/>
                  </a:lnTo>
                  <a:lnTo>
                    <a:pt x="87" y="606"/>
                  </a:lnTo>
                  <a:lnTo>
                    <a:pt x="59" y="604"/>
                  </a:lnTo>
                  <a:lnTo>
                    <a:pt x="35" y="601"/>
                  </a:lnTo>
                  <a:lnTo>
                    <a:pt x="16" y="599"/>
                  </a:lnTo>
                  <a:lnTo>
                    <a:pt x="0" y="596"/>
                  </a:lnTo>
                  <a:lnTo>
                    <a:pt x="40" y="424"/>
                  </a:lnTo>
                  <a:lnTo>
                    <a:pt x="40" y="424"/>
                  </a:lnTo>
                  <a:lnTo>
                    <a:pt x="52" y="425"/>
                  </a:lnTo>
                  <a:lnTo>
                    <a:pt x="66" y="427"/>
                  </a:lnTo>
                  <a:lnTo>
                    <a:pt x="83" y="428"/>
                  </a:lnTo>
                  <a:lnTo>
                    <a:pt x="103" y="428"/>
                  </a:lnTo>
                  <a:lnTo>
                    <a:pt x="124" y="427"/>
                  </a:lnTo>
                  <a:lnTo>
                    <a:pt x="145" y="424"/>
                  </a:lnTo>
                  <a:lnTo>
                    <a:pt x="155" y="423"/>
                  </a:lnTo>
                  <a:lnTo>
                    <a:pt x="166" y="420"/>
                  </a:lnTo>
                  <a:lnTo>
                    <a:pt x="175" y="417"/>
                  </a:lnTo>
                  <a:lnTo>
                    <a:pt x="184" y="413"/>
                  </a:lnTo>
                  <a:lnTo>
                    <a:pt x="192" y="409"/>
                  </a:lnTo>
                  <a:lnTo>
                    <a:pt x="200" y="403"/>
                  </a:lnTo>
                  <a:lnTo>
                    <a:pt x="206" y="397"/>
                  </a:lnTo>
                  <a:lnTo>
                    <a:pt x="211" y="390"/>
                  </a:lnTo>
                  <a:lnTo>
                    <a:pt x="215" y="382"/>
                  </a:lnTo>
                  <a:lnTo>
                    <a:pt x="217" y="373"/>
                  </a:lnTo>
                  <a:lnTo>
                    <a:pt x="218" y="363"/>
                  </a:lnTo>
                  <a:lnTo>
                    <a:pt x="217" y="352"/>
                  </a:lnTo>
                  <a:lnTo>
                    <a:pt x="214" y="340"/>
                  </a:lnTo>
                  <a:lnTo>
                    <a:pt x="210" y="327"/>
                  </a:lnTo>
                  <a:lnTo>
                    <a:pt x="203" y="312"/>
                  </a:lnTo>
                  <a:lnTo>
                    <a:pt x="194" y="296"/>
                  </a:lnTo>
                  <a:lnTo>
                    <a:pt x="182" y="279"/>
                  </a:lnTo>
                  <a:lnTo>
                    <a:pt x="168" y="26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45" name="Freeform 29">
              <a:extLst>
                <a:ext uri="{FF2B5EF4-FFF2-40B4-BE49-F238E27FC236}">
                  <a16:creationId xmlns:a16="http://schemas.microsoft.com/office/drawing/2014/main" id="{14E4DB4A-1271-42BD-B772-290EA6895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" y="1220"/>
              <a:ext cx="410" cy="607"/>
            </a:xfrm>
            <a:custGeom>
              <a:avLst/>
              <a:gdLst>
                <a:gd name="T0" fmla="*/ 48 w 410"/>
                <a:gd name="T1" fmla="*/ 0 h 607"/>
                <a:gd name="T2" fmla="*/ 84 w 410"/>
                <a:gd name="T3" fmla="*/ 16 h 607"/>
                <a:gd name="T4" fmla="*/ 139 w 410"/>
                <a:gd name="T5" fmla="*/ 45 h 607"/>
                <a:gd name="T6" fmla="*/ 206 w 410"/>
                <a:gd name="T7" fmla="*/ 87 h 607"/>
                <a:gd name="T8" fmla="*/ 242 w 410"/>
                <a:gd name="T9" fmla="*/ 112 h 607"/>
                <a:gd name="T10" fmla="*/ 277 w 410"/>
                <a:gd name="T11" fmla="*/ 140 h 607"/>
                <a:gd name="T12" fmla="*/ 310 w 410"/>
                <a:gd name="T13" fmla="*/ 172 h 607"/>
                <a:gd name="T14" fmla="*/ 340 w 410"/>
                <a:gd name="T15" fmla="*/ 206 h 607"/>
                <a:gd name="T16" fmla="*/ 367 w 410"/>
                <a:gd name="T17" fmla="*/ 243 h 607"/>
                <a:gd name="T18" fmla="*/ 388 w 410"/>
                <a:gd name="T19" fmla="*/ 283 h 607"/>
                <a:gd name="T20" fmla="*/ 403 w 410"/>
                <a:gd name="T21" fmla="*/ 325 h 607"/>
                <a:gd name="T22" fmla="*/ 410 w 410"/>
                <a:gd name="T23" fmla="*/ 369 h 607"/>
                <a:gd name="T24" fmla="*/ 409 w 410"/>
                <a:gd name="T25" fmla="*/ 404 h 607"/>
                <a:gd name="T26" fmla="*/ 408 w 410"/>
                <a:gd name="T27" fmla="*/ 416 h 607"/>
                <a:gd name="T28" fmla="*/ 397 w 410"/>
                <a:gd name="T29" fmla="*/ 460 h 607"/>
                <a:gd name="T30" fmla="*/ 380 w 410"/>
                <a:gd name="T31" fmla="*/ 497 h 607"/>
                <a:gd name="T32" fmla="*/ 357 w 410"/>
                <a:gd name="T33" fmla="*/ 528 h 607"/>
                <a:gd name="T34" fmla="*/ 329 w 410"/>
                <a:gd name="T35" fmla="*/ 552 h 607"/>
                <a:gd name="T36" fmla="*/ 297 w 410"/>
                <a:gd name="T37" fmla="*/ 571 h 607"/>
                <a:gd name="T38" fmla="*/ 263 w 410"/>
                <a:gd name="T39" fmla="*/ 585 h 607"/>
                <a:gd name="T40" fmla="*/ 227 w 410"/>
                <a:gd name="T41" fmla="*/ 596 h 607"/>
                <a:gd name="T42" fmla="*/ 191 w 410"/>
                <a:gd name="T43" fmla="*/ 602 h 607"/>
                <a:gd name="T44" fmla="*/ 154 w 410"/>
                <a:gd name="T45" fmla="*/ 605 h 607"/>
                <a:gd name="T46" fmla="*/ 87 w 410"/>
                <a:gd name="T47" fmla="*/ 606 h 607"/>
                <a:gd name="T48" fmla="*/ 35 w 410"/>
                <a:gd name="T49" fmla="*/ 601 h 607"/>
                <a:gd name="T50" fmla="*/ 0 w 410"/>
                <a:gd name="T51" fmla="*/ 596 h 607"/>
                <a:gd name="T52" fmla="*/ 40 w 410"/>
                <a:gd name="T53" fmla="*/ 424 h 607"/>
                <a:gd name="T54" fmla="*/ 66 w 410"/>
                <a:gd name="T55" fmla="*/ 427 h 607"/>
                <a:gd name="T56" fmla="*/ 103 w 410"/>
                <a:gd name="T57" fmla="*/ 428 h 607"/>
                <a:gd name="T58" fmla="*/ 145 w 410"/>
                <a:gd name="T59" fmla="*/ 424 h 607"/>
                <a:gd name="T60" fmla="*/ 166 w 410"/>
                <a:gd name="T61" fmla="*/ 420 h 607"/>
                <a:gd name="T62" fmla="*/ 184 w 410"/>
                <a:gd name="T63" fmla="*/ 413 h 607"/>
                <a:gd name="T64" fmla="*/ 200 w 410"/>
                <a:gd name="T65" fmla="*/ 403 h 607"/>
                <a:gd name="T66" fmla="*/ 211 w 410"/>
                <a:gd name="T67" fmla="*/ 390 h 607"/>
                <a:gd name="T68" fmla="*/ 217 w 410"/>
                <a:gd name="T69" fmla="*/ 373 h 607"/>
                <a:gd name="T70" fmla="*/ 217 w 410"/>
                <a:gd name="T71" fmla="*/ 352 h 607"/>
                <a:gd name="T72" fmla="*/ 210 w 410"/>
                <a:gd name="T73" fmla="*/ 327 h 607"/>
                <a:gd name="T74" fmla="*/ 194 w 410"/>
                <a:gd name="T75" fmla="*/ 296 h 607"/>
                <a:gd name="T76" fmla="*/ 168 w 410"/>
                <a:gd name="T77" fmla="*/ 26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607">
                  <a:moveTo>
                    <a:pt x="48" y="0"/>
                  </a:moveTo>
                  <a:lnTo>
                    <a:pt x="48" y="0"/>
                  </a:lnTo>
                  <a:lnTo>
                    <a:pt x="65" y="7"/>
                  </a:lnTo>
                  <a:lnTo>
                    <a:pt x="84" y="16"/>
                  </a:lnTo>
                  <a:lnTo>
                    <a:pt x="109" y="29"/>
                  </a:lnTo>
                  <a:lnTo>
                    <a:pt x="139" y="45"/>
                  </a:lnTo>
                  <a:lnTo>
                    <a:pt x="171" y="64"/>
                  </a:lnTo>
                  <a:lnTo>
                    <a:pt x="206" y="87"/>
                  </a:lnTo>
                  <a:lnTo>
                    <a:pt x="224" y="99"/>
                  </a:lnTo>
                  <a:lnTo>
                    <a:pt x="242" y="112"/>
                  </a:lnTo>
                  <a:lnTo>
                    <a:pt x="259" y="126"/>
                  </a:lnTo>
                  <a:lnTo>
                    <a:pt x="277" y="140"/>
                  </a:lnTo>
                  <a:lnTo>
                    <a:pt x="293" y="156"/>
                  </a:lnTo>
                  <a:lnTo>
                    <a:pt x="310" y="172"/>
                  </a:lnTo>
                  <a:lnTo>
                    <a:pt x="326" y="189"/>
                  </a:lnTo>
                  <a:lnTo>
                    <a:pt x="340" y="206"/>
                  </a:lnTo>
                  <a:lnTo>
                    <a:pt x="354" y="224"/>
                  </a:lnTo>
                  <a:lnTo>
                    <a:pt x="367" y="243"/>
                  </a:lnTo>
                  <a:lnTo>
                    <a:pt x="378" y="262"/>
                  </a:lnTo>
                  <a:lnTo>
                    <a:pt x="388" y="283"/>
                  </a:lnTo>
                  <a:lnTo>
                    <a:pt x="396" y="303"/>
                  </a:lnTo>
                  <a:lnTo>
                    <a:pt x="403" y="325"/>
                  </a:lnTo>
                  <a:lnTo>
                    <a:pt x="407" y="347"/>
                  </a:lnTo>
                  <a:lnTo>
                    <a:pt x="410" y="369"/>
                  </a:lnTo>
                  <a:lnTo>
                    <a:pt x="410" y="392"/>
                  </a:lnTo>
                  <a:lnTo>
                    <a:pt x="409" y="404"/>
                  </a:lnTo>
                  <a:lnTo>
                    <a:pt x="408" y="416"/>
                  </a:lnTo>
                  <a:lnTo>
                    <a:pt x="408" y="416"/>
                  </a:lnTo>
                  <a:lnTo>
                    <a:pt x="404" y="439"/>
                  </a:lnTo>
                  <a:lnTo>
                    <a:pt x="397" y="460"/>
                  </a:lnTo>
                  <a:lnTo>
                    <a:pt x="390" y="480"/>
                  </a:lnTo>
                  <a:lnTo>
                    <a:pt x="380" y="497"/>
                  </a:lnTo>
                  <a:lnTo>
                    <a:pt x="369" y="513"/>
                  </a:lnTo>
                  <a:lnTo>
                    <a:pt x="357" y="528"/>
                  </a:lnTo>
                  <a:lnTo>
                    <a:pt x="344" y="541"/>
                  </a:lnTo>
                  <a:lnTo>
                    <a:pt x="329" y="552"/>
                  </a:lnTo>
                  <a:lnTo>
                    <a:pt x="314" y="562"/>
                  </a:lnTo>
                  <a:lnTo>
                    <a:pt x="297" y="571"/>
                  </a:lnTo>
                  <a:lnTo>
                    <a:pt x="281" y="579"/>
                  </a:lnTo>
                  <a:lnTo>
                    <a:pt x="263" y="585"/>
                  </a:lnTo>
                  <a:lnTo>
                    <a:pt x="245" y="591"/>
                  </a:lnTo>
                  <a:lnTo>
                    <a:pt x="227" y="596"/>
                  </a:lnTo>
                  <a:lnTo>
                    <a:pt x="209" y="599"/>
                  </a:lnTo>
                  <a:lnTo>
                    <a:pt x="191" y="602"/>
                  </a:lnTo>
                  <a:lnTo>
                    <a:pt x="172" y="604"/>
                  </a:lnTo>
                  <a:lnTo>
                    <a:pt x="154" y="605"/>
                  </a:lnTo>
                  <a:lnTo>
                    <a:pt x="120" y="607"/>
                  </a:lnTo>
                  <a:lnTo>
                    <a:pt x="87" y="606"/>
                  </a:lnTo>
                  <a:lnTo>
                    <a:pt x="59" y="604"/>
                  </a:lnTo>
                  <a:lnTo>
                    <a:pt x="35" y="601"/>
                  </a:lnTo>
                  <a:lnTo>
                    <a:pt x="16" y="599"/>
                  </a:lnTo>
                  <a:lnTo>
                    <a:pt x="0" y="596"/>
                  </a:lnTo>
                  <a:lnTo>
                    <a:pt x="40" y="424"/>
                  </a:lnTo>
                  <a:lnTo>
                    <a:pt x="40" y="424"/>
                  </a:lnTo>
                  <a:lnTo>
                    <a:pt x="52" y="425"/>
                  </a:lnTo>
                  <a:lnTo>
                    <a:pt x="66" y="427"/>
                  </a:lnTo>
                  <a:lnTo>
                    <a:pt x="83" y="428"/>
                  </a:lnTo>
                  <a:lnTo>
                    <a:pt x="103" y="428"/>
                  </a:lnTo>
                  <a:lnTo>
                    <a:pt x="124" y="427"/>
                  </a:lnTo>
                  <a:lnTo>
                    <a:pt x="145" y="424"/>
                  </a:lnTo>
                  <a:lnTo>
                    <a:pt x="155" y="423"/>
                  </a:lnTo>
                  <a:lnTo>
                    <a:pt x="166" y="420"/>
                  </a:lnTo>
                  <a:lnTo>
                    <a:pt x="175" y="417"/>
                  </a:lnTo>
                  <a:lnTo>
                    <a:pt x="184" y="413"/>
                  </a:lnTo>
                  <a:lnTo>
                    <a:pt x="192" y="409"/>
                  </a:lnTo>
                  <a:lnTo>
                    <a:pt x="200" y="403"/>
                  </a:lnTo>
                  <a:lnTo>
                    <a:pt x="206" y="397"/>
                  </a:lnTo>
                  <a:lnTo>
                    <a:pt x="211" y="390"/>
                  </a:lnTo>
                  <a:lnTo>
                    <a:pt x="215" y="382"/>
                  </a:lnTo>
                  <a:lnTo>
                    <a:pt x="217" y="373"/>
                  </a:lnTo>
                  <a:lnTo>
                    <a:pt x="218" y="363"/>
                  </a:lnTo>
                  <a:lnTo>
                    <a:pt x="217" y="352"/>
                  </a:lnTo>
                  <a:lnTo>
                    <a:pt x="214" y="340"/>
                  </a:lnTo>
                  <a:lnTo>
                    <a:pt x="210" y="327"/>
                  </a:lnTo>
                  <a:lnTo>
                    <a:pt x="203" y="312"/>
                  </a:lnTo>
                  <a:lnTo>
                    <a:pt x="194" y="296"/>
                  </a:lnTo>
                  <a:lnTo>
                    <a:pt x="182" y="279"/>
                  </a:lnTo>
                  <a:lnTo>
                    <a:pt x="168" y="26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DB33D81C-95F7-4081-8646-23CB3FBA7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" y="1216"/>
              <a:ext cx="419" cy="614"/>
            </a:xfrm>
            <a:custGeom>
              <a:avLst/>
              <a:gdLst>
                <a:gd name="T0" fmla="*/ 99 w 419"/>
                <a:gd name="T1" fmla="*/ 614 h 614"/>
                <a:gd name="T2" fmla="*/ 14 w 419"/>
                <a:gd name="T3" fmla="*/ 606 h 614"/>
                <a:gd name="T4" fmla="*/ 42 w 419"/>
                <a:gd name="T5" fmla="*/ 423 h 614"/>
                <a:gd name="T6" fmla="*/ 68 w 419"/>
                <a:gd name="T7" fmla="*/ 426 h 614"/>
                <a:gd name="T8" fmla="*/ 133 w 419"/>
                <a:gd name="T9" fmla="*/ 427 h 614"/>
                <a:gd name="T10" fmla="*/ 174 w 419"/>
                <a:gd name="T11" fmla="*/ 419 h 614"/>
                <a:gd name="T12" fmla="*/ 202 w 419"/>
                <a:gd name="T13" fmla="*/ 404 h 614"/>
                <a:gd name="T14" fmla="*/ 213 w 419"/>
                <a:gd name="T15" fmla="*/ 392 h 614"/>
                <a:gd name="T16" fmla="*/ 217 w 419"/>
                <a:gd name="T17" fmla="*/ 381 h 614"/>
                <a:gd name="T18" fmla="*/ 219 w 419"/>
                <a:gd name="T19" fmla="*/ 362 h 614"/>
                <a:gd name="T20" fmla="*/ 207 w 419"/>
                <a:gd name="T21" fmla="*/ 324 h 614"/>
                <a:gd name="T22" fmla="*/ 170 w 419"/>
                <a:gd name="T23" fmla="*/ 266 h 614"/>
                <a:gd name="T24" fmla="*/ 192 w 419"/>
                <a:gd name="T25" fmla="*/ 283 h 614"/>
                <a:gd name="T26" fmla="*/ 222 w 419"/>
                <a:gd name="T27" fmla="*/ 339 h 614"/>
                <a:gd name="T28" fmla="*/ 227 w 419"/>
                <a:gd name="T29" fmla="*/ 363 h 614"/>
                <a:gd name="T30" fmla="*/ 225 w 419"/>
                <a:gd name="T31" fmla="*/ 384 h 614"/>
                <a:gd name="T32" fmla="*/ 220 w 419"/>
                <a:gd name="T33" fmla="*/ 396 h 614"/>
                <a:gd name="T34" fmla="*/ 205 w 419"/>
                <a:gd name="T35" fmla="*/ 412 h 614"/>
                <a:gd name="T36" fmla="*/ 171 w 419"/>
                <a:gd name="T37" fmla="*/ 428 h 614"/>
                <a:gd name="T38" fmla="*/ 131 w 419"/>
                <a:gd name="T39" fmla="*/ 435 h 614"/>
                <a:gd name="T40" fmla="*/ 61 w 419"/>
                <a:gd name="T41" fmla="*/ 434 h 614"/>
                <a:gd name="T42" fmla="*/ 10 w 419"/>
                <a:gd name="T43" fmla="*/ 597 h 614"/>
                <a:gd name="T44" fmla="*/ 96 w 419"/>
                <a:gd name="T45" fmla="*/ 606 h 614"/>
                <a:gd name="T46" fmla="*/ 164 w 419"/>
                <a:gd name="T47" fmla="*/ 605 h 614"/>
                <a:gd name="T48" fmla="*/ 238 w 419"/>
                <a:gd name="T49" fmla="*/ 594 h 614"/>
                <a:gd name="T50" fmla="*/ 298 w 419"/>
                <a:gd name="T51" fmla="*/ 573 h 614"/>
                <a:gd name="T52" fmla="*/ 330 w 419"/>
                <a:gd name="T53" fmla="*/ 554 h 614"/>
                <a:gd name="T54" fmla="*/ 360 w 419"/>
                <a:gd name="T55" fmla="*/ 528 h 614"/>
                <a:gd name="T56" fmla="*/ 392 w 419"/>
                <a:gd name="T57" fmla="*/ 479 h 614"/>
                <a:gd name="T58" fmla="*/ 409 w 419"/>
                <a:gd name="T59" fmla="*/ 419 h 614"/>
                <a:gd name="T60" fmla="*/ 411 w 419"/>
                <a:gd name="T61" fmla="*/ 391 h 614"/>
                <a:gd name="T62" fmla="*/ 406 w 419"/>
                <a:gd name="T63" fmla="*/ 342 h 614"/>
                <a:gd name="T64" fmla="*/ 388 w 419"/>
                <a:gd name="T65" fmla="*/ 287 h 614"/>
                <a:gd name="T66" fmla="*/ 353 w 419"/>
                <a:gd name="T67" fmla="*/ 227 h 614"/>
                <a:gd name="T68" fmla="*/ 296 w 419"/>
                <a:gd name="T69" fmla="*/ 163 h 614"/>
                <a:gd name="T70" fmla="*/ 244 w 419"/>
                <a:gd name="T71" fmla="*/ 119 h 614"/>
                <a:gd name="T72" fmla="*/ 175 w 419"/>
                <a:gd name="T73" fmla="*/ 72 h 614"/>
                <a:gd name="T74" fmla="*/ 88 w 419"/>
                <a:gd name="T75" fmla="*/ 24 h 614"/>
                <a:gd name="T76" fmla="*/ 55 w 419"/>
                <a:gd name="T77" fmla="*/ 0 h 614"/>
                <a:gd name="T78" fmla="*/ 92 w 419"/>
                <a:gd name="T79" fmla="*/ 17 h 614"/>
                <a:gd name="T80" fmla="*/ 179 w 419"/>
                <a:gd name="T81" fmla="*/ 65 h 614"/>
                <a:gd name="T82" fmla="*/ 249 w 419"/>
                <a:gd name="T83" fmla="*/ 113 h 614"/>
                <a:gd name="T84" fmla="*/ 293 w 419"/>
                <a:gd name="T85" fmla="*/ 149 h 614"/>
                <a:gd name="T86" fmla="*/ 346 w 419"/>
                <a:gd name="T87" fmla="*/ 205 h 614"/>
                <a:gd name="T88" fmla="*/ 385 w 419"/>
                <a:gd name="T89" fmla="*/ 263 h 614"/>
                <a:gd name="T90" fmla="*/ 410 w 419"/>
                <a:gd name="T91" fmla="*/ 321 h 614"/>
                <a:gd name="T92" fmla="*/ 419 w 419"/>
                <a:gd name="T93" fmla="*/ 381 h 614"/>
                <a:gd name="T94" fmla="*/ 417 w 419"/>
                <a:gd name="T95" fmla="*/ 421 h 614"/>
                <a:gd name="T96" fmla="*/ 399 w 419"/>
                <a:gd name="T97" fmla="*/ 483 h 614"/>
                <a:gd name="T98" fmla="*/ 366 w 419"/>
                <a:gd name="T99" fmla="*/ 534 h 614"/>
                <a:gd name="T100" fmla="*/ 334 w 419"/>
                <a:gd name="T101" fmla="*/ 561 h 614"/>
                <a:gd name="T102" fmla="*/ 298 w 419"/>
                <a:gd name="T103" fmla="*/ 582 h 614"/>
                <a:gd name="T104" fmla="*/ 259 w 419"/>
                <a:gd name="T105" fmla="*/ 597 h 614"/>
                <a:gd name="T106" fmla="*/ 176 w 419"/>
                <a:gd name="T107" fmla="*/ 612 h 614"/>
                <a:gd name="T108" fmla="*/ 123 w 419"/>
                <a:gd name="T10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9" h="614">
                  <a:moveTo>
                    <a:pt x="123" y="614"/>
                  </a:moveTo>
                  <a:lnTo>
                    <a:pt x="123" y="614"/>
                  </a:lnTo>
                  <a:lnTo>
                    <a:pt x="99" y="614"/>
                  </a:lnTo>
                  <a:lnTo>
                    <a:pt x="76" y="613"/>
                  </a:lnTo>
                  <a:lnTo>
                    <a:pt x="39" y="609"/>
                  </a:lnTo>
                  <a:lnTo>
                    <a:pt x="14" y="606"/>
                  </a:lnTo>
                  <a:lnTo>
                    <a:pt x="4" y="604"/>
                  </a:lnTo>
                  <a:lnTo>
                    <a:pt x="0" y="603"/>
                  </a:lnTo>
                  <a:lnTo>
                    <a:pt x="42" y="423"/>
                  </a:lnTo>
                  <a:lnTo>
                    <a:pt x="46" y="424"/>
                  </a:lnTo>
                  <a:lnTo>
                    <a:pt x="46" y="424"/>
                  </a:lnTo>
                  <a:lnTo>
                    <a:pt x="68" y="426"/>
                  </a:lnTo>
                  <a:lnTo>
                    <a:pt x="91" y="428"/>
                  </a:lnTo>
                  <a:lnTo>
                    <a:pt x="118" y="428"/>
                  </a:lnTo>
                  <a:lnTo>
                    <a:pt x="133" y="427"/>
                  </a:lnTo>
                  <a:lnTo>
                    <a:pt x="147" y="425"/>
                  </a:lnTo>
                  <a:lnTo>
                    <a:pt x="161" y="422"/>
                  </a:lnTo>
                  <a:lnTo>
                    <a:pt x="174" y="419"/>
                  </a:lnTo>
                  <a:lnTo>
                    <a:pt x="186" y="414"/>
                  </a:lnTo>
                  <a:lnTo>
                    <a:pt x="197" y="408"/>
                  </a:lnTo>
                  <a:lnTo>
                    <a:pt x="202" y="404"/>
                  </a:lnTo>
                  <a:lnTo>
                    <a:pt x="206" y="401"/>
                  </a:lnTo>
                  <a:lnTo>
                    <a:pt x="210" y="396"/>
                  </a:lnTo>
                  <a:lnTo>
                    <a:pt x="213" y="392"/>
                  </a:lnTo>
                  <a:lnTo>
                    <a:pt x="213" y="392"/>
                  </a:lnTo>
                  <a:lnTo>
                    <a:pt x="216" y="386"/>
                  </a:lnTo>
                  <a:lnTo>
                    <a:pt x="217" y="381"/>
                  </a:lnTo>
                  <a:lnTo>
                    <a:pt x="219" y="375"/>
                  </a:lnTo>
                  <a:lnTo>
                    <a:pt x="219" y="369"/>
                  </a:lnTo>
                  <a:lnTo>
                    <a:pt x="219" y="362"/>
                  </a:lnTo>
                  <a:lnTo>
                    <a:pt x="218" y="355"/>
                  </a:lnTo>
                  <a:lnTo>
                    <a:pt x="214" y="340"/>
                  </a:lnTo>
                  <a:lnTo>
                    <a:pt x="207" y="324"/>
                  </a:lnTo>
                  <a:lnTo>
                    <a:pt x="197" y="306"/>
                  </a:lnTo>
                  <a:lnTo>
                    <a:pt x="185" y="287"/>
                  </a:lnTo>
                  <a:lnTo>
                    <a:pt x="170" y="266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92" y="283"/>
                  </a:lnTo>
                  <a:lnTo>
                    <a:pt x="205" y="303"/>
                  </a:lnTo>
                  <a:lnTo>
                    <a:pt x="215" y="322"/>
                  </a:lnTo>
                  <a:lnTo>
                    <a:pt x="222" y="339"/>
                  </a:lnTo>
                  <a:lnTo>
                    <a:pt x="224" y="348"/>
                  </a:lnTo>
                  <a:lnTo>
                    <a:pt x="226" y="355"/>
                  </a:lnTo>
                  <a:lnTo>
                    <a:pt x="227" y="363"/>
                  </a:lnTo>
                  <a:lnTo>
                    <a:pt x="227" y="370"/>
                  </a:lnTo>
                  <a:lnTo>
                    <a:pt x="226" y="377"/>
                  </a:lnTo>
                  <a:lnTo>
                    <a:pt x="225" y="384"/>
                  </a:lnTo>
                  <a:lnTo>
                    <a:pt x="223" y="390"/>
                  </a:lnTo>
                  <a:lnTo>
                    <a:pt x="220" y="396"/>
                  </a:lnTo>
                  <a:lnTo>
                    <a:pt x="220" y="396"/>
                  </a:lnTo>
                  <a:lnTo>
                    <a:pt x="217" y="400"/>
                  </a:lnTo>
                  <a:lnTo>
                    <a:pt x="213" y="405"/>
                  </a:lnTo>
                  <a:lnTo>
                    <a:pt x="205" y="412"/>
                  </a:lnTo>
                  <a:lnTo>
                    <a:pt x="195" y="419"/>
                  </a:lnTo>
                  <a:lnTo>
                    <a:pt x="183" y="424"/>
                  </a:lnTo>
                  <a:lnTo>
                    <a:pt x="171" y="428"/>
                  </a:lnTo>
                  <a:lnTo>
                    <a:pt x="158" y="431"/>
                  </a:lnTo>
                  <a:lnTo>
                    <a:pt x="145" y="433"/>
                  </a:lnTo>
                  <a:lnTo>
                    <a:pt x="131" y="435"/>
                  </a:lnTo>
                  <a:lnTo>
                    <a:pt x="104" y="436"/>
                  </a:lnTo>
                  <a:lnTo>
                    <a:pt x="80" y="435"/>
                  </a:lnTo>
                  <a:lnTo>
                    <a:pt x="61" y="434"/>
                  </a:lnTo>
                  <a:lnTo>
                    <a:pt x="48" y="432"/>
                  </a:lnTo>
                  <a:lnTo>
                    <a:pt x="10" y="597"/>
                  </a:lnTo>
                  <a:lnTo>
                    <a:pt x="10" y="597"/>
                  </a:lnTo>
                  <a:lnTo>
                    <a:pt x="28" y="600"/>
                  </a:lnTo>
                  <a:lnTo>
                    <a:pt x="57" y="603"/>
                  </a:lnTo>
                  <a:lnTo>
                    <a:pt x="96" y="606"/>
                  </a:lnTo>
                  <a:lnTo>
                    <a:pt x="117" y="606"/>
                  </a:lnTo>
                  <a:lnTo>
                    <a:pt x="140" y="606"/>
                  </a:lnTo>
                  <a:lnTo>
                    <a:pt x="164" y="605"/>
                  </a:lnTo>
                  <a:lnTo>
                    <a:pt x="189" y="603"/>
                  </a:lnTo>
                  <a:lnTo>
                    <a:pt x="214" y="599"/>
                  </a:lnTo>
                  <a:lnTo>
                    <a:pt x="238" y="594"/>
                  </a:lnTo>
                  <a:lnTo>
                    <a:pt x="263" y="587"/>
                  </a:lnTo>
                  <a:lnTo>
                    <a:pt x="286" y="578"/>
                  </a:lnTo>
                  <a:lnTo>
                    <a:pt x="298" y="573"/>
                  </a:lnTo>
                  <a:lnTo>
                    <a:pt x="309" y="567"/>
                  </a:lnTo>
                  <a:lnTo>
                    <a:pt x="320" y="561"/>
                  </a:lnTo>
                  <a:lnTo>
                    <a:pt x="330" y="554"/>
                  </a:lnTo>
                  <a:lnTo>
                    <a:pt x="330" y="554"/>
                  </a:lnTo>
                  <a:lnTo>
                    <a:pt x="346" y="542"/>
                  </a:lnTo>
                  <a:lnTo>
                    <a:pt x="360" y="528"/>
                  </a:lnTo>
                  <a:lnTo>
                    <a:pt x="372" y="513"/>
                  </a:lnTo>
                  <a:lnTo>
                    <a:pt x="383" y="497"/>
                  </a:lnTo>
                  <a:lnTo>
                    <a:pt x="392" y="479"/>
                  </a:lnTo>
                  <a:lnTo>
                    <a:pt x="399" y="461"/>
                  </a:lnTo>
                  <a:lnTo>
                    <a:pt x="405" y="441"/>
                  </a:lnTo>
                  <a:lnTo>
                    <a:pt x="409" y="419"/>
                  </a:lnTo>
                  <a:lnTo>
                    <a:pt x="409" y="419"/>
                  </a:lnTo>
                  <a:lnTo>
                    <a:pt x="411" y="406"/>
                  </a:lnTo>
                  <a:lnTo>
                    <a:pt x="411" y="391"/>
                  </a:lnTo>
                  <a:lnTo>
                    <a:pt x="411" y="375"/>
                  </a:lnTo>
                  <a:lnTo>
                    <a:pt x="409" y="359"/>
                  </a:lnTo>
                  <a:lnTo>
                    <a:pt x="406" y="342"/>
                  </a:lnTo>
                  <a:lnTo>
                    <a:pt x="402" y="324"/>
                  </a:lnTo>
                  <a:lnTo>
                    <a:pt x="396" y="306"/>
                  </a:lnTo>
                  <a:lnTo>
                    <a:pt x="388" y="287"/>
                  </a:lnTo>
                  <a:lnTo>
                    <a:pt x="379" y="267"/>
                  </a:lnTo>
                  <a:lnTo>
                    <a:pt x="367" y="247"/>
                  </a:lnTo>
                  <a:lnTo>
                    <a:pt x="353" y="227"/>
                  </a:lnTo>
                  <a:lnTo>
                    <a:pt x="337" y="206"/>
                  </a:lnTo>
                  <a:lnTo>
                    <a:pt x="318" y="184"/>
                  </a:lnTo>
                  <a:lnTo>
                    <a:pt x="296" y="163"/>
                  </a:lnTo>
                  <a:lnTo>
                    <a:pt x="272" y="141"/>
                  </a:lnTo>
                  <a:lnTo>
                    <a:pt x="244" y="119"/>
                  </a:lnTo>
                  <a:lnTo>
                    <a:pt x="244" y="119"/>
                  </a:lnTo>
                  <a:lnTo>
                    <a:pt x="227" y="106"/>
                  </a:lnTo>
                  <a:lnTo>
                    <a:pt x="209" y="94"/>
                  </a:lnTo>
                  <a:lnTo>
                    <a:pt x="175" y="72"/>
                  </a:lnTo>
                  <a:lnTo>
                    <a:pt x="143" y="53"/>
                  </a:lnTo>
                  <a:lnTo>
                    <a:pt x="113" y="37"/>
                  </a:lnTo>
                  <a:lnTo>
                    <a:pt x="88" y="24"/>
                  </a:lnTo>
                  <a:lnTo>
                    <a:pt x="69" y="15"/>
                  </a:lnTo>
                  <a:lnTo>
                    <a:pt x="52" y="8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92" y="17"/>
                  </a:lnTo>
                  <a:lnTo>
                    <a:pt x="117" y="30"/>
                  </a:lnTo>
                  <a:lnTo>
                    <a:pt x="146" y="46"/>
                  </a:lnTo>
                  <a:lnTo>
                    <a:pt x="179" y="65"/>
                  </a:lnTo>
                  <a:lnTo>
                    <a:pt x="214" y="87"/>
                  </a:lnTo>
                  <a:lnTo>
                    <a:pt x="231" y="100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72" y="131"/>
                  </a:lnTo>
                  <a:lnTo>
                    <a:pt x="293" y="149"/>
                  </a:lnTo>
                  <a:lnTo>
                    <a:pt x="312" y="167"/>
                  </a:lnTo>
                  <a:lnTo>
                    <a:pt x="330" y="186"/>
                  </a:lnTo>
                  <a:lnTo>
                    <a:pt x="346" y="205"/>
                  </a:lnTo>
                  <a:lnTo>
                    <a:pt x="361" y="224"/>
                  </a:lnTo>
                  <a:lnTo>
                    <a:pt x="374" y="243"/>
                  </a:lnTo>
                  <a:lnTo>
                    <a:pt x="385" y="263"/>
                  </a:lnTo>
                  <a:lnTo>
                    <a:pt x="395" y="282"/>
                  </a:lnTo>
                  <a:lnTo>
                    <a:pt x="403" y="302"/>
                  </a:lnTo>
                  <a:lnTo>
                    <a:pt x="410" y="321"/>
                  </a:lnTo>
                  <a:lnTo>
                    <a:pt x="415" y="341"/>
                  </a:lnTo>
                  <a:lnTo>
                    <a:pt x="418" y="361"/>
                  </a:lnTo>
                  <a:lnTo>
                    <a:pt x="419" y="381"/>
                  </a:lnTo>
                  <a:lnTo>
                    <a:pt x="419" y="401"/>
                  </a:lnTo>
                  <a:lnTo>
                    <a:pt x="417" y="421"/>
                  </a:lnTo>
                  <a:lnTo>
                    <a:pt x="417" y="421"/>
                  </a:lnTo>
                  <a:lnTo>
                    <a:pt x="413" y="443"/>
                  </a:lnTo>
                  <a:lnTo>
                    <a:pt x="407" y="463"/>
                  </a:lnTo>
                  <a:lnTo>
                    <a:pt x="399" y="483"/>
                  </a:lnTo>
                  <a:lnTo>
                    <a:pt x="390" y="501"/>
                  </a:lnTo>
                  <a:lnTo>
                    <a:pt x="379" y="518"/>
                  </a:lnTo>
                  <a:lnTo>
                    <a:pt x="366" y="534"/>
                  </a:lnTo>
                  <a:lnTo>
                    <a:pt x="351" y="548"/>
                  </a:lnTo>
                  <a:lnTo>
                    <a:pt x="334" y="561"/>
                  </a:lnTo>
                  <a:lnTo>
                    <a:pt x="334" y="561"/>
                  </a:lnTo>
                  <a:lnTo>
                    <a:pt x="323" y="568"/>
                  </a:lnTo>
                  <a:lnTo>
                    <a:pt x="311" y="575"/>
                  </a:lnTo>
                  <a:lnTo>
                    <a:pt x="298" y="582"/>
                  </a:lnTo>
                  <a:lnTo>
                    <a:pt x="285" y="587"/>
                  </a:lnTo>
                  <a:lnTo>
                    <a:pt x="272" y="592"/>
                  </a:lnTo>
                  <a:lnTo>
                    <a:pt x="259" y="597"/>
                  </a:lnTo>
                  <a:lnTo>
                    <a:pt x="231" y="604"/>
                  </a:lnTo>
                  <a:lnTo>
                    <a:pt x="203" y="609"/>
                  </a:lnTo>
                  <a:lnTo>
                    <a:pt x="176" y="612"/>
                  </a:lnTo>
                  <a:lnTo>
                    <a:pt x="149" y="614"/>
                  </a:lnTo>
                  <a:lnTo>
                    <a:pt x="123" y="614"/>
                  </a:lnTo>
                  <a:lnTo>
                    <a:pt x="123" y="6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C71F2F40-C656-4D82-AC91-B373099EB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07" y="2247"/>
              <a:ext cx="625" cy="940"/>
            </a:xfrm>
            <a:custGeom>
              <a:avLst/>
              <a:gdLst>
                <a:gd name="T0" fmla="*/ 617 w 625"/>
                <a:gd name="T1" fmla="*/ 933 h 940"/>
                <a:gd name="T2" fmla="*/ 625 w 625"/>
                <a:gd name="T3" fmla="*/ 920 h 940"/>
                <a:gd name="T4" fmla="*/ 617 w 625"/>
                <a:gd name="T5" fmla="*/ 940 h 940"/>
                <a:gd name="T6" fmla="*/ 616 w 625"/>
                <a:gd name="T7" fmla="*/ 860 h 940"/>
                <a:gd name="T8" fmla="*/ 625 w 625"/>
                <a:gd name="T9" fmla="*/ 880 h 940"/>
                <a:gd name="T10" fmla="*/ 615 w 625"/>
                <a:gd name="T11" fmla="*/ 820 h 940"/>
                <a:gd name="T12" fmla="*/ 622 w 625"/>
                <a:gd name="T13" fmla="*/ 800 h 940"/>
                <a:gd name="T14" fmla="*/ 611 w 625"/>
                <a:gd name="T15" fmla="*/ 760 h 940"/>
                <a:gd name="T16" fmla="*/ 618 w 625"/>
                <a:gd name="T17" fmla="*/ 740 h 940"/>
                <a:gd name="T18" fmla="*/ 611 w 625"/>
                <a:gd name="T19" fmla="*/ 760 h 940"/>
                <a:gd name="T20" fmla="*/ 604 w 625"/>
                <a:gd name="T21" fmla="*/ 681 h 940"/>
                <a:gd name="T22" fmla="*/ 614 w 625"/>
                <a:gd name="T23" fmla="*/ 700 h 940"/>
                <a:gd name="T24" fmla="*/ 599 w 625"/>
                <a:gd name="T25" fmla="*/ 641 h 940"/>
                <a:gd name="T26" fmla="*/ 604 w 625"/>
                <a:gd name="T27" fmla="*/ 620 h 940"/>
                <a:gd name="T28" fmla="*/ 589 w 625"/>
                <a:gd name="T29" fmla="*/ 582 h 940"/>
                <a:gd name="T30" fmla="*/ 593 w 625"/>
                <a:gd name="T31" fmla="*/ 561 h 940"/>
                <a:gd name="T32" fmla="*/ 589 w 625"/>
                <a:gd name="T33" fmla="*/ 582 h 940"/>
                <a:gd name="T34" fmla="*/ 573 w 625"/>
                <a:gd name="T35" fmla="*/ 504 h 940"/>
                <a:gd name="T36" fmla="*/ 585 w 625"/>
                <a:gd name="T37" fmla="*/ 522 h 940"/>
                <a:gd name="T38" fmla="*/ 562 w 625"/>
                <a:gd name="T39" fmla="*/ 466 h 940"/>
                <a:gd name="T40" fmla="*/ 565 w 625"/>
                <a:gd name="T41" fmla="*/ 444 h 940"/>
                <a:gd name="T42" fmla="*/ 545 w 625"/>
                <a:gd name="T43" fmla="*/ 409 h 940"/>
                <a:gd name="T44" fmla="*/ 546 w 625"/>
                <a:gd name="T45" fmla="*/ 387 h 940"/>
                <a:gd name="T46" fmla="*/ 545 w 625"/>
                <a:gd name="T47" fmla="*/ 409 h 940"/>
                <a:gd name="T48" fmla="*/ 516 w 625"/>
                <a:gd name="T49" fmla="*/ 335 h 940"/>
                <a:gd name="T50" fmla="*/ 531 w 625"/>
                <a:gd name="T51" fmla="*/ 350 h 940"/>
                <a:gd name="T52" fmla="*/ 499 w 625"/>
                <a:gd name="T53" fmla="*/ 299 h 940"/>
                <a:gd name="T54" fmla="*/ 496 w 625"/>
                <a:gd name="T55" fmla="*/ 277 h 940"/>
                <a:gd name="T56" fmla="*/ 470 w 625"/>
                <a:gd name="T57" fmla="*/ 247 h 940"/>
                <a:gd name="T58" fmla="*/ 465 w 625"/>
                <a:gd name="T59" fmla="*/ 226 h 940"/>
                <a:gd name="T60" fmla="*/ 470 w 625"/>
                <a:gd name="T61" fmla="*/ 247 h 940"/>
                <a:gd name="T62" fmla="*/ 423 w 625"/>
                <a:gd name="T63" fmla="*/ 182 h 940"/>
                <a:gd name="T64" fmla="*/ 442 w 625"/>
                <a:gd name="T65" fmla="*/ 193 h 940"/>
                <a:gd name="T66" fmla="*/ 397 w 625"/>
                <a:gd name="T67" fmla="*/ 153 h 940"/>
                <a:gd name="T68" fmla="*/ 389 w 625"/>
                <a:gd name="T69" fmla="*/ 133 h 940"/>
                <a:gd name="T70" fmla="*/ 354 w 625"/>
                <a:gd name="T71" fmla="*/ 112 h 940"/>
                <a:gd name="T72" fmla="*/ 343 w 625"/>
                <a:gd name="T73" fmla="*/ 93 h 940"/>
                <a:gd name="T74" fmla="*/ 354 w 625"/>
                <a:gd name="T75" fmla="*/ 112 h 940"/>
                <a:gd name="T76" fmla="*/ 289 w 625"/>
                <a:gd name="T77" fmla="*/ 67 h 940"/>
                <a:gd name="T78" fmla="*/ 310 w 625"/>
                <a:gd name="T79" fmla="*/ 71 h 940"/>
                <a:gd name="T80" fmla="*/ 253 w 625"/>
                <a:gd name="T81" fmla="*/ 49 h 940"/>
                <a:gd name="T82" fmla="*/ 238 w 625"/>
                <a:gd name="T83" fmla="*/ 34 h 940"/>
                <a:gd name="T84" fmla="*/ 198 w 625"/>
                <a:gd name="T85" fmla="*/ 28 h 940"/>
                <a:gd name="T86" fmla="*/ 181 w 625"/>
                <a:gd name="T87" fmla="*/ 15 h 940"/>
                <a:gd name="T88" fmla="*/ 198 w 625"/>
                <a:gd name="T89" fmla="*/ 28 h 940"/>
                <a:gd name="T90" fmla="*/ 120 w 625"/>
                <a:gd name="T91" fmla="*/ 12 h 940"/>
                <a:gd name="T92" fmla="*/ 141 w 625"/>
                <a:gd name="T93" fmla="*/ 7 h 940"/>
                <a:gd name="T94" fmla="*/ 0 w 625"/>
                <a:gd name="T95" fmla="*/ 5 h 940"/>
                <a:gd name="T96" fmla="*/ 20 w 625"/>
                <a:gd name="T97" fmla="*/ 2 h 940"/>
                <a:gd name="T98" fmla="*/ 7 w 625"/>
                <a:gd name="T99" fmla="*/ 12 h 940"/>
                <a:gd name="T100" fmla="*/ 81 w 625"/>
                <a:gd name="T101" fmla="*/ 8 h 940"/>
                <a:gd name="T102" fmla="*/ 61 w 625"/>
                <a:gd name="T103" fmla="*/ 8 h 940"/>
                <a:gd name="T104" fmla="*/ 63 w 625"/>
                <a:gd name="T105" fmla="*/ 0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5" h="940">
                  <a:moveTo>
                    <a:pt x="617" y="940"/>
                  </a:moveTo>
                  <a:lnTo>
                    <a:pt x="617" y="933"/>
                  </a:lnTo>
                  <a:lnTo>
                    <a:pt x="617" y="933"/>
                  </a:lnTo>
                  <a:lnTo>
                    <a:pt x="617" y="920"/>
                  </a:lnTo>
                  <a:lnTo>
                    <a:pt x="625" y="920"/>
                  </a:lnTo>
                  <a:lnTo>
                    <a:pt x="625" y="920"/>
                  </a:lnTo>
                  <a:lnTo>
                    <a:pt x="625" y="933"/>
                  </a:lnTo>
                  <a:lnTo>
                    <a:pt x="625" y="940"/>
                  </a:lnTo>
                  <a:lnTo>
                    <a:pt x="617" y="940"/>
                  </a:lnTo>
                  <a:close/>
                  <a:moveTo>
                    <a:pt x="617" y="880"/>
                  </a:moveTo>
                  <a:lnTo>
                    <a:pt x="617" y="880"/>
                  </a:lnTo>
                  <a:lnTo>
                    <a:pt x="616" y="860"/>
                  </a:lnTo>
                  <a:lnTo>
                    <a:pt x="624" y="860"/>
                  </a:lnTo>
                  <a:lnTo>
                    <a:pt x="624" y="860"/>
                  </a:lnTo>
                  <a:lnTo>
                    <a:pt x="625" y="880"/>
                  </a:lnTo>
                  <a:lnTo>
                    <a:pt x="617" y="880"/>
                  </a:lnTo>
                  <a:close/>
                  <a:moveTo>
                    <a:pt x="615" y="820"/>
                  </a:moveTo>
                  <a:lnTo>
                    <a:pt x="615" y="820"/>
                  </a:lnTo>
                  <a:lnTo>
                    <a:pt x="614" y="800"/>
                  </a:lnTo>
                  <a:lnTo>
                    <a:pt x="622" y="800"/>
                  </a:lnTo>
                  <a:lnTo>
                    <a:pt x="622" y="800"/>
                  </a:lnTo>
                  <a:lnTo>
                    <a:pt x="623" y="820"/>
                  </a:lnTo>
                  <a:lnTo>
                    <a:pt x="615" y="820"/>
                  </a:lnTo>
                  <a:close/>
                  <a:moveTo>
                    <a:pt x="611" y="760"/>
                  </a:moveTo>
                  <a:lnTo>
                    <a:pt x="611" y="760"/>
                  </a:lnTo>
                  <a:lnTo>
                    <a:pt x="610" y="740"/>
                  </a:lnTo>
                  <a:lnTo>
                    <a:pt x="618" y="740"/>
                  </a:lnTo>
                  <a:lnTo>
                    <a:pt x="618" y="740"/>
                  </a:lnTo>
                  <a:lnTo>
                    <a:pt x="619" y="760"/>
                  </a:lnTo>
                  <a:lnTo>
                    <a:pt x="611" y="760"/>
                  </a:lnTo>
                  <a:close/>
                  <a:moveTo>
                    <a:pt x="606" y="701"/>
                  </a:moveTo>
                  <a:lnTo>
                    <a:pt x="606" y="701"/>
                  </a:lnTo>
                  <a:lnTo>
                    <a:pt x="604" y="681"/>
                  </a:lnTo>
                  <a:lnTo>
                    <a:pt x="612" y="680"/>
                  </a:lnTo>
                  <a:lnTo>
                    <a:pt x="612" y="680"/>
                  </a:lnTo>
                  <a:lnTo>
                    <a:pt x="614" y="700"/>
                  </a:lnTo>
                  <a:lnTo>
                    <a:pt x="606" y="701"/>
                  </a:lnTo>
                  <a:close/>
                  <a:moveTo>
                    <a:pt x="599" y="641"/>
                  </a:moveTo>
                  <a:lnTo>
                    <a:pt x="599" y="641"/>
                  </a:lnTo>
                  <a:lnTo>
                    <a:pt x="596" y="622"/>
                  </a:lnTo>
                  <a:lnTo>
                    <a:pt x="604" y="620"/>
                  </a:lnTo>
                  <a:lnTo>
                    <a:pt x="604" y="620"/>
                  </a:lnTo>
                  <a:lnTo>
                    <a:pt x="606" y="640"/>
                  </a:lnTo>
                  <a:lnTo>
                    <a:pt x="599" y="641"/>
                  </a:lnTo>
                  <a:close/>
                  <a:moveTo>
                    <a:pt x="589" y="582"/>
                  </a:moveTo>
                  <a:lnTo>
                    <a:pt x="589" y="582"/>
                  </a:lnTo>
                  <a:lnTo>
                    <a:pt x="585" y="563"/>
                  </a:lnTo>
                  <a:lnTo>
                    <a:pt x="593" y="561"/>
                  </a:lnTo>
                  <a:lnTo>
                    <a:pt x="593" y="561"/>
                  </a:lnTo>
                  <a:lnTo>
                    <a:pt x="597" y="581"/>
                  </a:lnTo>
                  <a:lnTo>
                    <a:pt x="589" y="582"/>
                  </a:lnTo>
                  <a:close/>
                  <a:moveTo>
                    <a:pt x="577" y="524"/>
                  </a:moveTo>
                  <a:lnTo>
                    <a:pt x="577" y="524"/>
                  </a:lnTo>
                  <a:lnTo>
                    <a:pt x="573" y="504"/>
                  </a:lnTo>
                  <a:lnTo>
                    <a:pt x="580" y="502"/>
                  </a:lnTo>
                  <a:lnTo>
                    <a:pt x="580" y="502"/>
                  </a:lnTo>
                  <a:lnTo>
                    <a:pt x="585" y="522"/>
                  </a:lnTo>
                  <a:lnTo>
                    <a:pt x="577" y="524"/>
                  </a:lnTo>
                  <a:close/>
                  <a:moveTo>
                    <a:pt x="562" y="466"/>
                  </a:moveTo>
                  <a:lnTo>
                    <a:pt x="562" y="466"/>
                  </a:lnTo>
                  <a:lnTo>
                    <a:pt x="557" y="447"/>
                  </a:lnTo>
                  <a:lnTo>
                    <a:pt x="565" y="444"/>
                  </a:lnTo>
                  <a:lnTo>
                    <a:pt x="565" y="444"/>
                  </a:lnTo>
                  <a:lnTo>
                    <a:pt x="570" y="464"/>
                  </a:lnTo>
                  <a:lnTo>
                    <a:pt x="562" y="466"/>
                  </a:lnTo>
                  <a:close/>
                  <a:moveTo>
                    <a:pt x="545" y="409"/>
                  </a:moveTo>
                  <a:lnTo>
                    <a:pt x="545" y="409"/>
                  </a:lnTo>
                  <a:lnTo>
                    <a:pt x="538" y="390"/>
                  </a:lnTo>
                  <a:lnTo>
                    <a:pt x="546" y="387"/>
                  </a:lnTo>
                  <a:lnTo>
                    <a:pt x="546" y="387"/>
                  </a:lnTo>
                  <a:lnTo>
                    <a:pt x="552" y="406"/>
                  </a:lnTo>
                  <a:lnTo>
                    <a:pt x="545" y="409"/>
                  </a:lnTo>
                  <a:close/>
                  <a:moveTo>
                    <a:pt x="524" y="353"/>
                  </a:moveTo>
                  <a:lnTo>
                    <a:pt x="524" y="353"/>
                  </a:lnTo>
                  <a:lnTo>
                    <a:pt x="516" y="335"/>
                  </a:lnTo>
                  <a:lnTo>
                    <a:pt x="523" y="331"/>
                  </a:lnTo>
                  <a:lnTo>
                    <a:pt x="523" y="331"/>
                  </a:lnTo>
                  <a:lnTo>
                    <a:pt x="531" y="350"/>
                  </a:lnTo>
                  <a:lnTo>
                    <a:pt x="524" y="353"/>
                  </a:lnTo>
                  <a:close/>
                  <a:moveTo>
                    <a:pt x="499" y="299"/>
                  </a:moveTo>
                  <a:lnTo>
                    <a:pt x="499" y="299"/>
                  </a:lnTo>
                  <a:lnTo>
                    <a:pt x="489" y="281"/>
                  </a:lnTo>
                  <a:lnTo>
                    <a:pt x="496" y="277"/>
                  </a:lnTo>
                  <a:lnTo>
                    <a:pt x="496" y="277"/>
                  </a:lnTo>
                  <a:lnTo>
                    <a:pt x="506" y="295"/>
                  </a:lnTo>
                  <a:lnTo>
                    <a:pt x="499" y="299"/>
                  </a:lnTo>
                  <a:close/>
                  <a:moveTo>
                    <a:pt x="470" y="247"/>
                  </a:moveTo>
                  <a:lnTo>
                    <a:pt x="470" y="247"/>
                  </a:lnTo>
                  <a:lnTo>
                    <a:pt x="459" y="230"/>
                  </a:lnTo>
                  <a:lnTo>
                    <a:pt x="465" y="226"/>
                  </a:lnTo>
                  <a:lnTo>
                    <a:pt x="465" y="226"/>
                  </a:lnTo>
                  <a:lnTo>
                    <a:pt x="476" y="243"/>
                  </a:lnTo>
                  <a:lnTo>
                    <a:pt x="470" y="247"/>
                  </a:lnTo>
                  <a:close/>
                  <a:moveTo>
                    <a:pt x="436" y="198"/>
                  </a:moveTo>
                  <a:lnTo>
                    <a:pt x="436" y="198"/>
                  </a:lnTo>
                  <a:lnTo>
                    <a:pt x="423" y="182"/>
                  </a:lnTo>
                  <a:lnTo>
                    <a:pt x="430" y="177"/>
                  </a:lnTo>
                  <a:lnTo>
                    <a:pt x="430" y="177"/>
                  </a:lnTo>
                  <a:lnTo>
                    <a:pt x="442" y="193"/>
                  </a:lnTo>
                  <a:lnTo>
                    <a:pt x="436" y="198"/>
                  </a:lnTo>
                  <a:close/>
                  <a:moveTo>
                    <a:pt x="397" y="153"/>
                  </a:moveTo>
                  <a:lnTo>
                    <a:pt x="397" y="153"/>
                  </a:lnTo>
                  <a:lnTo>
                    <a:pt x="383" y="139"/>
                  </a:lnTo>
                  <a:lnTo>
                    <a:pt x="389" y="133"/>
                  </a:lnTo>
                  <a:lnTo>
                    <a:pt x="389" y="133"/>
                  </a:lnTo>
                  <a:lnTo>
                    <a:pt x="403" y="147"/>
                  </a:lnTo>
                  <a:lnTo>
                    <a:pt x="397" y="153"/>
                  </a:lnTo>
                  <a:close/>
                  <a:moveTo>
                    <a:pt x="354" y="112"/>
                  </a:moveTo>
                  <a:lnTo>
                    <a:pt x="354" y="112"/>
                  </a:lnTo>
                  <a:lnTo>
                    <a:pt x="338" y="100"/>
                  </a:lnTo>
                  <a:lnTo>
                    <a:pt x="343" y="93"/>
                  </a:lnTo>
                  <a:lnTo>
                    <a:pt x="343" y="93"/>
                  </a:lnTo>
                  <a:lnTo>
                    <a:pt x="359" y="106"/>
                  </a:lnTo>
                  <a:lnTo>
                    <a:pt x="354" y="112"/>
                  </a:lnTo>
                  <a:close/>
                  <a:moveTo>
                    <a:pt x="306" y="77"/>
                  </a:moveTo>
                  <a:lnTo>
                    <a:pt x="306" y="77"/>
                  </a:lnTo>
                  <a:lnTo>
                    <a:pt x="289" y="67"/>
                  </a:lnTo>
                  <a:lnTo>
                    <a:pt x="292" y="60"/>
                  </a:lnTo>
                  <a:lnTo>
                    <a:pt x="292" y="60"/>
                  </a:lnTo>
                  <a:lnTo>
                    <a:pt x="310" y="71"/>
                  </a:lnTo>
                  <a:lnTo>
                    <a:pt x="306" y="77"/>
                  </a:lnTo>
                  <a:close/>
                  <a:moveTo>
                    <a:pt x="253" y="49"/>
                  </a:moveTo>
                  <a:lnTo>
                    <a:pt x="253" y="49"/>
                  </a:lnTo>
                  <a:lnTo>
                    <a:pt x="235" y="41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57" y="42"/>
                  </a:lnTo>
                  <a:lnTo>
                    <a:pt x="253" y="49"/>
                  </a:lnTo>
                  <a:close/>
                  <a:moveTo>
                    <a:pt x="198" y="28"/>
                  </a:moveTo>
                  <a:lnTo>
                    <a:pt x="198" y="28"/>
                  </a:lnTo>
                  <a:lnTo>
                    <a:pt x="179" y="23"/>
                  </a:lnTo>
                  <a:lnTo>
                    <a:pt x="181" y="15"/>
                  </a:lnTo>
                  <a:lnTo>
                    <a:pt x="181" y="15"/>
                  </a:lnTo>
                  <a:lnTo>
                    <a:pt x="200" y="20"/>
                  </a:lnTo>
                  <a:lnTo>
                    <a:pt x="198" y="28"/>
                  </a:lnTo>
                  <a:close/>
                  <a:moveTo>
                    <a:pt x="140" y="14"/>
                  </a:moveTo>
                  <a:lnTo>
                    <a:pt x="140" y="14"/>
                  </a:lnTo>
                  <a:lnTo>
                    <a:pt x="120" y="12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41" y="7"/>
                  </a:lnTo>
                  <a:lnTo>
                    <a:pt x="140" y="14"/>
                  </a:lnTo>
                  <a:close/>
                  <a:moveTo>
                    <a:pt x="2" y="13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6" y="4"/>
                  </a:lnTo>
                  <a:lnTo>
                    <a:pt x="20" y="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7" y="12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81" y="8"/>
                  </a:moveTo>
                  <a:lnTo>
                    <a:pt x="81" y="8"/>
                  </a:lnTo>
                  <a:lnTo>
                    <a:pt x="63" y="8"/>
                  </a:lnTo>
                  <a:lnTo>
                    <a:pt x="61" y="8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81" y="0"/>
                  </a:lnTo>
                  <a:lnTo>
                    <a:pt x="81" y="8"/>
                  </a:lnTo>
                  <a:close/>
                </a:path>
              </a:pathLst>
            </a:custGeom>
            <a:solidFill>
              <a:srgbClr val="462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CE3D4726-E193-49E7-9AE7-2DE5294CF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" y="1208"/>
              <a:ext cx="515" cy="587"/>
            </a:xfrm>
            <a:custGeom>
              <a:avLst/>
              <a:gdLst>
                <a:gd name="T0" fmla="*/ 391 w 515"/>
                <a:gd name="T1" fmla="*/ 0 h 587"/>
                <a:gd name="T2" fmla="*/ 347 w 515"/>
                <a:gd name="T3" fmla="*/ 22 h 587"/>
                <a:gd name="T4" fmla="*/ 299 w 515"/>
                <a:gd name="T5" fmla="*/ 50 h 587"/>
                <a:gd name="T6" fmla="*/ 242 w 515"/>
                <a:gd name="T7" fmla="*/ 89 h 587"/>
                <a:gd name="T8" fmla="*/ 180 w 515"/>
                <a:gd name="T9" fmla="*/ 139 h 587"/>
                <a:gd name="T10" fmla="*/ 148 w 515"/>
                <a:gd name="T11" fmla="*/ 168 h 587"/>
                <a:gd name="T12" fmla="*/ 118 w 515"/>
                <a:gd name="T13" fmla="*/ 201 h 587"/>
                <a:gd name="T14" fmla="*/ 88 w 515"/>
                <a:gd name="T15" fmla="*/ 236 h 587"/>
                <a:gd name="T16" fmla="*/ 61 w 515"/>
                <a:gd name="T17" fmla="*/ 274 h 587"/>
                <a:gd name="T18" fmla="*/ 36 w 515"/>
                <a:gd name="T19" fmla="*/ 316 h 587"/>
                <a:gd name="T20" fmla="*/ 15 w 515"/>
                <a:gd name="T21" fmla="*/ 360 h 587"/>
                <a:gd name="T22" fmla="*/ 11 w 515"/>
                <a:gd name="T23" fmla="*/ 371 h 587"/>
                <a:gd name="T24" fmla="*/ 4 w 515"/>
                <a:gd name="T25" fmla="*/ 393 h 587"/>
                <a:gd name="T26" fmla="*/ 1 w 515"/>
                <a:gd name="T27" fmla="*/ 413 h 587"/>
                <a:gd name="T28" fmla="*/ 0 w 515"/>
                <a:gd name="T29" fmla="*/ 432 h 587"/>
                <a:gd name="T30" fmla="*/ 3 w 515"/>
                <a:gd name="T31" fmla="*/ 449 h 587"/>
                <a:gd name="T32" fmla="*/ 7 w 515"/>
                <a:gd name="T33" fmla="*/ 466 h 587"/>
                <a:gd name="T34" fmla="*/ 15 w 515"/>
                <a:gd name="T35" fmla="*/ 481 h 587"/>
                <a:gd name="T36" fmla="*/ 30 w 515"/>
                <a:gd name="T37" fmla="*/ 501 h 587"/>
                <a:gd name="T38" fmla="*/ 57 w 515"/>
                <a:gd name="T39" fmla="*/ 524 h 587"/>
                <a:gd name="T40" fmla="*/ 92 w 515"/>
                <a:gd name="T41" fmla="*/ 544 h 587"/>
                <a:gd name="T42" fmla="*/ 131 w 515"/>
                <a:gd name="T43" fmla="*/ 559 h 587"/>
                <a:gd name="T44" fmla="*/ 175 w 515"/>
                <a:gd name="T45" fmla="*/ 571 h 587"/>
                <a:gd name="T46" fmla="*/ 222 w 515"/>
                <a:gd name="T47" fmla="*/ 579 h 587"/>
                <a:gd name="T48" fmla="*/ 270 w 515"/>
                <a:gd name="T49" fmla="*/ 584 h 587"/>
                <a:gd name="T50" fmla="*/ 318 w 515"/>
                <a:gd name="T51" fmla="*/ 587 h 587"/>
                <a:gd name="T52" fmla="*/ 409 w 515"/>
                <a:gd name="T53" fmla="*/ 585 h 587"/>
                <a:gd name="T54" fmla="*/ 486 w 515"/>
                <a:gd name="T55" fmla="*/ 575 h 587"/>
                <a:gd name="T56" fmla="*/ 515 w 515"/>
                <a:gd name="T57" fmla="*/ 568 h 587"/>
                <a:gd name="T58" fmla="*/ 179 w 515"/>
                <a:gd name="T59" fmla="*/ 400 h 587"/>
                <a:gd name="T60" fmla="*/ 190 w 515"/>
                <a:gd name="T61" fmla="*/ 386 h 587"/>
                <a:gd name="T62" fmla="*/ 222 w 515"/>
                <a:gd name="T63" fmla="*/ 351 h 587"/>
                <a:gd name="T64" fmla="*/ 274 w 515"/>
                <a:gd name="T65" fmla="*/ 302 h 587"/>
                <a:gd name="T66" fmla="*/ 324 w 515"/>
                <a:gd name="T67" fmla="*/ 262 h 587"/>
                <a:gd name="T68" fmla="*/ 391 w 515"/>
                <a:gd name="T69" fmla="*/ 0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5" h="587">
                  <a:moveTo>
                    <a:pt x="391" y="0"/>
                  </a:moveTo>
                  <a:lnTo>
                    <a:pt x="391" y="0"/>
                  </a:lnTo>
                  <a:lnTo>
                    <a:pt x="379" y="5"/>
                  </a:lnTo>
                  <a:lnTo>
                    <a:pt x="347" y="22"/>
                  </a:lnTo>
                  <a:lnTo>
                    <a:pt x="325" y="34"/>
                  </a:lnTo>
                  <a:lnTo>
                    <a:pt x="299" y="50"/>
                  </a:lnTo>
                  <a:lnTo>
                    <a:pt x="272" y="68"/>
                  </a:lnTo>
                  <a:lnTo>
                    <a:pt x="242" y="89"/>
                  </a:lnTo>
                  <a:lnTo>
                    <a:pt x="211" y="112"/>
                  </a:lnTo>
                  <a:lnTo>
                    <a:pt x="180" y="139"/>
                  </a:lnTo>
                  <a:lnTo>
                    <a:pt x="164" y="153"/>
                  </a:lnTo>
                  <a:lnTo>
                    <a:pt x="148" y="168"/>
                  </a:lnTo>
                  <a:lnTo>
                    <a:pt x="133" y="184"/>
                  </a:lnTo>
                  <a:lnTo>
                    <a:pt x="118" y="201"/>
                  </a:lnTo>
                  <a:lnTo>
                    <a:pt x="103" y="218"/>
                  </a:lnTo>
                  <a:lnTo>
                    <a:pt x="88" y="236"/>
                  </a:lnTo>
                  <a:lnTo>
                    <a:pt x="74" y="255"/>
                  </a:lnTo>
                  <a:lnTo>
                    <a:pt x="61" y="274"/>
                  </a:lnTo>
                  <a:lnTo>
                    <a:pt x="48" y="295"/>
                  </a:lnTo>
                  <a:lnTo>
                    <a:pt x="36" y="316"/>
                  </a:lnTo>
                  <a:lnTo>
                    <a:pt x="25" y="338"/>
                  </a:lnTo>
                  <a:lnTo>
                    <a:pt x="15" y="360"/>
                  </a:lnTo>
                  <a:lnTo>
                    <a:pt x="15" y="360"/>
                  </a:lnTo>
                  <a:lnTo>
                    <a:pt x="11" y="371"/>
                  </a:lnTo>
                  <a:lnTo>
                    <a:pt x="7" y="382"/>
                  </a:lnTo>
                  <a:lnTo>
                    <a:pt x="4" y="393"/>
                  </a:lnTo>
                  <a:lnTo>
                    <a:pt x="2" y="403"/>
                  </a:lnTo>
                  <a:lnTo>
                    <a:pt x="1" y="413"/>
                  </a:lnTo>
                  <a:lnTo>
                    <a:pt x="0" y="422"/>
                  </a:lnTo>
                  <a:lnTo>
                    <a:pt x="0" y="432"/>
                  </a:lnTo>
                  <a:lnTo>
                    <a:pt x="1" y="441"/>
                  </a:lnTo>
                  <a:lnTo>
                    <a:pt x="3" y="449"/>
                  </a:lnTo>
                  <a:lnTo>
                    <a:pt x="5" y="458"/>
                  </a:lnTo>
                  <a:lnTo>
                    <a:pt x="7" y="466"/>
                  </a:lnTo>
                  <a:lnTo>
                    <a:pt x="11" y="473"/>
                  </a:lnTo>
                  <a:lnTo>
                    <a:pt x="15" y="481"/>
                  </a:lnTo>
                  <a:lnTo>
                    <a:pt x="19" y="488"/>
                  </a:lnTo>
                  <a:lnTo>
                    <a:pt x="30" y="501"/>
                  </a:lnTo>
                  <a:lnTo>
                    <a:pt x="43" y="513"/>
                  </a:lnTo>
                  <a:lnTo>
                    <a:pt x="57" y="524"/>
                  </a:lnTo>
                  <a:lnTo>
                    <a:pt x="74" y="535"/>
                  </a:lnTo>
                  <a:lnTo>
                    <a:pt x="92" y="544"/>
                  </a:lnTo>
                  <a:lnTo>
                    <a:pt x="111" y="552"/>
                  </a:lnTo>
                  <a:lnTo>
                    <a:pt x="131" y="559"/>
                  </a:lnTo>
                  <a:lnTo>
                    <a:pt x="153" y="565"/>
                  </a:lnTo>
                  <a:lnTo>
                    <a:pt x="175" y="571"/>
                  </a:lnTo>
                  <a:lnTo>
                    <a:pt x="198" y="575"/>
                  </a:lnTo>
                  <a:lnTo>
                    <a:pt x="222" y="579"/>
                  </a:lnTo>
                  <a:lnTo>
                    <a:pt x="245" y="582"/>
                  </a:lnTo>
                  <a:lnTo>
                    <a:pt x="270" y="584"/>
                  </a:lnTo>
                  <a:lnTo>
                    <a:pt x="294" y="586"/>
                  </a:lnTo>
                  <a:lnTo>
                    <a:pt x="318" y="587"/>
                  </a:lnTo>
                  <a:lnTo>
                    <a:pt x="365" y="587"/>
                  </a:lnTo>
                  <a:lnTo>
                    <a:pt x="409" y="585"/>
                  </a:lnTo>
                  <a:lnTo>
                    <a:pt x="450" y="581"/>
                  </a:lnTo>
                  <a:lnTo>
                    <a:pt x="486" y="575"/>
                  </a:lnTo>
                  <a:lnTo>
                    <a:pt x="501" y="572"/>
                  </a:lnTo>
                  <a:lnTo>
                    <a:pt x="515" y="568"/>
                  </a:lnTo>
                  <a:lnTo>
                    <a:pt x="499" y="360"/>
                  </a:lnTo>
                  <a:lnTo>
                    <a:pt x="179" y="400"/>
                  </a:lnTo>
                  <a:lnTo>
                    <a:pt x="179" y="400"/>
                  </a:lnTo>
                  <a:lnTo>
                    <a:pt x="190" y="386"/>
                  </a:lnTo>
                  <a:lnTo>
                    <a:pt x="203" y="371"/>
                  </a:lnTo>
                  <a:lnTo>
                    <a:pt x="222" y="351"/>
                  </a:lnTo>
                  <a:lnTo>
                    <a:pt x="245" y="328"/>
                  </a:lnTo>
                  <a:lnTo>
                    <a:pt x="274" y="302"/>
                  </a:lnTo>
                  <a:lnTo>
                    <a:pt x="306" y="275"/>
                  </a:lnTo>
                  <a:lnTo>
                    <a:pt x="324" y="262"/>
                  </a:lnTo>
                  <a:lnTo>
                    <a:pt x="343" y="248"/>
                  </a:lnTo>
                  <a:lnTo>
                    <a:pt x="39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D2A46873-6C72-43D4-83D0-F63E5754D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" y="1208"/>
              <a:ext cx="515" cy="587"/>
            </a:xfrm>
            <a:custGeom>
              <a:avLst/>
              <a:gdLst>
                <a:gd name="T0" fmla="*/ 391 w 515"/>
                <a:gd name="T1" fmla="*/ 0 h 587"/>
                <a:gd name="T2" fmla="*/ 347 w 515"/>
                <a:gd name="T3" fmla="*/ 22 h 587"/>
                <a:gd name="T4" fmla="*/ 299 w 515"/>
                <a:gd name="T5" fmla="*/ 50 h 587"/>
                <a:gd name="T6" fmla="*/ 242 w 515"/>
                <a:gd name="T7" fmla="*/ 89 h 587"/>
                <a:gd name="T8" fmla="*/ 180 w 515"/>
                <a:gd name="T9" fmla="*/ 139 h 587"/>
                <a:gd name="T10" fmla="*/ 148 w 515"/>
                <a:gd name="T11" fmla="*/ 168 h 587"/>
                <a:gd name="T12" fmla="*/ 118 w 515"/>
                <a:gd name="T13" fmla="*/ 201 h 587"/>
                <a:gd name="T14" fmla="*/ 88 w 515"/>
                <a:gd name="T15" fmla="*/ 236 h 587"/>
                <a:gd name="T16" fmla="*/ 61 w 515"/>
                <a:gd name="T17" fmla="*/ 274 h 587"/>
                <a:gd name="T18" fmla="*/ 36 w 515"/>
                <a:gd name="T19" fmla="*/ 316 h 587"/>
                <a:gd name="T20" fmla="*/ 15 w 515"/>
                <a:gd name="T21" fmla="*/ 360 h 587"/>
                <a:gd name="T22" fmla="*/ 11 w 515"/>
                <a:gd name="T23" fmla="*/ 371 h 587"/>
                <a:gd name="T24" fmla="*/ 4 w 515"/>
                <a:gd name="T25" fmla="*/ 393 h 587"/>
                <a:gd name="T26" fmla="*/ 1 w 515"/>
                <a:gd name="T27" fmla="*/ 413 h 587"/>
                <a:gd name="T28" fmla="*/ 0 w 515"/>
                <a:gd name="T29" fmla="*/ 432 h 587"/>
                <a:gd name="T30" fmla="*/ 3 w 515"/>
                <a:gd name="T31" fmla="*/ 449 h 587"/>
                <a:gd name="T32" fmla="*/ 7 w 515"/>
                <a:gd name="T33" fmla="*/ 466 h 587"/>
                <a:gd name="T34" fmla="*/ 15 w 515"/>
                <a:gd name="T35" fmla="*/ 481 h 587"/>
                <a:gd name="T36" fmla="*/ 30 w 515"/>
                <a:gd name="T37" fmla="*/ 501 h 587"/>
                <a:gd name="T38" fmla="*/ 57 w 515"/>
                <a:gd name="T39" fmla="*/ 524 h 587"/>
                <a:gd name="T40" fmla="*/ 92 w 515"/>
                <a:gd name="T41" fmla="*/ 544 h 587"/>
                <a:gd name="T42" fmla="*/ 131 w 515"/>
                <a:gd name="T43" fmla="*/ 559 h 587"/>
                <a:gd name="T44" fmla="*/ 175 w 515"/>
                <a:gd name="T45" fmla="*/ 571 h 587"/>
                <a:gd name="T46" fmla="*/ 222 w 515"/>
                <a:gd name="T47" fmla="*/ 579 h 587"/>
                <a:gd name="T48" fmla="*/ 270 w 515"/>
                <a:gd name="T49" fmla="*/ 584 h 587"/>
                <a:gd name="T50" fmla="*/ 318 w 515"/>
                <a:gd name="T51" fmla="*/ 587 h 587"/>
                <a:gd name="T52" fmla="*/ 409 w 515"/>
                <a:gd name="T53" fmla="*/ 585 h 587"/>
                <a:gd name="T54" fmla="*/ 486 w 515"/>
                <a:gd name="T55" fmla="*/ 575 h 587"/>
                <a:gd name="T56" fmla="*/ 515 w 515"/>
                <a:gd name="T57" fmla="*/ 568 h 587"/>
                <a:gd name="T58" fmla="*/ 179 w 515"/>
                <a:gd name="T59" fmla="*/ 400 h 587"/>
                <a:gd name="T60" fmla="*/ 190 w 515"/>
                <a:gd name="T61" fmla="*/ 386 h 587"/>
                <a:gd name="T62" fmla="*/ 222 w 515"/>
                <a:gd name="T63" fmla="*/ 351 h 587"/>
                <a:gd name="T64" fmla="*/ 274 w 515"/>
                <a:gd name="T65" fmla="*/ 302 h 587"/>
                <a:gd name="T66" fmla="*/ 324 w 515"/>
                <a:gd name="T67" fmla="*/ 26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5" h="587">
                  <a:moveTo>
                    <a:pt x="391" y="0"/>
                  </a:moveTo>
                  <a:lnTo>
                    <a:pt x="391" y="0"/>
                  </a:lnTo>
                  <a:lnTo>
                    <a:pt x="379" y="5"/>
                  </a:lnTo>
                  <a:lnTo>
                    <a:pt x="347" y="22"/>
                  </a:lnTo>
                  <a:lnTo>
                    <a:pt x="325" y="34"/>
                  </a:lnTo>
                  <a:lnTo>
                    <a:pt x="299" y="50"/>
                  </a:lnTo>
                  <a:lnTo>
                    <a:pt x="272" y="68"/>
                  </a:lnTo>
                  <a:lnTo>
                    <a:pt x="242" y="89"/>
                  </a:lnTo>
                  <a:lnTo>
                    <a:pt x="211" y="112"/>
                  </a:lnTo>
                  <a:lnTo>
                    <a:pt x="180" y="139"/>
                  </a:lnTo>
                  <a:lnTo>
                    <a:pt x="164" y="153"/>
                  </a:lnTo>
                  <a:lnTo>
                    <a:pt x="148" y="168"/>
                  </a:lnTo>
                  <a:lnTo>
                    <a:pt x="133" y="184"/>
                  </a:lnTo>
                  <a:lnTo>
                    <a:pt x="118" y="201"/>
                  </a:lnTo>
                  <a:lnTo>
                    <a:pt x="103" y="218"/>
                  </a:lnTo>
                  <a:lnTo>
                    <a:pt x="88" y="236"/>
                  </a:lnTo>
                  <a:lnTo>
                    <a:pt x="74" y="255"/>
                  </a:lnTo>
                  <a:lnTo>
                    <a:pt x="61" y="274"/>
                  </a:lnTo>
                  <a:lnTo>
                    <a:pt x="48" y="295"/>
                  </a:lnTo>
                  <a:lnTo>
                    <a:pt x="36" y="316"/>
                  </a:lnTo>
                  <a:lnTo>
                    <a:pt x="25" y="338"/>
                  </a:lnTo>
                  <a:lnTo>
                    <a:pt x="15" y="360"/>
                  </a:lnTo>
                  <a:lnTo>
                    <a:pt x="15" y="360"/>
                  </a:lnTo>
                  <a:lnTo>
                    <a:pt x="11" y="371"/>
                  </a:lnTo>
                  <a:lnTo>
                    <a:pt x="7" y="382"/>
                  </a:lnTo>
                  <a:lnTo>
                    <a:pt x="4" y="393"/>
                  </a:lnTo>
                  <a:lnTo>
                    <a:pt x="2" y="403"/>
                  </a:lnTo>
                  <a:lnTo>
                    <a:pt x="1" y="413"/>
                  </a:lnTo>
                  <a:lnTo>
                    <a:pt x="0" y="422"/>
                  </a:lnTo>
                  <a:lnTo>
                    <a:pt x="0" y="432"/>
                  </a:lnTo>
                  <a:lnTo>
                    <a:pt x="1" y="441"/>
                  </a:lnTo>
                  <a:lnTo>
                    <a:pt x="3" y="449"/>
                  </a:lnTo>
                  <a:lnTo>
                    <a:pt x="5" y="458"/>
                  </a:lnTo>
                  <a:lnTo>
                    <a:pt x="7" y="466"/>
                  </a:lnTo>
                  <a:lnTo>
                    <a:pt x="11" y="473"/>
                  </a:lnTo>
                  <a:lnTo>
                    <a:pt x="15" y="481"/>
                  </a:lnTo>
                  <a:lnTo>
                    <a:pt x="19" y="488"/>
                  </a:lnTo>
                  <a:lnTo>
                    <a:pt x="30" y="501"/>
                  </a:lnTo>
                  <a:lnTo>
                    <a:pt x="43" y="513"/>
                  </a:lnTo>
                  <a:lnTo>
                    <a:pt x="57" y="524"/>
                  </a:lnTo>
                  <a:lnTo>
                    <a:pt x="74" y="535"/>
                  </a:lnTo>
                  <a:lnTo>
                    <a:pt x="92" y="544"/>
                  </a:lnTo>
                  <a:lnTo>
                    <a:pt x="111" y="552"/>
                  </a:lnTo>
                  <a:lnTo>
                    <a:pt x="131" y="559"/>
                  </a:lnTo>
                  <a:lnTo>
                    <a:pt x="153" y="565"/>
                  </a:lnTo>
                  <a:lnTo>
                    <a:pt x="175" y="571"/>
                  </a:lnTo>
                  <a:lnTo>
                    <a:pt x="198" y="575"/>
                  </a:lnTo>
                  <a:lnTo>
                    <a:pt x="222" y="579"/>
                  </a:lnTo>
                  <a:lnTo>
                    <a:pt x="245" y="582"/>
                  </a:lnTo>
                  <a:lnTo>
                    <a:pt x="270" y="584"/>
                  </a:lnTo>
                  <a:lnTo>
                    <a:pt x="294" y="586"/>
                  </a:lnTo>
                  <a:lnTo>
                    <a:pt x="318" y="587"/>
                  </a:lnTo>
                  <a:lnTo>
                    <a:pt x="365" y="587"/>
                  </a:lnTo>
                  <a:lnTo>
                    <a:pt x="409" y="585"/>
                  </a:lnTo>
                  <a:lnTo>
                    <a:pt x="450" y="581"/>
                  </a:lnTo>
                  <a:lnTo>
                    <a:pt x="486" y="575"/>
                  </a:lnTo>
                  <a:lnTo>
                    <a:pt x="501" y="572"/>
                  </a:lnTo>
                  <a:lnTo>
                    <a:pt x="515" y="568"/>
                  </a:lnTo>
                  <a:lnTo>
                    <a:pt x="499" y="360"/>
                  </a:lnTo>
                  <a:lnTo>
                    <a:pt x="179" y="400"/>
                  </a:lnTo>
                  <a:lnTo>
                    <a:pt x="179" y="400"/>
                  </a:lnTo>
                  <a:lnTo>
                    <a:pt x="190" y="386"/>
                  </a:lnTo>
                  <a:lnTo>
                    <a:pt x="203" y="371"/>
                  </a:lnTo>
                  <a:lnTo>
                    <a:pt x="222" y="351"/>
                  </a:lnTo>
                  <a:lnTo>
                    <a:pt x="245" y="328"/>
                  </a:lnTo>
                  <a:lnTo>
                    <a:pt x="274" y="302"/>
                  </a:lnTo>
                  <a:lnTo>
                    <a:pt x="306" y="275"/>
                  </a:lnTo>
                  <a:lnTo>
                    <a:pt x="324" y="262"/>
                  </a:lnTo>
                  <a:lnTo>
                    <a:pt x="343" y="2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3903C20B-8436-4C73-ACD9-1B0C8D7A8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1204"/>
              <a:ext cx="523" cy="595"/>
            </a:xfrm>
            <a:custGeom>
              <a:avLst/>
              <a:gdLst>
                <a:gd name="T0" fmla="*/ 301 w 523"/>
                <a:gd name="T1" fmla="*/ 594 h 595"/>
                <a:gd name="T2" fmla="*/ 232 w 523"/>
                <a:gd name="T3" fmla="*/ 588 h 595"/>
                <a:gd name="T4" fmla="*/ 165 w 523"/>
                <a:gd name="T5" fmla="*/ 575 h 595"/>
                <a:gd name="T6" fmla="*/ 105 w 523"/>
                <a:gd name="T7" fmla="*/ 556 h 595"/>
                <a:gd name="T8" fmla="*/ 55 w 523"/>
                <a:gd name="T9" fmla="*/ 529 h 595"/>
                <a:gd name="T10" fmla="*/ 30 w 523"/>
                <a:gd name="T11" fmla="*/ 506 h 595"/>
                <a:gd name="T12" fmla="*/ 14 w 523"/>
                <a:gd name="T13" fmla="*/ 484 h 595"/>
                <a:gd name="T14" fmla="*/ 4 w 523"/>
                <a:gd name="T15" fmla="*/ 459 h 595"/>
                <a:gd name="T16" fmla="*/ 0 w 523"/>
                <a:gd name="T17" fmla="*/ 432 h 595"/>
                <a:gd name="T18" fmla="*/ 3 w 523"/>
                <a:gd name="T19" fmla="*/ 404 h 595"/>
                <a:gd name="T20" fmla="*/ 15 w 523"/>
                <a:gd name="T21" fmla="*/ 362 h 595"/>
                <a:gd name="T22" fmla="*/ 37 w 523"/>
                <a:gd name="T23" fmla="*/ 318 h 595"/>
                <a:gd name="T24" fmla="*/ 74 w 523"/>
                <a:gd name="T25" fmla="*/ 258 h 595"/>
                <a:gd name="T26" fmla="*/ 118 w 523"/>
                <a:gd name="T27" fmla="*/ 204 h 595"/>
                <a:gd name="T28" fmla="*/ 164 w 523"/>
                <a:gd name="T29" fmla="*/ 156 h 595"/>
                <a:gd name="T30" fmla="*/ 242 w 523"/>
                <a:gd name="T31" fmla="*/ 91 h 595"/>
                <a:gd name="T32" fmla="*/ 325 w 523"/>
                <a:gd name="T33" fmla="*/ 36 h 595"/>
                <a:gd name="T34" fmla="*/ 393 w 523"/>
                <a:gd name="T35" fmla="*/ 0 h 595"/>
                <a:gd name="T36" fmla="*/ 384 w 523"/>
                <a:gd name="T37" fmla="*/ 14 h 595"/>
                <a:gd name="T38" fmla="*/ 304 w 523"/>
                <a:gd name="T39" fmla="*/ 58 h 595"/>
                <a:gd name="T40" fmla="*/ 216 w 523"/>
                <a:gd name="T41" fmla="*/ 121 h 595"/>
                <a:gd name="T42" fmla="*/ 154 w 523"/>
                <a:gd name="T43" fmla="*/ 177 h 595"/>
                <a:gd name="T44" fmla="*/ 109 w 523"/>
                <a:gd name="T45" fmla="*/ 226 h 595"/>
                <a:gd name="T46" fmla="*/ 68 w 523"/>
                <a:gd name="T47" fmla="*/ 281 h 595"/>
                <a:gd name="T48" fmla="*/ 33 w 523"/>
                <a:gd name="T49" fmla="*/ 343 h 595"/>
                <a:gd name="T50" fmla="*/ 15 w 523"/>
                <a:gd name="T51" fmla="*/ 385 h 595"/>
                <a:gd name="T52" fmla="*/ 8 w 523"/>
                <a:gd name="T53" fmla="*/ 423 h 595"/>
                <a:gd name="T54" fmla="*/ 10 w 523"/>
                <a:gd name="T55" fmla="*/ 448 h 595"/>
                <a:gd name="T56" fmla="*/ 17 w 523"/>
                <a:gd name="T57" fmla="*/ 472 h 595"/>
                <a:gd name="T58" fmla="*/ 30 w 523"/>
                <a:gd name="T59" fmla="*/ 494 h 595"/>
                <a:gd name="T60" fmla="*/ 46 w 523"/>
                <a:gd name="T61" fmla="*/ 511 h 595"/>
                <a:gd name="T62" fmla="*/ 86 w 523"/>
                <a:gd name="T63" fmla="*/ 538 h 595"/>
                <a:gd name="T64" fmla="*/ 133 w 523"/>
                <a:gd name="T65" fmla="*/ 558 h 595"/>
                <a:gd name="T66" fmla="*/ 183 w 523"/>
                <a:gd name="T67" fmla="*/ 571 h 595"/>
                <a:gd name="T68" fmla="*/ 272 w 523"/>
                <a:gd name="T69" fmla="*/ 584 h 595"/>
                <a:gd name="T70" fmla="*/ 346 w 523"/>
                <a:gd name="T71" fmla="*/ 587 h 595"/>
                <a:gd name="T72" fmla="*/ 444 w 523"/>
                <a:gd name="T73" fmla="*/ 582 h 595"/>
                <a:gd name="T74" fmla="*/ 515 w 523"/>
                <a:gd name="T75" fmla="*/ 569 h 595"/>
                <a:gd name="T76" fmla="*/ 180 w 523"/>
                <a:gd name="T77" fmla="*/ 402 h 595"/>
                <a:gd name="T78" fmla="*/ 205 w 523"/>
                <a:gd name="T79" fmla="*/ 372 h 595"/>
                <a:gd name="T80" fmla="*/ 275 w 523"/>
                <a:gd name="T81" fmla="*/ 303 h 595"/>
                <a:gd name="T82" fmla="*/ 345 w 523"/>
                <a:gd name="T83" fmla="*/ 249 h 595"/>
                <a:gd name="T84" fmla="*/ 319 w 523"/>
                <a:gd name="T85" fmla="*/ 277 h 595"/>
                <a:gd name="T86" fmla="*/ 246 w 523"/>
                <a:gd name="T87" fmla="*/ 341 h 595"/>
                <a:gd name="T88" fmla="*/ 192 w 523"/>
                <a:gd name="T89" fmla="*/ 399 h 595"/>
                <a:gd name="T90" fmla="*/ 520 w 523"/>
                <a:gd name="T91" fmla="*/ 576 h 595"/>
                <a:gd name="T92" fmla="*/ 487 w 523"/>
                <a:gd name="T93" fmla="*/ 584 h 595"/>
                <a:gd name="T94" fmla="*/ 422 w 523"/>
                <a:gd name="T95" fmla="*/ 592 h 595"/>
                <a:gd name="T96" fmla="*/ 346 w 523"/>
                <a:gd name="T97" fmla="*/ 595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3" h="595">
                  <a:moveTo>
                    <a:pt x="346" y="595"/>
                  </a:moveTo>
                  <a:lnTo>
                    <a:pt x="346" y="595"/>
                  </a:lnTo>
                  <a:lnTo>
                    <a:pt x="301" y="594"/>
                  </a:lnTo>
                  <a:lnTo>
                    <a:pt x="278" y="592"/>
                  </a:lnTo>
                  <a:lnTo>
                    <a:pt x="255" y="590"/>
                  </a:lnTo>
                  <a:lnTo>
                    <a:pt x="232" y="588"/>
                  </a:lnTo>
                  <a:lnTo>
                    <a:pt x="209" y="584"/>
                  </a:lnTo>
                  <a:lnTo>
                    <a:pt x="187" y="580"/>
                  </a:lnTo>
                  <a:lnTo>
                    <a:pt x="165" y="575"/>
                  </a:lnTo>
                  <a:lnTo>
                    <a:pt x="144" y="570"/>
                  </a:lnTo>
                  <a:lnTo>
                    <a:pt x="124" y="563"/>
                  </a:lnTo>
                  <a:lnTo>
                    <a:pt x="105" y="556"/>
                  </a:lnTo>
                  <a:lnTo>
                    <a:pt x="87" y="548"/>
                  </a:lnTo>
                  <a:lnTo>
                    <a:pt x="70" y="539"/>
                  </a:lnTo>
                  <a:lnTo>
                    <a:pt x="55" y="529"/>
                  </a:lnTo>
                  <a:lnTo>
                    <a:pt x="42" y="518"/>
                  </a:lnTo>
                  <a:lnTo>
                    <a:pt x="30" y="506"/>
                  </a:lnTo>
                  <a:lnTo>
                    <a:pt x="30" y="506"/>
                  </a:lnTo>
                  <a:lnTo>
                    <a:pt x="24" y="499"/>
                  </a:lnTo>
                  <a:lnTo>
                    <a:pt x="18" y="491"/>
                  </a:lnTo>
                  <a:lnTo>
                    <a:pt x="14" y="484"/>
                  </a:lnTo>
                  <a:lnTo>
                    <a:pt x="10" y="476"/>
                  </a:lnTo>
                  <a:lnTo>
                    <a:pt x="6" y="467"/>
                  </a:lnTo>
                  <a:lnTo>
                    <a:pt x="4" y="459"/>
                  </a:lnTo>
                  <a:lnTo>
                    <a:pt x="2" y="450"/>
                  </a:lnTo>
                  <a:lnTo>
                    <a:pt x="1" y="441"/>
                  </a:lnTo>
                  <a:lnTo>
                    <a:pt x="0" y="432"/>
                  </a:lnTo>
                  <a:lnTo>
                    <a:pt x="0" y="423"/>
                  </a:lnTo>
                  <a:lnTo>
                    <a:pt x="1" y="413"/>
                  </a:lnTo>
                  <a:lnTo>
                    <a:pt x="3" y="404"/>
                  </a:lnTo>
                  <a:lnTo>
                    <a:pt x="5" y="394"/>
                  </a:lnTo>
                  <a:lnTo>
                    <a:pt x="8" y="383"/>
                  </a:lnTo>
                  <a:lnTo>
                    <a:pt x="15" y="362"/>
                  </a:lnTo>
                  <a:lnTo>
                    <a:pt x="15" y="362"/>
                  </a:lnTo>
                  <a:lnTo>
                    <a:pt x="25" y="340"/>
                  </a:lnTo>
                  <a:lnTo>
                    <a:pt x="37" y="318"/>
                  </a:lnTo>
                  <a:lnTo>
                    <a:pt x="48" y="297"/>
                  </a:lnTo>
                  <a:lnTo>
                    <a:pt x="61" y="277"/>
                  </a:lnTo>
                  <a:lnTo>
                    <a:pt x="74" y="258"/>
                  </a:lnTo>
                  <a:lnTo>
                    <a:pt x="88" y="239"/>
                  </a:lnTo>
                  <a:lnTo>
                    <a:pt x="103" y="221"/>
                  </a:lnTo>
                  <a:lnTo>
                    <a:pt x="118" y="204"/>
                  </a:lnTo>
                  <a:lnTo>
                    <a:pt x="133" y="187"/>
                  </a:lnTo>
                  <a:lnTo>
                    <a:pt x="148" y="171"/>
                  </a:lnTo>
                  <a:lnTo>
                    <a:pt x="164" y="156"/>
                  </a:lnTo>
                  <a:lnTo>
                    <a:pt x="180" y="142"/>
                  </a:lnTo>
                  <a:lnTo>
                    <a:pt x="211" y="115"/>
                  </a:lnTo>
                  <a:lnTo>
                    <a:pt x="242" y="91"/>
                  </a:lnTo>
                  <a:lnTo>
                    <a:pt x="272" y="70"/>
                  </a:lnTo>
                  <a:lnTo>
                    <a:pt x="300" y="51"/>
                  </a:lnTo>
                  <a:lnTo>
                    <a:pt x="325" y="36"/>
                  </a:lnTo>
                  <a:lnTo>
                    <a:pt x="348" y="23"/>
                  </a:lnTo>
                  <a:lnTo>
                    <a:pt x="381" y="6"/>
                  </a:lnTo>
                  <a:lnTo>
                    <a:pt x="393" y="0"/>
                  </a:lnTo>
                  <a:lnTo>
                    <a:pt x="397" y="8"/>
                  </a:lnTo>
                  <a:lnTo>
                    <a:pt x="397" y="8"/>
                  </a:lnTo>
                  <a:lnTo>
                    <a:pt x="384" y="14"/>
                  </a:lnTo>
                  <a:lnTo>
                    <a:pt x="351" y="30"/>
                  </a:lnTo>
                  <a:lnTo>
                    <a:pt x="329" y="43"/>
                  </a:lnTo>
                  <a:lnTo>
                    <a:pt x="304" y="58"/>
                  </a:lnTo>
                  <a:lnTo>
                    <a:pt x="276" y="76"/>
                  </a:lnTo>
                  <a:lnTo>
                    <a:pt x="247" y="97"/>
                  </a:lnTo>
                  <a:lnTo>
                    <a:pt x="216" y="121"/>
                  </a:lnTo>
                  <a:lnTo>
                    <a:pt x="185" y="147"/>
                  </a:lnTo>
                  <a:lnTo>
                    <a:pt x="170" y="162"/>
                  </a:lnTo>
                  <a:lnTo>
                    <a:pt x="154" y="177"/>
                  </a:lnTo>
                  <a:lnTo>
                    <a:pt x="139" y="192"/>
                  </a:lnTo>
                  <a:lnTo>
                    <a:pt x="124" y="209"/>
                  </a:lnTo>
                  <a:lnTo>
                    <a:pt x="109" y="226"/>
                  </a:lnTo>
                  <a:lnTo>
                    <a:pt x="95" y="244"/>
                  </a:lnTo>
                  <a:lnTo>
                    <a:pt x="81" y="262"/>
                  </a:lnTo>
                  <a:lnTo>
                    <a:pt x="68" y="281"/>
                  </a:lnTo>
                  <a:lnTo>
                    <a:pt x="55" y="301"/>
                  </a:lnTo>
                  <a:lnTo>
                    <a:pt x="44" y="322"/>
                  </a:lnTo>
                  <a:lnTo>
                    <a:pt x="33" y="343"/>
                  </a:lnTo>
                  <a:lnTo>
                    <a:pt x="23" y="366"/>
                  </a:lnTo>
                  <a:lnTo>
                    <a:pt x="23" y="366"/>
                  </a:lnTo>
                  <a:lnTo>
                    <a:pt x="15" y="385"/>
                  </a:lnTo>
                  <a:lnTo>
                    <a:pt x="11" y="405"/>
                  </a:lnTo>
                  <a:lnTo>
                    <a:pt x="9" y="414"/>
                  </a:lnTo>
                  <a:lnTo>
                    <a:pt x="8" y="423"/>
                  </a:lnTo>
                  <a:lnTo>
                    <a:pt x="8" y="432"/>
                  </a:lnTo>
                  <a:lnTo>
                    <a:pt x="9" y="440"/>
                  </a:lnTo>
                  <a:lnTo>
                    <a:pt x="10" y="448"/>
                  </a:lnTo>
                  <a:lnTo>
                    <a:pt x="12" y="457"/>
                  </a:lnTo>
                  <a:lnTo>
                    <a:pt x="14" y="465"/>
                  </a:lnTo>
                  <a:lnTo>
                    <a:pt x="17" y="472"/>
                  </a:lnTo>
                  <a:lnTo>
                    <a:pt x="21" y="480"/>
                  </a:lnTo>
                  <a:lnTo>
                    <a:pt x="25" y="487"/>
                  </a:lnTo>
                  <a:lnTo>
                    <a:pt x="30" y="494"/>
                  </a:lnTo>
                  <a:lnTo>
                    <a:pt x="36" y="501"/>
                  </a:lnTo>
                  <a:lnTo>
                    <a:pt x="36" y="501"/>
                  </a:lnTo>
                  <a:lnTo>
                    <a:pt x="46" y="511"/>
                  </a:lnTo>
                  <a:lnTo>
                    <a:pt x="58" y="521"/>
                  </a:lnTo>
                  <a:lnTo>
                    <a:pt x="72" y="530"/>
                  </a:lnTo>
                  <a:lnTo>
                    <a:pt x="86" y="538"/>
                  </a:lnTo>
                  <a:lnTo>
                    <a:pt x="101" y="546"/>
                  </a:lnTo>
                  <a:lnTo>
                    <a:pt x="117" y="552"/>
                  </a:lnTo>
                  <a:lnTo>
                    <a:pt x="133" y="558"/>
                  </a:lnTo>
                  <a:lnTo>
                    <a:pt x="149" y="563"/>
                  </a:lnTo>
                  <a:lnTo>
                    <a:pt x="166" y="567"/>
                  </a:lnTo>
                  <a:lnTo>
                    <a:pt x="183" y="571"/>
                  </a:lnTo>
                  <a:lnTo>
                    <a:pt x="215" y="577"/>
                  </a:lnTo>
                  <a:lnTo>
                    <a:pt x="246" y="581"/>
                  </a:lnTo>
                  <a:lnTo>
                    <a:pt x="272" y="584"/>
                  </a:lnTo>
                  <a:lnTo>
                    <a:pt x="272" y="584"/>
                  </a:lnTo>
                  <a:lnTo>
                    <a:pt x="310" y="586"/>
                  </a:lnTo>
                  <a:lnTo>
                    <a:pt x="346" y="587"/>
                  </a:lnTo>
                  <a:lnTo>
                    <a:pt x="381" y="586"/>
                  </a:lnTo>
                  <a:lnTo>
                    <a:pt x="414" y="585"/>
                  </a:lnTo>
                  <a:lnTo>
                    <a:pt x="444" y="582"/>
                  </a:lnTo>
                  <a:lnTo>
                    <a:pt x="471" y="578"/>
                  </a:lnTo>
                  <a:lnTo>
                    <a:pt x="495" y="574"/>
                  </a:lnTo>
                  <a:lnTo>
                    <a:pt x="515" y="569"/>
                  </a:lnTo>
                  <a:lnTo>
                    <a:pt x="499" y="368"/>
                  </a:lnTo>
                  <a:lnTo>
                    <a:pt x="174" y="409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91" y="387"/>
                  </a:lnTo>
                  <a:lnTo>
                    <a:pt x="205" y="372"/>
                  </a:lnTo>
                  <a:lnTo>
                    <a:pt x="224" y="352"/>
                  </a:lnTo>
                  <a:lnTo>
                    <a:pt x="247" y="328"/>
                  </a:lnTo>
                  <a:lnTo>
                    <a:pt x="275" y="303"/>
                  </a:lnTo>
                  <a:lnTo>
                    <a:pt x="308" y="276"/>
                  </a:lnTo>
                  <a:lnTo>
                    <a:pt x="326" y="262"/>
                  </a:lnTo>
                  <a:lnTo>
                    <a:pt x="345" y="249"/>
                  </a:lnTo>
                  <a:lnTo>
                    <a:pt x="349" y="255"/>
                  </a:lnTo>
                  <a:lnTo>
                    <a:pt x="349" y="255"/>
                  </a:lnTo>
                  <a:lnTo>
                    <a:pt x="319" y="277"/>
                  </a:lnTo>
                  <a:lnTo>
                    <a:pt x="292" y="299"/>
                  </a:lnTo>
                  <a:lnTo>
                    <a:pt x="267" y="321"/>
                  </a:lnTo>
                  <a:lnTo>
                    <a:pt x="246" y="341"/>
                  </a:lnTo>
                  <a:lnTo>
                    <a:pt x="228" y="359"/>
                  </a:lnTo>
                  <a:lnTo>
                    <a:pt x="212" y="375"/>
                  </a:lnTo>
                  <a:lnTo>
                    <a:pt x="192" y="399"/>
                  </a:lnTo>
                  <a:lnTo>
                    <a:pt x="507" y="360"/>
                  </a:lnTo>
                  <a:lnTo>
                    <a:pt x="523" y="575"/>
                  </a:lnTo>
                  <a:lnTo>
                    <a:pt x="520" y="576"/>
                  </a:lnTo>
                  <a:lnTo>
                    <a:pt x="520" y="576"/>
                  </a:lnTo>
                  <a:lnTo>
                    <a:pt x="505" y="580"/>
                  </a:lnTo>
                  <a:lnTo>
                    <a:pt x="487" y="584"/>
                  </a:lnTo>
                  <a:lnTo>
                    <a:pt x="467" y="587"/>
                  </a:lnTo>
                  <a:lnTo>
                    <a:pt x="445" y="590"/>
                  </a:lnTo>
                  <a:lnTo>
                    <a:pt x="422" y="592"/>
                  </a:lnTo>
                  <a:lnTo>
                    <a:pt x="398" y="594"/>
                  </a:lnTo>
                  <a:lnTo>
                    <a:pt x="373" y="595"/>
                  </a:lnTo>
                  <a:lnTo>
                    <a:pt x="346" y="595"/>
                  </a:lnTo>
                  <a:lnTo>
                    <a:pt x="346" y="59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2EE0E7CA-112B-44E7-831E-294C7A50D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" y="918"/>
              <a:ext cx="253" cy="214"/>
            </a:xfrm>
            <a:custGeom>
              <a:avLst/>
              <a:gdLst>
                <a:gd name="T0" fmla="*/ 177 w 253"/>
                <a:gd name="T1" fmla="*/ 30 h 214"/>
                <a:gd name="T2" fmla="*/ 144 w 253"/>
                <a:gd name="T3" fmla="*/ 14 h 214"/>
                <a:gd name="T4" fmla="*/ 115 w 253"/>
                <a:gd name="T5" fmla="*/ 5 h 214"/>
                <a:gd name="T6" fmla="*/ 89 w 253"/>
                <a:gd name="T7" fmla="*/ 1 h 214"/>
                <a:gd name="T8" fmla="*/ 67 w 253"/>
                <a:gd name="T9" fmla="*/ 1 h 214"/>
                <a:gd name="T10" fmla="*/ 49 w 253"/>
                <a:gd name="T11" fmla="*/ 6 h 214"/>
                <a:gd name="T12" fmla="*/ 34 w 253"/>
                <a:gd name="T13" fmla="*/ 15 h 214"/>
                <a:gd name="T14" fmla="*/ 22 w 253"/>
                <a:gd name="T15" fmla="*/ 27 h 214"/>
                <a:gd name="T16" fmla="*/ 12 w 253"/>
                <a:gd name="T17" fmla="*/ 41 h 214"/>
                <a:gd name="T18" fmla="*/ 6 w 253"/>
                <a:gd name="T19" fmla="*/ 57 h 214"/>
                <a:gd name="T20" fmla="*/ 2 w 253"/>
                <a:gd name="T21" fmla="*/ 75 h 214"/>
                <a:gd name="T22" fmla="*/ 0 w 253"/>
                <a:gd name="T23" fmla="*/ 111 h 214"/>
                <a:gd name="T24" fmla="*/ 7 w 253"/>
                <a:gd name="T25" fmla="*/ 147 h 214"/>
                <a:gd name="T26" fmla="*/ 19 w 253"/>
                <a:gd name="T27" fmla="*/ 176 h 214"/>
                <a:gd name="T28" fmla="*/ 22 w 253"/>
                <a:gd name="T29" fmla="*/ 181 h 214"/>
                <a:gd name="T30" fmla="*/ 22 w 253"/>
                <a:gd name="T31" fmla="*/ 192 h 214"/>
                <a:gd name="T32" fmla="*/ 16 w 253"/>
                <a:gd name="T33" fmla="*/ 204 h 214"/>
                <a:gd name="T34" fmla="*/ 13 w 253"/>
                <a:gd name="T35" fmla="*/ 207 h 214"/>
                <a:gd name="T36" fmla="*/ 22 w 253"/>
                <a:gd name="T37" fmla="*/ 212 h 214"/>
                <a:gd name="T38" fmla="*/ 31 w 253"/>
                <a:gd name="T39" fmla="*/ 214 h 214"/>
                <a:gd name="T40" fmla="*/ 39 w 253"/>
                <a:gd name="T41" fmla="*/ 211 h 214"/>
                <a:gd name="T42" fmla="*/ 52 w 253"/>
                <a:gd name="T43" fmla="*/ 202 h 214"/>
                <a:gd name="T44" fmla="*/ 61 w 253"/>
                <a:gd name="T45" fmla="*/ 190 h 214"/>
                <a:gd name="T46" fmla="*/ 61 w 253"/>
                <a:gd name="T47" fmla="*/ 190 h 214"/>
                <a:gd name="T48" fmla="*/ 50 w 253"/>
                <a:gd name="T49" fmla="*/ 191 h 214"/>
                <a:gd name="T50" fmla="*/ 41 w 253"/>
                <a:gd name="T51" fmla="*/ 185 h 214"/>
                <a:gd name="T52" fmla="*/ 35 w 253"/>
                <a:gd name="T53" fmla="*/ 175 h 214"/>
                <a:gd name="T54" fmla="*/ 26 w 253"/>
                <a:gd name="T55" fmla="*/ 149 h 214"/>
                <a:gd name="T56" fmla="*/ 22 w 253"/>
                <a:gd name="T57" fmla="*/ 126 h 214"/>
                <a:gd name="T58" fmla="*/ 28 w 253"/>
                <a:gd name="T59" fmla="*/ 123 h 214"/>
                <a:gd name="T60" fmla="*/ 44 w 253"/>
                <a:gd name="T61" fmla="*/ 114 h 214"/>
                <a:gd name="T62" fmla="*/ 74 w 253"/>
                <a:gd name="T63" fmla="*/ 101 h 214"/>
                <a:gd name="T64" fmla="*/ 85 w 253"/>
                <a:gd name="T65" fmla="*/ 97 h 214"/>
                <a:gd name="T66" fmla="*/ 116 w 253"/>
                <a:gd name="T67" fmla="*/ 90 h 214"/>
                <a:gd name="T68" fmla="*/ 140 w 253"/>
                <a:gd name="T69" fmla="*/ 89 h 214"/>
                <a:gd name="T70" fmla="*/ 155 w 253"/>
                <a:gd name="T71" fmla="*/ 91 h 214"/>
                <a:gd name="T72" fmla="*/ 170 w 253"/>
                <a:gd name="T73" fmla="*/ 96 h 214"/>
                <a:gd name="T74" fmla="*/ 183 w 253"/>
                <a:gd name="T75" fmla="*/ 104 h 214"/>
                <a:gd name="T76" fmla="*/ 195 w 253"/>
                <a:gd name="T77" fmla="*/ 116 h 214"/>
                <a:gd name="T78" fmla="*/ 200 w 253"/>
                <a:gd name="T79" fmla="*/ 123 h 214"/>
                <a:gd name="T80" fmla="*/ 199 w 253"/>
                <a:gd name="T81" fmla="*/ 130 h 214"/>
                <a:gd name="T82" fmla="*/ 214 w 253"/>
                <a:gd name="T83" fmla="*/ 129 h 214"/>
                <a:gd name="T84" fmla="*/ 226 w 253"/>
                <a:gd name="T85" fmla="*/ 126 h 214"/>
                <a:gd name="T86" fmla="*/ 235 w 253"/>
                <a:gd name="T87" fmla="*/ 121 h 214"/>
                <a:gd name="T88" fmla="*/ 242 w 253"/>
                <a:gd name="T89" fmla="*/ 114 h 214"/>
                <a:gd name="T90" fmla="*/ 247 w 253"/>
                <a:gd name="T91" fmla="*/ 105 h 214"/>
                <a:gd name="T92" fmla="*/ 252 w 253"/>
                <a:gd name="T93" fmla="*/ 83 h 214"/>
                <a:gd name="T94" fmla="*/ 252 w 253"/>
                <a:gd name="T95" fmla="*/ 60 h 214"/>
                <a:gd name="T96" fmla="*/ 247 w 253"/>
                <a:gd name="T97" fmla="*/ 28 h 214"/>
                <a:gd name="T98" fmla="*/ 242 w 253"/>
                <a:gd name="T99" fmla="*/ 8 h 214"/>
                <a:gd name="T100" fmla="*/ 239 w 253"/>
                <a:gd name="T101" fmla="*/ 16 h 214"/>
                <a:gd name="T102" fmla="*/ 228 w 253"/>
                <a:gd name="T103" fmla="*/ 29 h 214"/>
                <a:gd name="T104" fmla="*/ 216 w 253"/>
                <a:gd name="T105" fmla="*/ 36 h 214"/>
                <a:gd name="T106" fmla="*/ 206 w 253"/>
                <a:gd name="T107" fmla="*/ 38 h 214"/>
                <a:gd name="T108" fmla="*/ 195 w 253"/>
                <a:gd name="T109" fmla="*/ 37 h 214"/>
                <a:gd name="T110" fmla="*/ 183 w 253"/>
                <a:gd name="T111" fmla="*/ 33 h 214"/>
                <a:gd name="T112" fmla="*/ 177 w 253"/>
                <a:gd name="T113" fmla="*/ 3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3" h="214">
                  <a:moveTo>
                    <a:pt x="177" y="30"/>
                  </a:moveTo>
                  <a:lnTo>
                    <a:pt x="177" y="30"/>
                  </a:lnTo>
                  <a:lnTo>
                    <a:pt x="160" y="21"/>
                  </a:lnTo>
                  <a:lnTo>
                    <a:pt x="144" y="14"/>
                  </a:lnTo>
                  <a:lnTo>
                    <a:pt x="129" y="9"/>
                  </a:lnTo>
                  <a:lnTo>
                    <a:pt x="115" y="5"/>
                  </a:lnTo>
                  <a:lnTo>
                    <a:pt x="101" y="2"/>
                  </a:lnTo>
                  <a:lnTo>
                    <a:pt x="89" y="1"/>
                  </a:lnTo>
                  <a:lnTo>
                    <a:pt x="78" y="0"/>
                  </a:lnTo>
                  <a:lnTo>
                    <a:pt x="67" y="1"/>
                  </a:lnTo>
                  <a:lnTo>
                    <a:pt x="58" y="3"/>
                  </a:lnTo>
                  <a:lnTo>
                    <a:pt x="49" y="6"/>
                  </a:lnTo>
                  <a:lnTo>
                    <a:pt x="41" y="10"/>
                  </a:lnTo>
                  <a:lnTo>
                    <a:pt x="34" y="15"/>
                  </a:lnTo>
                  <a:lnTo>
                    <a:pt x="27" y="20"/>
                  </a:lnTo>
                  <a:lnTo>
                    <a:pt x="22" y="27"/>
                  </a:lnTo>
                  <a:lnTo>
                    <a:pt x="17" y="34"/>
                  </a:lnTo>
                  <a:lnTo>
                    <a:pt x="12" y="41"/>
                  </a:lnTo>
                  <a:lnTo>
                    <a:pt x="9" y="49"/>
                  </a:lnTo>
                  <a:lnTo>
                    <a:pt x="6" y="57"/>
                  </a:lnTo>
                  <a:lnTo>
                    <a:pt x="3" y="66"/>
                  </a:lnTo>
                  <a:lnTo>
                    <a:pt x="2" y="75"/>
                  </a:lnTo>
                  <a:lnTo>
                    <a:pt x="0" y="93"/>
                  </a:lnTo>
                  <a:lnTo>
                    <a:pt x="0" y="111"/>
                  </a:lnTo>
                  <a:lnTo>
                    <a:pt x="3" y="130"/>
                  </a:lnTo>
                  <a:lnTo>
                    <a:pt x="7" y="147"/>
                  </a:lnTo>
                  <a:lnTo>
                    <a:pt x="12" y="162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22" y="181"/>
                  </a:lnTo>
                  <a:lnTo>
                    <a:pt x="23" y="187"/>
                  </a:lnTo>
                  <a:lnTo>
                    <a:pt x="22" y="192"/>
                  </a:lnTo>
                  <a:lnTo>
                    <a:pt x="20" y="197"/>
                  </a:lnTo>
                  <a:lnTo>
                    <a:pt x="16" y="204"/>
                  </a:lnTo>
                  <a:lnTo>
                    <a:pt x="13" y="207"/>
                  </a:lnTo>
                  <a:lnTo>
                    <a:pt x="13" y="207"/>
                  </a:lnTo>
                  <a:lnTo>
                    <a:pt x="18" y="210"/>
                  </a:lnTo>
                  <a:lnTo>
                    <a:pt x="22" y="212"/>
                  </a:lnTo>
                  <a:lnTo>
                    <a:pt x="26" y="213"/>
                  </a:lnTo>
                  <a:lnTo>
                    <a:pt x="31" y="214"/>
                  </a:lnTo>
                  <a:lnTo>
                    <a:pt x="35" y="213"/>
                  </a:lnTo>
                  <a:lnTo>
                    <a:pt x="39" y="211"/>
                  </a:lnTo>
                  <a:lnTo>
                    <a:pt x="46" y="207"/>
                  </a:lnTo>
                  <a:lnTo>
                    <a:pt x="52" y="202"/>
                  </a:lnTo>
                  <a:lnTo>
                    <a:pt x="57" y="197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56" y="191"/>
                  </a:lnTo>
                  <a:lnTo>
                    <a:pt x="50" y="191"/>
                  </a:lnTo>
                  <a:lnTo>
                    <a:pt x="46" y="188"/>
                  </a:lnTo>
                  <a:lnTo>
                    <a:pt x="41" y="185"/>
                  </a:lnTo>
                  <a:lnTo>
                    <a:pt x="38" y="180"/>
                  </a:lnTo>
                  <a:lnTo>
                    <a:pt x="35" y="175"/>
                  </a:lnTo>
                  <a:lnTo>
                    <a:pt x="30" y="162"/>
                  </a:lnTo>
                  <a:lnTo>
                    <a:pt x="26" y="149"/>
                  </a:lnTo>
                  <a:lnTo>
                    <a:pt x="24" y="138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8" y="123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63" y="106"/>
                  </a:lnTo>
                  <a:lnTo>
                    <a:pt x="74" y="101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100" y="93"/>
                  </a:lnTo>
                  <a:lnTo>
                    <a:pt x="116" y="90"/>
                  </a:lnTo>
                  <a:lnTo>
                    <a:pt x="132" y="89"/>
                  </a:lnTo>
                  <a:lnTo>
                    <a:pt x="140" y="89"/>
                  </a:lnTo>
                  <a:lnTo>
                    <a:pt x="148" y="90"/>
                  </a:lnTo>
                  <a:lnTo>
                    <a:pt x="155" y="91"/>
                  </a:lnTo>
                  <a:lnTo>
                    <a:pt x="163" y="93"/>
                  </a:lnTo>
                  <a:lnTo>
                    <a:pt x="170" y="96"/>
                  </a:lnTo>
                  <a:lnTo>
                    <a:pt x="177" y="100"/>
                  </a:lnTo>
                  <a:lnTo>
                    <a:pt x="183" y="104"/>
                  </a:lnTo>
                  <a:lnTo>
                    <a:pt x="189" y="109"/>
                  </a:lnTo>
                  <a:lnTo>
                    <a:pt x="195" y="116"/>
                  </a:lnTo>
                  <a:lnTo>
                    <a:pt x="200" y="123"/>
                  </a:lnTo>
                  <a:lnTo>
                    <a:pt x="200" y="123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207" y="130"/>
                  </a:lnTo>
                  <a:lnTo>
                    <a:pt x="214" y="129"/>
                  </a:lnTo>
                  <a:lnTo>
                    <a:pt x="220" y="128"/>
                  </a:lnTo>
                  <a:lnTo>
                    <a:pt x="226" y="126"/>
                  </a:lnTo>
                  <a:lnTo>
                    <a:pt x="231" y="124"/>
                  </a:lnTo>
                  <a:lnTo>
                    <a:pt x="235" y="121"/>
                  </a:lnTo>
                  <a:lnTo>
                    <a:pt x="239" y="118"/>
                  </a:lnTo>
                  <a:lnTo>
                    <a:pt x="242" y="114"/>
                  </a:lnTo>
                  <a:lnTo>
                    <a:pt x="245" y="109"/>
                  </a:lnTo>
                  <a:lnTo>
                    <a:pt x="247" y="105"/>
                  </a:lnTo>
                  <a:lnTo>
                    <a:pt x="250" y="94"/>
                  </a:lnTo>
                  <a:lnTo>
                    <a:pt x="252" y="83"/>
                  </a:lnTo>
                  <a:lnTo>
                    <a:pt x="253" y="71"/>
                  </a:lnTo>
                  <a:lnTo>
                    <a:pt x="252" y="60"/>
                  </a:lnTo>
                  <a:lnTo>
                    <a:pt x="251" y="48"/>
                  </a:lnTo>
                  <a:lnTo>
                    <a:pt x="247" y="28"/>
                  </a:lnTo>
                  <a:lnTo>
                    <a:pt x="244" y="13"/>
                  </a:lnTo>
                  <a:lnTo>
                    <a:pt x="242" y="8"/>
                  </a:lnTo>
                  <a:lnTo>
                    <a:pt x="242" y="8"/>
                  </a:lnTo>
                  <a:lnTo>
                    <a:pt x="239" y="16"/>
                  </a:lnTo>
                  <a:lnTo>
                    <a:pt x="234" y="23"/>
                  </a:lnTo>
                  <a:lnTo>
                    <a:pt x="228" y="29"/>
                  </a:lnTo>
                  <a:lnTo>
                    <a:pt x="220" y="34"/>
                  </a:lnTo>
                  <a:lnTo>
                    <a:pt x="216" y="36"/>
                  </a:lnTo>
                  <a:lnTo>
                    <a:pt x="211" y="37"/>
                  </a:lnTo>
                  <a:lnTo>
                    <a:pt x="206" y="38"/>
                  </a:lnTo>
                  <a:lnTo>
                    <a:pt x="201" y="37"/>
                  </a:lnTo>
                  <a:lnTo>
                    <a:pt x="195" y="37"/>
                  </a:lnTo>
                  <a:lnTo>
                    <a:pt x="189" y="35"/>
                  </a:lnTo>
                  <a:lnTo>
                    <a:pt x="183" y="33"/>
                  </a:lnTo>
                  <a:lnTo>
                    <a:pt x="177" y="30"/>
                  </a:lnTo>
                  <a:lnTo>
                    <a:pt x="177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1B8045AC-1234-4FE9-A4CF-6ABE2F8F4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1109"/>
              <a:ext cx="92" cy="112"/>
            </a:xfrm>
            <a:custGeom>
              <a:avLst/>
              <a:gdLst>
                <a:gd name="T0" fmla="*/ 0 w 92"/>
                <a:gd name="T1" fmla="*/ 100 h 112"/>
                <a:gd name="T2" fmla="*/ 92 w 92"/>
                <a:gd name="T3" fmla="*/ 112 h 112"/>
                <a:gd name="T4" fmla="*/ 92 w 92"/>
                <a:gd name="T5" fmla="*/ 112 h 112"/>
                <a:gd name="T6" fmla="*/ 91 w 92"/>
                <a:gd name="T7" fmla="*/ 109 h 112"/>
                <a:gd name="T8" fmla="*/ 88 w 92"/>
                <a:gd name="T9" fmla="*/ 100 h 112"/>
                <a:gd name="T10" fmla="*/ 86 w 92"/>
                <a:gd name="T11" fmla="*/ 87 h 112"/>
                <a:gd name="T12" fmla="*/ 86 w 92"/>
                <a:gd name="T13" fmla="*/ 80 h 112"/>
                <a:gd name="T14" fmla="*/ 86 w 92"/>
                <a:gd name="T15" fmla="*/ 72 h 112"/>
                <a:gd name="T16" fmla="*/ 86 w 92"/>
                <a:gd name="T17" fmla="*/ 72 h 112"/>
                <a:gd name="T18" fmla="*/ 86 w 92"/>
                <a:gd name="T19" fmla="*/ 72 h 112"/>
                <a:gd name="T20" fmla="*/ 83 w 92"/>
                <a:gd name="T21" fmla="*/ 72 h 112"/>
                <a:gd name="T22" fmla="*/ 78 w 92"/>
                <a:gd name="T23" fmla="*/ 72 h 112"/>
                <a:gd name="T24" fmla="*/ 78 w 92"/>
                <a:gd name="T25" fmla="*/ 72 h 112"/>
                <a:gd name="T26" fmla="*/ 77 w 92"/>
                <a:gd name="T27" fmla="*/ 71 h 112"/>
                <a:gd name="T28" fmla="*/ 77 w 92"/>
                <a:gd name="T29" fmla="*/ 71 h 112"/>
                <a:gd name="T30" fmla="*/ 71 w 92"/>
                <a:gd name="T31" fmla="*/ 70 h 112"/>
                <a:gd name="T32" fmla="*/ 66 w 92"/>
                <a:gd name="T33" fmla="*/ 67 h 112"/>
                <a:gd name="T34" fmla="*/ 60 w 92"/>
                <a:gd name="T35" fmla="*/ 63 h 112"/>
                <a:gd name="T36" fmla="*/ 55 w 92"/>
                <a:gd name="T37" fmla="*/ 59 h 112"/>
                <a:gd name="T38" fmla="*/ 50 w 92"/>
                <a:gd name="T39" fmla="*/ 53 h 112"/>
                <a:gd name="T40" fmla="*/ 46 w 92"/>
                <a:gd name="T41" fmla="*/ 47 h 112"/>
                <a:gd name="T42" fmla="*/ 37 w 92"/>
                <a:gd name="T43" fmla="*/ 34 h 112"/>
                <a:gd name="T44" fmla="*/ 37 w 92"/>
                <a:gd name="T45" fmla="*/ 33 h 112"/>
                <a:gd name="T46" fmla="*/ 37 w 92"/>
                <a:gd name="T47" fmla="*/ 33 h 112"/>
                <a:gd name="T48" fmla="*/ 29 w 92"/>
                <a:gd name="T49" fmla="*/ 19 h 112"/>
                <a:gd name="T50" fmla="*/ 21 w 92"/>
                <a:gd name="T51" fmla="*/ 0 h 112"/>
                <a:gd name="T52" fmla="*/ 21 w 92"/>
                <a:gd name="T53" fmla="*/ 0 h 112"/>
                <a:gd name="T54" fmla="*/ 20 w 92"/>
                <a:gd name="T55" fmla="*/ 13 h 112"/>
                <a:gd name="T56" fmla="*/ 17 w 92"/>
                <a:gd name="T57" fmla="*/ 42 h 112"/>
                <a:gd name="T58" fmla="*/ 15 w 92"/>
                <a:gd name="T59" fmla="*/ 59 h 112"/>
                <a:gd name="T60" fmla="*/ 11 w 92"/>
                <a:gd name="T61" fmla="*/ 75 h 112"/>
                <a:gd name="T62" fmla="*/ 6 w 92"/>
                <a:gd name="T63" fmla="*/ 89 h 112"/>
                <a:gd name="T64" fmla="*/ 3 w 92"/>
                <a:gd name="T65" fmla="*/ 95 h 112"/>
                <a:gd name="T66" fmla="*/ 0 w 92"/>
                <a:gd name="T67" fmla="*/ 100 h 112"/>
                <a:gd name="T68" fmla="*/ 0 w 92"/>
                <a:gd name="T69" fmla="*/ 10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2" h="112">
                  <a:moveTo>
                    <a:pt x="0" y="100"/>
                  </a:moveTo>
                  <a:lnTo>
                    <a:pt x="92" y="112"/>
                  </a:lnTo>
                  <a:lnTo>
                    <a:pt x="92" y="112"/>
                  </a:lnTo>
                  <a:lnTo>
                    <a:pt x="91" y="109"/>
                  </a:lnTo>
                  <a:lnTo>
                    <a:pt x="88" y="100"/>
                  </a:lnTo>
                  <a:lnTo>
                    <a:pt x="86" y="87"/>
                  </a:lnTo>
                  <a:lnTo>
                    <a:pt x="86" y="80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1" y="70"/>
                  </a:lnTo>
                  <a:lnTo>
                    <a:pt x="66" y="67"/>
                  </a:lnTo>
                  <a:lnTo>
                    <a:pt x="60" y="63"/>
                  </a:lnTo>
                  <a:lnTo>
                    <a:pt x="55" y="59"/>
                  </a:lnTo>
                  <a:lnTo>
                    <a:pt x="50" y="53"/>
                  </a:lnTo>
                  <a:lnTo>
                    <a:pt x="46" y="47"/>
                  </a:lnTo>
                  <a:lnTo>
                    <a:pt x="37" y="34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29" y="19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0" y="13"/>
                  </a:lnTo>
                  <a:lnTo>
                    <a:pt x="17" y="42"/>
                  </a:lnTo>
                  <a:lnTo>
                    <a:pt x="15" y="59"/>
                  </a:lnTo>
                  <a:lnTo>
                    <a:pt x="11" y="75"/>
                  </a:lnTo>
                  <a:lnTo>
                    <a:pt x="6" y="89"/>
                  </a:lnTo>
                  <a:lnTo>
                    <a:pt x="3" y="95"/>
                  </a:lnTo>
                  <a:lnTo>
                    <a:pt x="0" y="10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495752C7-02CF-475C-BC8F-4146E8CCC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" y="1032"/>
              <a:ext cx="39" cy="77"/>
            </a:xfrm>
            <a:custGeom>
              <a:avLst/>
              <a:gdLst>
                <a:gd name="T0" fmla="*/ 39 w 39"/>
                <a:gd name="T1" fmla="*/ 76 h 77"/>
                <a:gd name="T2" fmla="*/ 39 w 39"/>
                <a:gd name="T3" fmla="*/ 76 h 77"/>
                <a:gd name="T4" fmla="*/ 37 w 39"/>
                <a:gd name="T5" fmla="*/ 76 h 77"/>
                <a:gd name="T6" fmla="*/ 35 w 39"/>
                <a:gd name="T7" fmla="*/ 74 h 77"/>
                <a:gd name="T8" fmla="*/ 30 w 39"/>
                <a:gd name="T9" fmla="*/ 68 h 77"/>
                <a:gd name="T10" fmla="*/ 25 w 39"/>
                <a:gd name="T11" fmla="*/ 60 h 77"/>
                <a:gd name="T12" fmla="*/ 21 w 39"/>
                <a:gd name="T13" fmla="*/ 50 h 77"/>
                <a:gd name="T14" fmla="*/ 18 w 39"/>
                <a:gd name="T15" fmla="*/ 39 h 77"/>
                <a:gd name="T16" fmla="*/ 17 w 39"/>
                <a:gd name="T17" fmla="*/ 28 h 77"/>
                <a:gd name="T18" fmla="*/ 17 w 39"/>
                <a:gd name="T19" fmla="*/ 19 h 77"/>
                <a:gd name="T20" fmla="*/ 18 w 39"/>
                <a:gd name="T21" fmla="*/ 15 h 77"/>
                <a:gd name="T22" fmla="*/ 20 w 39"/>
                <a:gd name="T23" fmla="*/ 11 h 77"/>
                <a:gd name="T24" fmla="*/ 20 w 39"/>
                <a:gd name="T25" fmla="*/ 11 h 77"/>
                <a:gd name="T26" fmla="*/ 22 w 39"/>
                <a:gd name="T27" fmla="*/ 9 h 77"/>
                <a:gd name="T28" fmla="*/ 25 w 39"/>
                <a:gd name="T29" fmla="*/ 8 h 77"/>
                <a:gd name="T30" fmla="*/ 22 w 39"/>
                <a:gd name="T31" fmla="*/ 0 h 77"/>
                <a:gd name="T32" fmla="*/ 22 w 39"/>
                <a:gd name="T33" fmla="*/ 0 h 77"/>
                <a:gd name="T34" fmla="*/ 6 w 39"/>
                <a:gd name="T35" fmla="*/ 9 h 77"/>
                <a:gd name="T36" fmla="*/ 0 w 39"/>
                <a:gd name="T37" fmla="*/ 12 h 77"/>
                <a:gd name="T38" fmla="*/ 0 w 39"/>
                <a:gd name="T39" fmla="*/ 12 h 77"/>
                <a:gd name="T40" fmla="*/ 2 w 39"/>
                <a:gd name="T41" fmla="*/ 24 h 77"/>
                <a:gd name="T42" fmla="*/ 4 w 39"/>
                <a:gd name="T43" fmla="*/ 35 h 77"/>
                <a:gd name="T44" fmla="*/ 8 w 39"/>
                <a:gd name="T45" fmla="*/ 48 h 77"/>
                <a:gd name="T46" fmla="*/ 13 w 39"/>
                <a:gd name="T47" fmla="*/ 61 h 77"/>
                <a:gd name="T48" fmla="*/ 16 w 39"/>
                <a:gd name="T49" fmla="*/ 66 h 77"/>
                <a:gd name="T50" fmla="*/ 19 w 39"/>
                <a:gd name="T51" fmla="*/ 71 h 77"/>
                <a:gd name="T52" fmla="*/ 24 w 39"/>
                <a:gd name="T53" fmla="*/ 74 h 77"/>
                <a:gd name="T54" fmla="*/ 28 w 39"/>
                <a:gd name="T55" fmla="*/ 77 h 77"/>
                <a:gd name="T56" fmla="*/ 34 w 39"/>
                <a:gd name="T57" fmla="*/ 77 h 77"/>
                <a:gd name="T58" fmla="*/ 39 w 39"/>
                <a:gd name="T59" fmla="*/ 76 h 77"/>
                <a:gd name="T60" fmla="*/ 39 w 39"/>
                <a:gd name="T61" fmla="*/ 7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" h="77">
                  <a:moveTo>
                    <a:pt x="39" y="76"/>
                  </a:moveTo>
                  <a:lnTo>
                    <a:pt x="39" y="76"/>
                  </a:lnTo>
                  <a:lnTo>
                    <a:pt x="37" y="76"/>
                  </a:lnTo>
                  <a:lnTo>
                    <a:pt x="35" y="74"/>
                  </a:lnTo>
                  <a:lnTo>
                    <a:pt x="30" y="68"/>
                  </a:lnTo>
                  <a:lnTo>
                    <a:pt x="25" y="60"/>
                  </a:lnTo>
                  <a:lnTo>
                    <a:pt x="21" y="50"/>
                  </a:lnTo>
                  <a:lnTo>
                    <a:pt x="18" y="39"/>
                  </a:lnTo>
                  <a:lnTo>
                    <a:pt x="17" y="28"/>
                  </a:lnTo>
                  <a:lnTo>
                    <a:pt x="17" y="19"/>
                  </a:lnTo>
                  <a:lnTo>
                    <a:pt x="18" y="15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2" y="9"/>
                  </a:lnTo>
                  <a:lnTo>
                    <a:pt x="25" y="8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24"/>
                  </a:lnTo>
                  <a:lnTo>
                    <a:pt x="4" y="35"/>
                  </a:lnTo>
                  <a:lnTo>
                    <a:pt x="8" y="48"/>
                  </a:lnTo>
                  <a:lnTo>
                    <a:pt x="13" y="61"/>
                  </a:lnTo>
                  <a:lnTo>
                    <a:pt x="16" y="66"/>
                  </a:lnTo>
                  <a:lnTo>
                    <a:pt x="19" y="71"/>
                  </a:lnTo>
                  <a:lnTo>
                    <a:pt x="24" y="74"/>
                  </a:lnTo>
                  <a:lnTo>
                    <a:pt x="28" y="77"/>
                  </a:lnTo>
                  <a:lnTo>
                    <a:pt x="34" y="77"/>
                  </a:lnTo>
                  <a:lnTo>
                    <a:pt x="39" y="76"/>
                  </a:lnTo>
                  <a:lnTo>
                    <a:pt x="39" y="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8C11BA7B-701D-41C5-A26B-5115E72FA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9" y="1017"/>
              <a:ext cx="160" cy="164"/>
            </a:xfrm>
            <a:custGeom>
              <a:avLst/>
              <a:gdLst>
                <a:gd name="T0" fmla="*/ 3 w 160"/>
                <a:gd name="T1" fmla="*/ 26 h 164"/>
                <a:gd name="T2" fmla="*/ 0 w 160"/>
                <a:gd name="T3" fmla="*/ 34 h 164"/>
                <a:gd name="T4" fmla="*/ 1 w 160"/>
                <a:gd name="T5" fmla="*/ 54 h 164"/>
                <a:gd name="T6" fmla="*/ 8 w 160"/>
                <a:gd name="T7" fmla="*/ 75 h 164"/>
                <a:gd name="T8" fmla="*/ 18 w 160"/>
                <a:gd name="T9" fmla="*/ 89 h 164"/>
                <a:gd name="T10" fmla="*/ 22 w 160"/>
                <a:gd name="T11" fmla="*/ 91 h 164"/>
                <a:gd name="T12" fmla="*/ 22 w 160"/>
                <a:gd name="T13" fmla="*/ 91 h 164"/>
                <a:gd name="T14" fmla="*/ 30 w 160"/>
                <a:gd name="T15" fmla="*/ 109 h 164"/>
                <a:gd name="T16" fmla="*/ 38 w 160"/>
                <a:gd name="T17" fmla="*/ 126 h 164"/>
                <a:gd name="T18" fmla="*/ 44 w 160"/>
                <a:gd name="T19" fmla="*/ 135 h 164"/>
                <a:gd name="T20" fmla="*/ 55 w 160"/>
                <a:gd name="T21" fmla="*/ 149 h 164"/>
                <a:gd name="T22" fmla="*/ 66 w 160"/>
                <a:gd name="T23" fmla="*/ 158 h 164"/>
                <a:gd name="T24" fmla="*/ 78 w 160"/>
                <a:gd name="T25" fmla="*/ 163 h 164"/>
                <a:gd name="T26" fmla="*/ 79 w 160"/>
                <a:gd name="T27" fmla="*/ 164 h 164"/>
                <a:gd name="T28" fmla="*/ 87 w 160"/>
                <a:gd name="T29" fmla="*/ 164 h 164"/>
                <a:gd name="T30" fmla="*/ 87 w 160"/>
                <a:gd name="T31" fmla="*/ 164 h 164"/>
                <a:gd name="T32" fmla="*/ 104 w 160"/>
                <a:gd name="T33" fmla="*/ 158 h 164"/>
                <a:gd name="T34" fmla="*/ 119 w 160"/>
                <a:gd name="T35" fmla="*/ 145 h 164"/>
                <a:gd name="T36" fmla="*/ 131 w 160"/>
                <a:gd name="T37" fmla="*/ 126 h 164"/>
                <a:gd name="T38" fmla="*/ 140 w 160"/>
                <a:gd name="T39" fmla="*/ 105 h 164"/>
                <a:gd name="T40" fmla="*/ 154 w 160"/>
                <a:gd name="T41" fmla="*/ 62 h 164"/>
                <a:gd name="T42" fmla="*/ 160 w 160"/>
                <a:gd name="T43" fmla="*/ 31 h 164"/>
                <a:gd name="T44" fmla="*/ 155 w 160"/>
                <a:gd name="T45" fmla="*/ 30 h 164"/>
                <a:gd name="T46" fmla="*/ 130 w 160"/>
                <a:gd name="T47" fmla="*/ 26 h 164"/>
                <a:gd name="T48" fmla="*/ 92 w 160"/>
                <a:gd name="T49" fmla="*/ 15 h 164"/>
                <a:gd name="T50" fmla="*/ 59 w 160"/>
                <a:gd name="T51" fmla="*/ 2 h 164"/>
                <a:gd name="T52" fmla="*/ 49 w 160"/>
                <a:gd name="T53" fmla="*/ 0 h 164"/>
                <a:gd name="T54" fmla="*/ 47 w 160"/>
                <a:gd name="T55" fmla="*/ 0 h 164"/>
                <a:gd name="T56" fmla="*/ 42 w 160"/>
                <a:gd name="T57" fmla="*/ 3 h 164"/>
                <a:gd name="T58" fmla="*/ 37 w 160"/>
                <a:gd name="T59" fmla="*/ 8 h 164"/>
                <a:gd name="T60" fmla="*/ 32 w 160"/>
                <a:gd name="T61" fmla="*/ 17 h 164"/>
                <a:gd name="T62" fmla="*/ 31 w 160"/>
                <a:gd name="T63" fmla="*/ 24 h 164"/>
                <a:gd name="T64" fmla="*/ 33 w 160"/>
                <a:gd name="T65" fmla="*/ 36 h 164"/>
                <a:gd name="T66" fmla="*/ 39 w 160"/>
                <a:gd name="T67" fmla="*/ 48 h 164"/>
                <a:gd name="T68" fmla="*/ 37 w 160"/>
                <a:gd name="T69" fmla="*/ 52 h 164"/>
                <a:gd name="T70" fmla="*/ 35 w 160"/>
                <a:gd name="T71" fmla="*/ 53 h 164"/>
                <a:gd name="T72" fmla="*/ 30 w 160"/>
                <a:gd name="T73" fmla="*/ 51 h 164"/>
                <a:gd name="T74" fmla="*/ 23 w 160"/>
                <a:gd name="T75" fmla="*/ 41 h 164"/>
                <a:gd name="T76" fmla="*/ 11 w 160"/>
                <a:gd name="T77" fmla="*/ 25 h 164"/>
                <a:gd name="T78" fmla="*/ 8 w 160"/>
                <a:gd name="T79" fmla="*/ 23 h 164"/>
                <a:gd name="T80" fmla="*/ 5 w 160"/>
                <a:gd name="T81" fmla="*/ 24 h 164"/>
                <a:gd name="T82" fmla="*/ 3 w 160"/>
                <a:gd name="T83" fmla="*/ 2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64">
                  <a:moveTo>
                    <a:pt x="3" y="26"/>
                  </a:moveTo>
                  <a:lnTo>
                    <a:pt x="3" y="26"/>
                  </a:lnTo>
                  <a:lnTo>
                    <a:pt x="1" y="30"/>
                  </a:lnTo>
                  <a:lnTo>
                    <a:pt x="0" y="34"/>
                  </a:lnTo>
                  <a:lnTo>
                    <a:pt x="0" y="43"/>
                  </a:lnTo>
                  <a:lnTo>
                    <a:pt x="1" y="54"/>
                  </a:lnTo>
                  <a:lnTo>
                    <a:pt x="4" y="65"/>
                  </a:lnTo>
                  <a:lnTo>
                    <a:pt x="8" y="75"/>
                  </a:lnTo>
                  <a:lnTo>
                    <a:pt x="13" y="83"/>
                  </a:lnTo>
                  <a:lnTo>
                    <a:pt x="18" y="89"/>
                  </a:lnTo>
                  <a:lnTo>
                    <a:pt x="20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30" y="109"/>
                  </a:lnTo>
                  <a:lnTo>
                    <a:pt x="38" y="125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44" y="135"/>
                  </a:lnTo>
                  <a:lnTo>
                    <a:pt x="50" y="143"/>
                  </a:lnTo>
                  <a:lnTo>
                    <a:pt x="55" y="149"/>
                  </a:lnTo>
                  <a:lnTo>
                    <a:pt x="61" y="154"/>
                  </a:lnTo>
                  <a:lnTo>
                    <a:pt x="66" y="158"/>
                  </a:lnTo>
                  <a:lnTo>
                    <a:pt x="70" y="160"/>
                  </a:lnTo>
                  <a:lnTo>
                    <a:pt x="78" y="163"/>
                  </a:lnTo>
                  <a:lnTo>
                    <a:pt x="78" y="163"/>
                  </a:lnTo>
                  <a:lnTo>
                    <a:pt x="79" y="164"/>
                  </a:lnTo>
                  <a:lnTo>
                    <a:pt x="79" y="164"/>
                  </a:lnTo>
                  <a:lnTo>
                    <a:pt x="87" y="164"/>
                  </a:lnTo>
                  <a:lnTo>
                    <a:pt x="87" y="164"/>
                  </a:lnTo>
                  <a:lnTo>
                    <a:pt x="87" y="164"/>
                  </a:lnTo>
                  <a:lnTo>
                    <a:pt x="96" y="162"/>
                  </a:lnTo>
                  <a:lnTo>
                    <a:pt x="104" y="158"/>
                  </a:lnTo>
                  <a:lnTo>
                    <a:pt x="112" y="152"/>
                  </a:lnTo>
                  <a:lnTo>
                    <a:pt x="119" y="145"/>
                  </a:lnTo>
                  <a:lnTo>
                    <a:pt x="125" y="136"/>
                  </a:lnTo>
                  <a:lnTo>
                    <a:pt x="131" y="126"/>
                  </a:lnTo>
                  <a:lnTo>
                    <a:pt x="136" y="116"/>
                  </a:lnTo>
                  <a:lnTo>
                    <a:pt x="140" y="105"/>
                  </a:lnTo>
                  <a:lnTo>
                    <a:pt x="148" y="83"/>
                  </a:lnTo>
                  <a:lnTo>
                    <a:pt x="154" y="62"/>
                  </a:lnTo>
                  <a:lnTo>
                    <a:pt x="158" y="44"/>
                  </a:lnTo>
                  <a:lnTo>
                    <a:pt x="160" y="31"/>
                  </a:lnTo>
                  <a:lnTo>
                    <a:pt x="160" y="31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30" y="26"/>
                  </a:lnTo>
                  <a:lnTo>
                    <a:pt x="109" y="21"/>
                  </a:lnTo>
                  <a:lnTo>
                    <a:pt x="92" y="15"/>
                  </a:lnTo>
                  <a:lnTo>
                    <a:pt x="79" y="10"/>
                  </a:lnTo>
                  <a:lnTo>
                    <a:pt x="59" y="2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4" y="1"/>
                  </a:lnTo>
                  <a:lnTo>
                    <a:pt x="42" y="3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4" y="13"/>
                  </a:lnTo>
                  <a:lnTo>
                    <a:pt x="32" y="17"/>
                  </a:lnTo>
                  <a:lnTo>
                    <a:pt x="31" y="21"/>
                  </a:lnTo>
                  <a:lnTo>
                    <a:pt x="31" y="24"/>
                  </a:lnTo>
                  <a:lnTo>
                    <a:pt x="31" y="31"/>
                  </a:lnTo>
                  <a:lnTo>
                    <a:pt x="33" y="36"/>
                  </a:lnTo>
                  <a:lnTo>
                    <a:pt x="38" y="45"/>
                  </a:lnTo>
                  <a:lnTo>
                    <a:pt x="39" y="48"/>
                  </a:lnTo>
                  <a:lnTo>
                    <a:pt x="38" y="50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0" y="51"/>
                  </a:lnTo>
                  <a:lnTo>
                    <a:pt x="27" y="46"/>
                  </a:lnTo>
                  <a:lnTo>
                    <a:pt x="23" y="41"/>
                  </a:lnTo>
                  <a:lnTo>
                    <a:pt x="15" y="29"/>
                  </a:lnTo>
                  <a:lnTo>
                    <a:pt x="11" y="25"/>
                  </a:lnTo>
                  <a:lnTo>
                    <a:pt x="10" y="24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5" y="24"/>
                  </a:lnTo>
                  <a:lnTo>
                    <a:pt x="3" y="26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B9A297C0-D6A3-4405-8DDD-A668F5D48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" y="1015"/>
              <a:ext cx="42" cy="55"/>
            </a:xfrm>
            <a:custGeom>
              <a:avLst/>
              <a:gdLst>
                <a:gd name="T0" fmla="*/ 0 w 42"/>
                <a:gd name="T1" fmla="*/ 17 h 55"/>
                <a:gd name="T2" fmla="*/ 3 w 42"/>
                <a:gd name="T3" fmla="*/ 25 h 55"/>
                <a:gd name="T4" fmla="*/ 3 w 42"/>
                <a:gd name="T5" fmla="*/ 25 h 55"/>
                <a:gd name="T6" fmla="*/ 5 w 42"/>
                <a:gd name="T7" fmla="*/ 26 h 55"/>
                <a:gd name="T8" fmla="*/ 6 w 42"/>
                <a:gd name="T9" fmla="*/ 27 h 55"/>
                <a:gd name="T10" fmla="*/ 10 w 42"/>
                <a:gd name="T11" fmla="*/ 31 h 55"/>
                <a:gd name="T12" fmla="*/ 18 w 42"/>
                <a:gd name="T13" fmla="*/ 43 h 55"/>
                <a:gd name="T14" fmla="*/ 22 w 42"/>
                <a:gd name="T15" fmla="*/ 48 h 55"/>
                <a:gd name="T16" fmla="*/ 25 w 42"/>
                <a:gd name="T17" fmla="*/ 53 h 55"/>
                <a:gd name="T18" fmla="*/ 29 w 42"/>
                <a:gd name="T19" fmla="*/ 55 h 55"/>
                <a:gd name="T20" fmla="*/ 30 w 42"/>
                <a:gd name="T21" fmla="*/ 55 h 55"/>
                <a:gd name="T22" fmla="*/ 32 w 42"/>
                <a:gd name="T23" fmla="*/ 54 h 55"/>
                <a:gd name="T24" fmla="*/ 32 w 42"/>
                <a:gd name="T25" fmla="*/ 54 h 55"/>
                <a:gd name="T26" fmla="*/ 33 w 42"/>
                <a:gd name="T27" fmla="*/ 52 h 55"/>
                <a:gd name="T28" fmla="*/ 34 w 42"/>
                <a:gd name="T29" fmla="*/ 50 h 55"/>
                <a:gd name="T30" fmla="*/ 33 w 42"/>
                <a:gd name="T31" fmla="*/ 47 h 55"/>
                <a:gd name="T32" fmla="*/ 28 w 42"/>
                <a:gd name="T33" fmla="*/ 38 h 55"/>
                <a:gd name="T34" fmla="*/ 26 w 42"/>
                <a:gd name="T35" fmla="*/ 33 h 55"/>
                <a:gd name="T36" fmla="*/ 26 w 42"/>
                <a:gd name="T37" fmla="*/ 26 h 55"/>
                <a:gd name="T38" fmla="*/ 26 w 42"/>
                <a:gd name="T39" fmla="*/ 23 h 55"/>
                <a:gd name="T40" fmla="*/ 27 w 42"/>
                <a:gd name="T41" fmla="*/ 19 h 55"/>
                <a:gd name="T42" fmla="*/ 29 w 42"/>
                <a:gd name="T43" fmla="*/ 15 h 55"/>
                <a:gd name="T44" fmla="*/ 32 w 42"/>
                <a:gd name="T45" fmla="*/ 10 h 55"/>
                <a:gd name="T46" fmla="*/ 32 w 42"/>
                <a:gd name="T47" fmla="*/ 10 h 55"/>
                <a:gd name="T48" fmla="*/ 37 w 42"/>
                <a:gd name="T49" fmla="*/ 5 h 55"/>
                <a:gd name="T50" fmla="*/ 39 w 42"/>
                <a:gd name="T51" fmla="*/ 3 h 55"/>
                <a:gd name="T52" fmla="*/ 42 w 42"/>
                <a:gd name="T53" fmla="*/ 2 h 55"/>
                <a:gd name="T54" fmla="*/ 41 w 42"/>
                <a:gd name="T55" fmla="*/ 0 h 55"/>
                <a:gd name="T56" fmla="*/ 41 w 42"/>
                <a:gd name="T57" fmla="*/ 0 h 55"/>
                <a:gd name="T58" fmla="*/ 30 w 42"/>
                <a:gd name="T59" fmla="*/ 4 h 55"/>
                <a:gd name="T60" fmla="*/ 19 w 42"/>
                <a:gd name="T61" fmla="*/ 9 h 55"/>
                <a:gd name="T62" fmla="*/ 0 w 42"/>
                <a:gd name="T63" fmla="*/ 17 h 55"/>
                <a:gd name="T64" fmla="*/ 0 w 42"/>
                <a:gd name="T65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" h="55">
                  <a:moveTo>
                    <a:pt x="0" y="17"/>
                  </a:moveTo>
                  <a:lnTo>
                    <a:pt x="3" y="25"/>
                  </a:lnTo>
                  <a:lnTo>
                    <a:pt x="3" y="25"/>
                  </a:lnTo>
                  <a:lnTo>
                    <a:pt x="5" y="26"/>
                  </a:lnTo>
                  <a:lnTo>
                    <a:pt x="6" y="27"/>
                  </a:lnTo>
                  <a:lnTo>
                    <a:pt x="10" y="31"/>
                  </a:lnTo>
                  <a:lnTo>
                    <a:pt x="18" y="43"/>
                  </a:lnTo>
                  <a:lnTo>
                    <a:pt x="22" y="48"/>
                  </a:lnTo>
                  <a:lnTo>
                    <a:pt x="25" y="53"/>
                  </a:lnTo>
                  <a:lnTo>
                    <a:pt x="29" y="55"/>
                  </a:lnTo>
                  <a:lnTo>
                    <a:pt x="30" y="55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3" y="47"/>
                  </a:lnTo>
                  <a:lnTo>
                    <a:pt x="28" y="38"/>
                  </a:lnTo>
                  <a:lnTo>
                    <a:pt x="26" y="33"/>
                  </a:lnTo>
                  <a:lnTo>
                    <a:pt x="26" y="26"/>
                  </a:lnTo>
                  <a:lnTo>
                    <a:pt x="26" y="23"/>
                  </a:lnTo>
                  <a:lnTo>
                    <a:pt x="27" y="19"/>
                  </a:lnTo>
                  <a:lnTo>
                    <a:pt x="29" y="15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7" y="5"/>
                  </a:lnTo>
                  <a:lnTo>
                    <a:pt x="39" y="3"/>
                  </a:lnTo>
                  <a:lnTo>
                    <a:pt x="42" y="2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0" y="4"/>
                  </a:lnTo>
                  <a:lnTo>
                    <a:pt x="19" y="9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59" name="Rectangle 40">
              <a:extLst>
                <a:ext uri="{FF2B5EF4-FFF2-40B4-BE49-F238E27FC236}">
                  <a16:creationId xmlns:a16="http://schemas.microsoft.com/office/drawing/2014/main" id="{741BD1D4-952B-4187-93C3-63D143041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1" y="1108"/>
              <a:ext cx="1" cy="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363C4EFD-E448-4E25-B98C-FA09197C4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5" y="1007"/>
              <a:ext cx="115" cy="41"/>
            </a:xfrm>
            <a:custGeom>
              <a:avLst/>
              <a:gdLst>
                <a:gd name="T0" fmla="*/ 0 w 115"/>
                <a:gd name="T1" fmla="*/ 8 h 41"/>
                <a:gd name="T2" fmla="*/ 1 w 115"/>
                <a:gd name="T3" fmla="*/ 10 h 41"/>
                <a:gd name="T4" fmla="*/ 1 w 115"/>
                <a:gd name="T5" fmla="*/ 10 h 41"/>
                <a:gd name="T6" fmla="*/ 3 w 115"/>
                <a:gd name="T7" fmla="*/ 10 h 41"/>
                <a:gd name="T8" fmla="*/ 6 w 115"/>
                <a:gd name="T9" fmla="*/ 10 h 41"/>
                <a:gd name="T10" fmla="*/ 13 w 115"/>
                <a:gd name="T11" fmla="*/ 12 h 41"/>
                <a:gd name="T12" fmla="*/ 33 w 115"/>
                <a:gd name="T13" fmla="*/ 20 h 41"/>
                <a:gd name="T14" fmla="*/ 46 w 115"/>
                <a:gd name="T15" fmla="*/ 25 h 41"/>
                <a:gd name="T16" fmla="*/ 63 w 115"/>
                <a:gd name="T17" fmla="*/ 31 h 41"/>
                <a:gd name="T18" fmla="*/ 84 w 115"/>
                <a:gd name="T19" fmla="*/ 36 h 41"/>
                <a:gd name="T20" fmla="*/ 109 w 115"/>
                <a:gd name="T21" fmla="*/ 40 h 41"/>
                <a:gd name="T22" fmla="*/ 109 w 115"/>
                <a:gd name="T23" fmla="*/ 40 h 41"/>
                <a:gd name="T24" fmla="*/ 114 w 115"/>
                <a:gd name="T25" fmla="*/ 41 h 41"/>
                <a:gd name="T26" fmla="*/ 114 w 115"/>
                <a:gd name="T27" fmla="*/ 41 h 41"/>
                <a:gd name="T28" fmla="*/ 115 w 115"/>
                <a:gd name="T29" fmla="*/ 34 h 41"/>
                <a:gd name="T30" fmla="*/ 115 w 115"/>
                <a:gd name="T31" fmla="*/ 34 h 41"/>
                <a:gd name="T32" fmla="*/ 110 w 115"/>
                <a:gd name="T33" fmla="*/ 27 h 41"/>
                <a:gd name="T34" fmla="*/ 104 w 115"/>
                <a:gd name="T35" fmla="*/ 20 h 41"/>
                <a:gd name="T36" fmla="*/ 98 w 115"/>
                <a:gd name="T37" fmla="*/ 15 h 41"/>
                <a:gd name="T38" fmla="*/ 92 w 115"/>
                <a:gd name="T39" fmla="*/ 11 h 41"/>
                <a:gd name="T40" fmla="*/ 85 w 115"/>
                <a:gd name="T41" fmla="*/ 7 h 41"/>
                <a:gd name="T42" fmla="*/ 78 w 115"/>
                <a:gd name="T43" fmla="*/ 4 h 41"/>
                <a:gd name="T44" fmla="*/ 70 w 115"/>
                <a:gd name="T45" fmla="*/ 2 h 41"/>
                <a:gd name="T46" fmla="*/ 63 w 115"/>
                <a:gd name="T47" fmla="*/ 1 h 41"/>
                <a:gd name="T48" fmla="*/ 55 w 115"/>
                <a:gd name="T49" fmla="*/ 0 h 41"/>
                <a:gd name="T50" fmla="*/ 47 w 115"/>
                <a:gd name="T51" fmla="*/ 0 h 41"/>
                <a:gd name="T52" fmla="*/ 31 w 115"/>
                <a:gd name="T53" fmla="*/ 1 h 41"/>
                <a:gd name="T54" fmla="*/ 15 w 115"/>
                <a:gd name="T55" fmla="*/ 4 h 41"/>
                <a:gd name="T56" fmla="*/ 0 w 115"/>
                <a:gd name="T57" fmla="*/ 8 h 41"/>
                <a:gd name="T58" fmla="*/ 0 w 115"/>
                <a:gd name="T59" fmla="*/ 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" h="41">
                  <a:moveTo>
                    <a:pt x="0" y="8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13" y="12"/>
                  </a:lnTo>
                  <a:lnTo>
                    <a:pt x="33" y="20"/>
                  </a:lnTo>
                  <a:lnTo>
                    <a:pt x="46" y="25"/>
                  </a:lnTo>
                  <a:lnTo>
                    <a:pt x="63" y="31"/>
                  </a:lnTo>
                  <a:lnTo>
                    <a:pt x="84" y="36"/>
                  </a:lnTo>
                  <a:lnTo>
                    <a:pt x="109" y="40"/>
                  </a:lnTo>
                  <a:lnTo>
                    <a:pt x="109" y="40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0" y="27"/>
                  </a:lnTo>
                  <a:lnTo>
                    <a:pt x="104" y="20"/>
                  </a:lnTo>
                  <a:lnTo>
                    <a:pt x="98" y="15"/>
                  </a:lnTo>
                  <a:lnTo>
                    <a:pt x="92" y="11"/>
                  </a:lnTo>
                  <a:lnTo>
                    <a:pt x="85" y="7"/>
                  </a:lnTo>
                  <a:lnTo>
                    <a:pt x="78" y="4"/>
                  </a:lnTo>
                  <a:lnTo>
                    <a:pt x="70" y="2"/>
                  </a:lnTo>
                  <a:lnTo>
                    <a:pt x="63" y="1"/>
                  </a:lnTo>
                  <a:lnTo>
                    <a:pt x="55" y="0"/>
                  </a:lnTo>
                  <a:lnTo>
                    <a:pt x="47" y="0"/>
                  </a:lnTo>
                  <a:lnTo>
                    <a:pt x="31" y="1"/>
                  </a:lnTo>
                  <a:lnTo>
                    <a:pt x="15" y="4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1" name="Freeform 42">
              <a:extLst>
                <a:ext uri="{FF2B5EF4-FFF2-40B4-BE49-F238E27FC236}">
                  <a16:creationId xmlns:a16="http://schemas.microsoft.com/office/drawing/2014/main" id="{C6314561-7D18-4103-A91E-3CE8C930A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143"/>
              <a:ext cx="40" cy="37"/>
            </a:xfrm>
            <a:custGeom>
              <a:avLst/>
              <a:gdLst>
                <a:gd name="T0" fmla="*/ 0 w 40"/>
                <a:gd name="T1" fmla="*/ 0 h 37"/>
                <a:gd name="T2" fmla="*/ 0 w 40"/>
                <a:gd name="T3" fmla="*/ 0 h 37"/>
                <a:gd name="T4" fmla="*/ 9 w 40"/>
                <a:gd name="T5" fmla="*/ 13 h 37"/>
                <a:gd name="T6" fmla="*/ 13 w 40"/>
                <a:gd name="T7" fmla="*/ 19 h 37"/>
                <a:gd name="T8" fmla="*/ 18 w 40"/>
                <a:gd name="T9" fmla="*/ 25 h 37"/>
                <a:gd name="T10" fmla="*/ 23 w 40"/>
                <a:gd name="T11" fmla="*/ 29 h 37"/>
                <a:gd name="T12" fmla="*/ 29 w 40"/>
                <a:gd name="T13" fmla="*/ 33 h 37"/>
                <a:gd name="T14" fmla="*/ 34 w 40"/>
                <a:gd name="T15" fmla="*/ 36 h 37"/>
                <a:gd name="T16" fmla="*/ 40 w 40"/>
                <a:gd name="T17" fmla="*/ 37 h 37"/>
                <a:gd name="T18" fmla="*/ 40 w 40"/>
                <a:gd name="T19" fmla="*/ 37 h 37"/>
                <a:gd name="T20" fmla="*/ 32 w 40"/>
                <a:gd name="T21" fmla="*/ 34 h 37"/>
                <a:gd name="T22" fmla="*/ 28 w 40"/>
                <a:gd name="T23" fmla="*/ 32 h 37"/>
                <a:gd name="T24" fmla="*/ 23 w 40"/>
                <a:gd name="T25" fmla="*/ 28 h 37"/>
                <a:gd name="T26" fmla="*/ 17 w 40"/>
                <a:gd name="T27" fmla="*/ 23 h 37"/>
                <a:gd name="T28" fmla="*/ 12 w 40"/>
                <a:gd name="T29" fmla="*/ 17 h 37"/>
                <a:gd name="T30" fmla="*/ 6 w 40"/>
                <a:gd name="T31" fmla="*/ 9 h 37"/>
                <a:gd name="T32" fmla="*/ 0 w 40"/>
                <a:gd name="T33" fmla="*/ 0 h 37"/>
                <a:gd name="T34" fmla="*/ 0 w 40"/>
                <a:gd name="T3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7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9"/>
                  </a:lnTo>
                  <a:lnTo>
                    <a:pt x="18" y="25"/>
                  </a:lnTo>
                  <a:lnTo>
                    <a:pt x="23" y="29"/>
                  </a:lnTo>
                  <a:lnTo>
                    <a:pt x="29" y="33"/>
                  </a:lnTo>
                  <a:lnTo>
                    <a:pt x="34" y="36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32" y="34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7" y="23"/>
                  </a:lnTo>
                  <a:lnTo>
                    <a:pt x="12" y="17"/>
                  </a:lnTo>
                  <a:lnTo>
                    <a:pt x="6" y="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2892D895-F9AD-4155-AE8D-14F1673E6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" y="1180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1 h 1"/>
                <a:gd name="T10" fmla="*/ 1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46307FB1-358E-44C5-AC97-B0EF06BE2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" y="1107"/>
              <a:ext cx="22" cy="37"/>
            </a:xfrm>
            <a:custGeom>
              <a:avLst/>
              <a:gdLst>
                <a:gd name="T0" fmla="*/ 15 w 22"/>
                <a:gd name="T1" fmla="*/ 37 h 37"/>
                <a:gd name="T2" fmla="*/ 15 w 22"/>
                <a:gd name="T3" fmla="*/ 37 h 37"/>
                <a:gd name="T4" fmla="*/ 7 w 22"/>
                <a:gd name="T5" fmla="*/ 21 h 37"/>
                <a:gd name="T6" fmla="*/ 0 w 22"/>
                <a:gd name="T7" fmla="*/ 3 h 37"/>
                <a:gd name="T8" fmla="*/ 7 w 22"/>
                <a:gd name="T9" fmla="*/ 0 h 37"/>
                <a:gd name="T10" fmla="*/ 7 w 22"/>
                <a:gd name="T11" fmla="*/ 0 h 37"/>
                <a:gd name="T12" fmla="*/ 15 w 22"/>
                <a:gd name="T13" fmla="*/ 18 h 37"/>
                <a:gd name="T14" fmla="*/ 22 w 22"/>
                <a:gd name="T15" fmla="*/ 33 h 37"/>
                <a:gd name="T16" fmla="*/ 15 w 22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15" y="37"/>
                  </a:moveTo>
                  <a:lnTo>
                    <a:pt x="15" y="37"/>
                  </a:lnTo>
                  <a:lnTo>
                    <a:pt x="7" y="21"/>
                  </a:lnTo>
                  <a:lnTo>
                    <a:pt x="0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15" y="18"/>
                  </a:lnTo>
                  <a:lnTo>
                    <a:pt x="22" y="33"/>
                  </a:lnTo>
                  <a:lnTo>
                    <a:pt x="15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4" name="Freeform 45">
              <a:extLst>
                <a:ext uri="{FF2B5EF4-FFF2-40B4-BE49-F238E27FC236}">
                  <a16:creationId xmlns:a16="http://schemas.microsoft.com/office/drawing/2014/main" id="{6709C99C-D88B-45F4-A5C9-D3CAE83AD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4" y="1141"/>
              <a:ext cx="52" cy="44"/>
            </a:xfrm>
            <a:custGeom>
              <a:avLst/>
              <a:gdLst>
                <a:gd name="T0" fmla="*/ 49 w 52"/>
                <a:gd name="T1" fmla="*/ 44 h 44"/>
                <a:gd name="T2" fmla="*/ 49 w 52"/>
                <a:gd name="T3" fmla="*/ 44 h 44"/>
                <a:gd name="T4" fmla="*/ 44 w 52"/>
                <a:gd name="T5" fmla="*/ 44 h 44"/>
                <a:gd name="T6" fmla="*/ 44 w 52"/>
                <a:gd name="T7" fmla="*/ 44 h 44"/>
                <a:gd name="T8" fmla="*/ 42 w 52"/>
                <a:gd name="T9" fmla="*/ 43 h 44"/>
                <a:gd name="T10" fmla="*/ 42 w 52"/>
                <a:gd name="T11" fmla="*/ 43 h 44"/>
                <a:gd name="T12" fmla="*/ 36 w 52"/>
                <a:gd name="T13" fmla="*/ 42 h 44"/>
                <a:gd name="T14" fmla="*/ 31 w 52"/>
                <a:gd name="T15" fmla="*/ 39 h 44"/>
                <a:gd name="T16" fmla="*/ 25 w 52"/>
                <a:gd name="T17" fmla="*/ 35 h 44"/>
                <a:gd name="T18" fmla="*/ 20 w 52"/>
                <a:gd name="T19" fmla="*/ 31 h 44"/>
                <a:gd name="T20" fmla="*/ 15 w 52"/>
                <a:gd name="T21" fmla="*/ 26 h 44"/>
                <a:gd name="T22" fmla="*/ 10 w 52"/>
                <a:gd name="T23" fmla="*/ 19 h 44"/>
                <a:gd name="T24" fmla="*/ 0 w 52"/>
                <a:gd name="T25" fmla="*/ 4 h 44"/>
                <a:gd name="T26" fmla="*/ 7 w 52"/>
                <a:gd name="T27" fmla="*/ 0 h 44"/>
                <a:gd name="T28" fmla="*/ 7 w 52"/>
                <a:gd name="T29" fmla="*/ 0 h 44"/>
                <a:gd name="T30" fmla="*/ 16 w 52"/>
                <a:gd name="T31" fmla="*/ 14 h 44"/>
                <a:gd name="T32" fmla="*/ 25 w 52"/>
                <a:gd name="T33" fmla="*/ 25 h 44"/>
                <a:gd name="T34" fmla="*/ 30 w 52"/>
                <a:gd name="T35" fmla="*/ 29 h 44"/>
                <a:gd name="T36" fmla="*/ 34 w 52"/>
                <a:gd name="T37" fmla="*/ 32 h 44"/>
                <a:gd name="T38" fmla="*/ 39 w 52"/>
                <a:gd name="T39" fmla="*/ 34 h 44"/>
                <a:gd name="T40" fmla="*/ 44 w 52"/>
                <a:gd name="T41" fmla="*/ 35 h 44"/>
                <a:gd name="T42" fmla="*/ 44 w 52"/>
                <a:gd name="T43" fmla="*/ 36 h 44"/>
                <a:gd name="T44" fmla="*/ 45 w 52"/>
                <a:gd name="T45" fmla="*/ 36 h 44"/>
                <a:gd name="T46" fmla="*/ 45 w 52"/>
                <a:gd name="T47" fmla="*/ 36 h 44"/>
                <a:gd name="T48" fmla="*/ 52 w 52"/>
                <a:gd name="T49" fmla="*/ 36 h 44"/>
                <a:gd name="T50" fmla="*/ 52 w 52"/>
                <a:gd name="T51" fmla="*/ 44 h 44"/>
                <a:gd name="T52" fmla="*/ 52 w 52"/>
                <a:gd name="T53" fmla="*/ 44 h 44"/>
                <a:gd name="T54" fmla="*/ 49 w 52"/>
                <a:gd name="T55" fmla="*/ 44 h 44"/>
                <a:gd name="T56" fmla="*/ 49 w 52"/>
                <a:gd name="T5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" h="44">
                  <a:moveTo>
                    <a:pt x="49" y="44"/>
                  </a:moveTo>
                  <a:lnTo>
                    <a:pt x="49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36" y="42"/>
                  </a:lnTo>
                  <a:lnTo>
                    <a:pt x="31" y="39"/>
                  </a:lnTo>
                  <a:lnTo>
                    <a:pt x="25" y="35"/>
                  </a:lnTo>
                  <a:lnTo>
                    <a:pt x="20" y="31"/>
                  </a:lnTo>
                  <a:lnTo>
                    <a:pt x="15" y="26"/>
                  </a:lnTo>
                  <a:lnTo>
                    <a:pt x="10" y="19"/>
                  </a:lnTo>
                  <a:lnTo>
                    <a:pt x="0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16" y="14"/>
                  </a:lnTo>
                  <a:lnTo>
                    <a:pt x="25" y="25"/>
                  </a:lnTo>
                  <a:lnTo>
                    <a:pt x="30" y="29"/>
                  </a:lnTo>
                  <a:lnTo>
                    <a:pt x="34" y="32"/>
                  </a:lnTo>
                  <a:lnTo>
                    <a:pt x="39" y="34"/>
                  </a:lnTo>
                  <a:lnTo>
                    <a:pt x="44" y="35"/>
                  </a:lnTo>
                  <a:lnTo>
                    <a:pt x="44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52" y="36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9" y="44"/>
                  </a:lnTo>
                  <a:lnTo>
                    <a:pt x="49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5" name="Freeform 46">
              <a:extLst>
                <a:ext uri="{FF2B5EF4-FFF2-40B4-BE49-F238E27FC236}">
                  <a16:creationId xmlns:a16="http://schemas.microsoft.com/office/drawing/2014/main" id="{31CE4C62-97A7-4CB5-9F5C-1ABD7ABFF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" y="1047"/>
              <a:ext cx="77" cy="138"/>
            </a:xfrm>
            <a:custGeom>
              <a:avLst/>
              <a:gdLst>
                <a:gd name="T0" fmla="*/ 1 w 77"/>
                <a:gd name="T1" fmla="*/ 138 h 138"/>
                <a:gd name="T2" fmla="*/ 0 w 77"/>
                <a:gd name="T3" fmla="*/ 130 h 138"/>
                <a:gd name="T4" fmla="*/ 0 w 77"/>
                <a:gd name="T5" fmla="*/ 130 h 138"/>
                <a:gd name="T6" fmla="*/ 8 w 77"/>
                <a:gd name="T7" fmla="*/ 128 h 138"/>
                <a:gd name="T8" fmla="*/ 16 w 77"/>
                <a:gd name="T9" fmla="*/ 124 h 138"/>
                <a:gd name="T10" fmla="*/ 23 w 77"/>
                <a:gd name="T11" fmla="*/ 118 h 138"/>
                <a:gd name="T12" fmla="*/ 30 w 77"/>
                <a:gd name="T13" fmla="*/ 110 h 138"/>
                <a:gd name="T14" fmla="*/ 36 w 77"/>
                <a:gd name="T15" fmla="*/ 102 h 138"/>
                <a:gd name="T16" fmla="*/ 41 w 77"/>
                <a:gd name="T17" fmla="*/ 92 h 138"/>
                <a:gd name="T18" fmla="*/ 46 w 77"/>
                <a:gd name="T19" fmla="*/ 82 h 138"/>
                <a:gd name="T20" fmla="*/ 51 w 77"/>
                <a:gd name="T21" fmla="*/ 71 h 138"/>
                <a:gd name="T22" fmla="*/ 58 w 77"/>
                <a:gd name="T23" fmla="*/ 49 h 138"/>
                <a:gd name="T24" fmla="*/ 64 w 77"/>
                <a:gd name="T25" fmla="*/ 28 h 138"/>
                <a:gd name="T26" fmla="*/ 67 w 77"/>
                <a:gd name="T27" fmla="*/ 11 h 138"/>
                <a:gd name="T28" fmla="*/ 69 w 77"/>
                <a:gd name="T29" fmla="*/ 0 h 138"/>
                <a:gd name="T30" fmla="*/ 77 w 77"/>
                <a:gd name="T31" fmla="*/ 1 h 138"/>
                <a:gd name="T32" fmla="*/ 77 w 77"/>
                <a:gd name="T33" fmla="*/ 1 h 138"/>
                <a:gd name="T34" fmla="*/ 75 w 77"/>
                <a:gd name="T35" fmla="*/ 16 h 138"/>
                <a:gd name="T36" fmla="*/ 70 w 77"/>
                <a:gd name="T37" fmla="*/ 35 h 138"/>
                <a:gd name="T38" fmla="*/ 64 w 77"/>
                <a:gd name="T39" fmla="*/ 56 h 138"/>
                <a:gd name="T40" fmla="*/ 56 w 77"/>
                <a:gd name="T41" fmla="*/ 79 h 138"/>
                <a:gd name="T42" fmla="*/ 51 w 77"/>
                <a:gd name="T43" fmla="*/ 90 h 138"/>
                <a:gd name="T44" fmla="*/ 46 w 77"/>
                <a:gd name="T45" fmla="*/ 100 h 138"/>
                <a:gd name="T46" fmla="*/ 40 w 77"/>
                <a:gd name="T47" fmla="*/ 110 h 138"/>
                <a:gd name="T48" fmla="*/ 33 w 77"/>
                <a:gd name="T49" fmla="*/ 118 h 138"/>
                <a:gd name="T50" fmla="*/ 26 w 77"/>
                <a:gd name="T51" fmla="*/ 126 h 138"/>
                <a:gd name="T52" fmla="*/ 18 w 77"/>
                <a:gd name="T53" fmla="*/ 132 h 138"/>
                <a:gd name="T54" fmla="*/ 10 w 77"/>
                <a:gd name="T55" fmla="*/ 136 h 138"/>
                <a:gd name="T56" fmla="*/ 1 w 77"/>
                <a:gd name="T57" fmla="*/ 138 h 138"/>
                <a:gd name="T58" fmla="*/ 1 w 77"/>
                <a:gd name="T5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7" h="138">
                  <a:moveTo>
                    <a:pt x="1" y="138"/>
                  </a:moveTo>
                  <a:lnTo>
                    <a:pt x="0" y="130"/>
                  </a:lnTo>
                  <a:lnTo>
                    <a:pt x="0" y="130"/>
                  </a:lnTo>
                  <a:lnTo>
                    <a:pt x="8" y="128"/>
                  </a:lnTo>
                  <a:lnTo>
                    <a:pt x="16" y="124"/>
                  </a:lnTo>
                  <a:lnTo>
                    <a:pt x="23" y="118"/>
                  </a:lnTo>
                  <a:lnTo>
                    <a:pt x="30" y="110"/>
                  </a:lnTo>
                  <a:lnTo>
                    <a:pt x="36" y="102"/>
                  </a:lnTo>
                  <a:lnTo>
                    <a:pt x="41" y="92"/>
                  </a:lnTo>
                  <a:lnTo>
                    <a:pt x="46" y="82"/>
                  </a:lnTo>
                  <a:lnTo>
                    <a:pt x="51" y="71"/>
                  </a:lnTo>
                  <a:lnTo>
                    <a:pt x="58" y="49"/>
                  </a:lnTo>
                  <a:lnTo>
                    <a:pt x="64" y="28"/>
                  </a:lnTo>
                  <a:lnTo>
                    <a:pt x="67" y="11"/>
                  </a:lnTo>
                  <a:lnTo>
                    <a:pt x="69" y="0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5" y="16"/>
                  </a:lnTo>
                  <a:lnTo>
                    <a:pt x="70" y="35"/>
                  </a:lnTo>
                  <a:lnTo>
                    <a:pt x="64" y="56"/>
                  </a:lnTo>
                  <a:lnTo>
                    <a:pt x="56" y="79"/>
                  </a:lnTo>
                  <a:lnTo>
                    <a:pt x="51" y="90"/>
                  </a:lnTo>
                  <a:lnTo>
                    <a:pt x="46" y="100"/>
                  </a:lnTo>
                  <a:lnTo>
                    <a:pt x="40" y="110"/>
                  </a:lnTo>
                  <a:lnTo>
                    <a:pt x="33" y="118"/>
                  </a:lnTo>
                  <a:lnTo>
                    <a:pt x="26" y="126"/>
                  </a:lnTo>
                  <a:lnTo>
                    <a:pt x="18" y="132"/>
                  </a:lnTo>
                  <a:lnTo>
                    <a:pt x="10" y="136"/>
                  </a:lnTo>
                  <a:lnTo>
                    <a:pt x="1" y="138"/>
                  </a:lnTo>
                  <a:lnTo>
                    <a:pt x="1" y="1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6" name="Freeform 47">
              <a:extLst>
                <a:ext uri="{FF2B5EF4-FFF2-40B4-BE49-F238E27FC236}">
                  <a16:creationId xmlns:a16="http://schemas.microsoft.com/office/drawing/2014/main" id="{0B26B68A-DEE7-4233-A414-AFD0CFC406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6" y="1105"/>
              <a:ext cx="100" cy="120"/>
            </a:xfrm>
            <a:custGeom>
              <a:avLst/>
              <a:gdLst>
                <a:gd name="T0" fmla="*/ 96 w 100"/>
                <a:gd name="T1" fmla="*/ 120 h 120"/>
                <a:gd name="T2" fmla="*/ 4 w 100"/>
                <a:gd name="T3" fmla="*/ 108 h 120"/>
                <a:gd name="T4" fmla="*/ 0 w 100"/>
                <a:gd name="T5" fmla="*/ 105 h 120"/>
                <a:gd name="T6" fmla="*/ 0 w 100"/>
                <a:gd name="T7" fmla="*/ 103 h 120"/>
                <a:gd name="T8" fmla="*/ 1 w 100"/>
                <a:gd name="T9" fmla="*/ 101 h 120"/>
                <a:gd name="T10" fmla="*/ 7 w 100"/>
                <a:gd name="T11" fmla="*/ 91 h 120"/>
                <a:gd name="T12" fmla="*/ 15 w 100"/>
                <a:gd name="T13" fmla="*/ 62 h 120"/>
                <a:gd name="T14" fmla="*/ 20 w 100"/>
                <a:gd name="T15" fmla="*/ 17 h 120"/>
                <a:gd name="T16" fmla="*/ 21 w 100"/>
                <a:gd name="T17" fmla="*/ 4 h 120"/>
                <a:gd name="T18" fmla="*/ 24 w 100"/>
                <a:gd name="T19" fmla="*/ 0 h 120"/>
                <a:gd name="T20" fmla="*/ 27 w 100"/>
                <a:gd name="T21" fmla="*/ 1 h 120"/>
                <a:gd name="T22" fmla="*/ 29 w 100"/>
                <a:gd name="T23" fmla="*/ 3 h 120"/>
                <a:gd name="T24" fmla="*/ 44 w 100"/>
                <a:gd name="T25" fmla="*/ 35 h 120"/>
                <a:gd name="T26" fmla="*/ 44 w 100"/>
                <a:gd name="T27" fmla="*/ 36 h 120"/>
                <a:gd name="T28" fmla="*/ 56 w 100"/>
                <a:gd name="T29" fmla="*/ 52 h 120"/>
                <a:gd name="T30" fmla="*/ 66 w 100"/>
                <a:gd name="T31" fmla="*/ 62 h 120"/>
                <a:gd name="T32" fmla="*/ 75 w 100"/>
                <a:gd name="T33" fmla="*/ 69 h 120"/>
                <a:gd name="T34" fmla="*/ 83 w 100"/>
                <a:gd name="T35" fmla="*/ 72 h 120"/>
                <a:gd name="T36" fmla="*/ 87 w 100"/>
                <a:gd name="T37" fmla="*/ 72 h 120"/>
                <a:gd name="T38" fmla="*/ 89 w 100"/>
                <a:gd name="T39" fmla="*/ 72 h 120"/>
                <a:gd name="T40" fmla="*/ 91 w 100"/>
                <a:gd name="T41" fmla="*/ 72 h 120"/>
                <a:gd name="T42" fmla="*/ 93 w 100"/>
                <a:gd name="T43" fmla="*/ 73 h 120"/>
                <a:gd name="T44" fmla="*/ 94 w 100"/>
                <a:gd name="T45" fmla="*/ 76 h 120"/>
                <a:gd name="T46" fmla="*/ 94 w 100"/>
                <a:gd name="T47" fmla="*/ 84 h 120"/>
                <a:gd name="T48" fmla="*/ 96 w 100"/>
                <a:gd name="T49" fmla="*/ 103 h 120"/>
                <a:gd name="T50" fmla="*/ 100 w 100"/>
                <a:gd name="T51" fmla="*/ 114 h 120"/>
                <a:gd name="T52" fmla="*/ 100 w 100"/>
                <a:gd name="T53" fmla="*/ 117 h 120"/>
                <a:gd name="T54" fmla="*/ 99 w 100"/>
                <a:gd name="T55" fmla="*/ 119 h 120"/>
                <a:gd name="T56" fmla="*/ 96 w 100"/>
                <a:gd name="T57" fmla="*/ 120 h 120"/>
                <a:gd name="T58" fmla="*/ 11 w 100"/>
                <a:gd name="T59" fmla="*/ 101 h 120"/>
                <a:gd name="T60" fmla="*/ 90 w 100"/>
                <a:gd name="T61" fmla="*/ 111 h 120"/>
                <a:gd name="T62" fmla="*/ 87 w 100"/>
                <a:gd name="T63" fmla="*/ 98 h 120"/>
                <a:gd name="T64" fmla="*/ 86 w 100"/>
                <a:gd name="T65" fmla="*/ 80 h 120"/>
                <a:gd name="T66" fmla="*/ 81 w 100"/>
                <a:gd name="T67" fmla="*/ 80 h 120"/>
                <a:gd name="T68" fmla="*/ 80 w 100"/>
                <a:gd name="T69" fmla="*/ 79 h 120"/>
                <a:gd name="T70" fmla="*/ 71 w 100"/>
                <a:gd name="T71" fmla="*/ 76 h 120"/>
                <a:gd name="T72" fmla="*/ 61 w 100"/>
                <a:gd name="T73" fmla="*/ 69 h 120"/>
                <a:gd name="T74" fmla="*/ 50 w 100"/>
                <a:gd name="T75" fmla="*/ 57 h 120"/>
                <a:gd name="T76" fmla="*/ 38 w 100"/>
                <a:gd name="T77" fmla="*/ 40 h 120"/>
                <a:gd name="T78" fmla="*/ 38 w 100"/>
                <a:gd name="T79" fmla="*/ 39 h 120"/>
                <a:gd name="T80" fmla="*/ 28 w 100"/>
                <a:gd name="T81" fmla="*/ 21 h 120"/>
                <a:gd name="T82" fmla="*/ 26 w 100"/>
                <a:gd name="T83" fmla="*/ 40 h 120"/>
                <a:gd name="T84" fmla="*/ 21 w 100"/>
                <a:gd name="T85" fmla="*/ 73 h 120"/>
                <a:gd name="T86" fmla="*/ 15 w 100"/>
                <a:gd name="T87" fmla="*/ 93 h 120"/>
                <a:gd name="T88" fmla="*/ 11 w 100"/>
                <a:gd name="T89" fmla="*/ 10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0" h="120">
                  <a:moveTo>
                    <a:pt x="96" y="120"/>
                  </a:moveTo>
                  <a:lnTo>
                    <a:pt x="96" y="120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2" y="107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3"/>
                  </a:lnTo>
                  <a:lnTo>
                    <a:pt x="1" y="101"/>
                  </a:lnTo>
                  <a:lnTo>
                    <a:pt x="1" y="101"/>
                  </a:lnTo>
                  <a:lnTo>
                    <a:pt x="4" y="97"/>
                  </a:lnTo>
                  <a:lnTo>
                    <a:pt x="7" y="91"/>
                  </a:lnTo>
                  <a:lnTo>
                    <a:pt x="11" y="78"/>
                  </a:lnTo>
                  <a:lnTo>
                    <a:pt x="15" y="62"/>
                  </a:lnTo>
                  <a:lnTo>
                    <a:pt x="17" y="45"/>
                  </a:lnTo>
                  <a:lnTo>
                    <a:pt x="20" y="17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2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7" y="1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6" y="20"/>
                  </a:lnTo>
                  <a:lnTo>
                    <a:pt x="44" y="35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50" y="44"/>
                  </a:lnTo>
                  <a:lnTo>
                    <a:pt x="56" y="52"/>
                  </a:lnTo>
                  <a:lnTo>
                    <a:pt x="61" y="58"/>
                  </a:lnTo>
                  <a:lnTo>
                    <a:pt x="66" y="62"/>
                  </a:lnTo>
                  <a:lnTo>
                    <a:pt x="70" y="66"/>
                  </a:lnTo>
                  <a:lnTo>
                    <a:pt x="75" y="69"/>
                  </a:lnTo>
                  <a:lnTo>
                    <a:pt x="82" y="71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1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4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84"/>
                  </a:lnTo>
                  <a:lnTo>
                    <a:pt x="94" y="91"/>
                  </a:lnTo>
                  <a:lnTo>
                    <a:pt x="96" y="103"/>
                  </a:lnTo>
                  <a:lnTo>
                    <a:pt x="98" y="111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7"/>
                  </a:lnTo>
                  <a:lnTo>
                    <a:pt x="99" y="119"/>
                  </a:lnTo>
                  <a:lnTo>
                    <a:pt x="99" y="119"/>
                  </a:lnTo>
                  <a:lnTo>
                    <a:pt x="98" y="120"/>
                  </a:lnTo>
                  <a:lnTo>
                    <a:pt x="96" y="120"/>
                  </a:lnTo>
                  <a:lnTo>
                    <a:pt x="96" y="120"/>
                  </a:lnTo>
                  <a:close/>
                  <a:moveTo>
                    <a:pt x="11" y="101"/>
                  </a:moveTo>
                  <a:lnTo>
                    <a:pt x="90" y="111"/>
                  </a:lnTo>
                  <a:lnTo>
                    <a:pt x="90" y="111"/>
                  </a:lnTo>
                  <a:lnTo>
                    <a:pt x="88" y="105"/>
                  </a:lnTo>
                  <a:lnTo>
                    <a:pt x="87" y="98"/>
                  </a:lnTo>
                  <a:lnTo>
                    <a:pt x="86" y="90"/>
                  </a:lnTo>
                  <a:lnTo>
                    <a:pt x="86" y="80"/>
                  </a:lnTo>
                  <a:lnTo>
                    <a:pt x="86" y="80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71" y="76"/>
                  </a:lnTo>
                  <a:lnTo>
                    <a:pt x="66" y="73"/>
                  </a:lnTo>
                  <a:lnTo>
                    <a:pt x="61" y="69"/>
                  </a:lnTo>
                  <a:lnTo>
                    <a:pt x="56" y="64"/>
                  </a:lnTo>
                  <a:lnTo>
                    <a:pt x="50" y="57"/>
                  </a:lnTo>
                  <a:lnTo>
                    <a:pt x="44" y="49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6" y="40"/>
                  </a:lnTo>
                  <a:lnTo>
                    <a:pt x="23" y="62"/>
                  </a:lnTo>
                  <a:lnTo>
                    <a:pt x="21" y="73"/>
                  </a:lnTo>
                  <a:lnTo>
                    <a:pt x="18" y="83"/>
                  </a:lnTo>
                  <a:lnTo>
                    <a:pt x="15" y="93"/>
                  </a:lnTo>
                  <a:lnTo>
                    <a:pt x="11" y="101"/>
                  </a:lnTo>
                  <a:lnTo>
                    <a:pt x="11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7" name="Freeform 48">
              <a:extLst>
                <a:ext uri="{FF2B5EF4-FFF2-40B4-BE49-F238E27FC236}">
                  <a16:creationId xmlns:a16="http://schemas.microsoft.com/office/drawing/2014/main" id="{AD5D8930-B6BD-43B6-99D9-2E6170286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2" y="1208"/>
              <a:ext cx="92" cy="540"/>
            </a:xfrm>
            <a:custGeom>
              <a:avLst/>
              <a:gdLst>
                <a:gd name="T0" fmla="*/ 0 w 92"/>
                <a:gd name="T1" fmla="*/ 0 h 540"/>
                <a:gd name="T2" fmla="*/ 12 w 92"/>
                <a:gd name="T3" fmla="*/ 540 h 540"/>
                <a:gd name="T4" fmla="*/ 92 w 92"/>
                <a:gd name="T5" fmla="*/ 12 h 540"/>
                <a:gd name="T6" fmla="*/ 0 w 92"/>
                <a:gd name="T7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540">
                  <a:moveTo>
                    <a:pt x="0" y="0"/>
                  </a:moveTo>
                  <a:lnTo>
                    <a:pt x="12" y="540"/>
                  </a:lnTo>
                  <a:lnTo>
                    <a:pt x="92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8" name="Freeform 49">
              <a:extLst>
                <a:ext uri="{FF2B5EF4-FFF2-40B4-BE49-F238E27FC236}">
                  <a16:creationId xmlns:a16="http://schemas.microsoft.com/office/drawing/2014/main" id="{07A2F840-5444-4BE2-92A4-FFFCE8682F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8" y="1204"/>
              <a:ext cx="100" cy="548"/>
            </a:xfrm>
            <a:custGeom>
              <a:avLst/>
              <a:gdLst>
                <a:gd name="T0" fmla="*/ 16 w 100"/>
                <a:gd name="T1" fmla="*/ 548 h 548"/>
                <a:gd name="T2" fmla="*/ 16 w 100"/>
                <a:gd name="T3" fmla="*/ 548 h 548"/>
                <a:gd name="T4" fmla="*/ 16 w 100"/>
                <a:gd name="T5" fmla="*/ 548 h 548"/>
                <a:gd name="T6" fmla="*/ 13 w 100"/>
                <a:gd name="T7" fmla="*/ 547 h 548"/>
                <a:gd name="T8" fmla="*/ 12 w 100"/>
                <a:gd name="T9" fmla="*/ 544 h 548"/>
                <a:gd name="T10" fmla="*/ 0 w 100"/>
                <a:gd name="T11" fmla="*/ 4 h 548"/>
                <a:gd name="T12" fmla="*/ 0 w 100"/>
                <a:gd name="T13" fmla="*/ 4 h 548"/>
                <a:gd name="T14" fmla="*/ 0 w 100"/>
                <a:gd name="T15" fmla="*/ 2 h 548"/>
                <a:gd name="T16" fmla="*/ 1 w 100"/>
                <a:gd name="T17" fmla="*/ 1 h 548"/>
                <a:gd name="T18" fmla="*/ 1 w 100"/>
                <a:gd name="T19" fmla="*/ 1 h 548"/>
                <a:gd name="T20" fmla="*/ 3 w 100"/>
                <a:gd name="T21" fmla="*/ 0 h 548"/>
                <a:gd name="T22" fmla="*/ 5 w 100"/>
                <a:gd name="T23" fmla="*/ 0 h 548"/>
                <a:gd name="T24" fmla="*/ 97 w 100"/>
                <a:gd name="T25" fmla="*/ 12 h 548"/>
                <a:gd name="T26" fmla="*/ 97 w 100"/>
                <a:gd name="T27" fmla="*/ 12 h 548"/>
                <a:gd name="T28" fmla="*/ 98 w 100"/>
                <a:gd name="T29" fmla="*/ 13 h 548"/>
                <a:gd name="T30" fmla="*/ 99 w 100"/>
                <a:gd name="T31" fmla="*/ 14 h 548"/>
                <a:gd name="T32" fmla="*/ 99 w 100"/>
                <a:gd name="T33" fmla="*/ 14 h 548"/>
                <a:gd name="T34" fmla="*/ 100 w 100"/>
                <a:gd name="T35" fmla="*/ 15 h 548"/>
                <a:gd name="T36" fmla="*/ 100 w 100"/>
                <a:gd name="T37" fmla="*/ 17 h 548"/>
                <a:gd name="T38" fmla="*/ 20 w 100"/>
                <a:gd name="T39" fmla="*/ 545 h 548"/>
                <a:gd name="T40" fmla="*/ 20 w 100"/>
                <a:gd name="T41" fmla="*/ 545 h 548"/>
                <a:gd name="T42" fmla="*/ 19 w 100"/>
                <a:gd name="T43" fmla="*/ 547 h 548"/>
                <a:gd name="T44" fmla="*/ 16 w 100"/>
                <a:gd name="T45" fmla="*/ 548 h 548"/>
                <a:gd name="T46" fmla="*/ 16 w 100"/>
                <a:gd name="T47" fmla="*/ 548 h 548"/>
                <a:gd name="T48" fmla="*/ 8 w 100"/>
                <a:gd name="T49" fmla="*/ 9 h 548"/>
                <a:gd name="T50" fmla="*/ 19 w 100"/>
                <a:gd name="T51" fmla="*/ 498 h 548"/>
                <a:gd name="T52" fmla="*/ 91 w 100"/>
                <a:gd name="T53" fmla="*/ 19 h 548"/>
                <a:gd name="T54" fmla="*/ 8 w 100"/>
                <a:gd name="T55" fmla="*/ 9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0" h="548">
                  <a:moveTo>
                    <a:pt x="16" y="548"/>
                  </a:moveTo>
                  <a:lnTo>
                    <a:pt x="16" y="548"/>
                  </a:lnTo>
                  <a:lnTo>
                    <a:pt x="16" y="548"/>
                  </a:lnTo>
                  <a:lnTo>
                    <a:pt x="13" y="547"/>
                  </a:lnTo>
                  <a:lnTo>
                    <a:pt x="12" y="54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3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100" y="15"/>
                  </a:lnTo>
                  <a:lnTo>
                    <a:pt x="100" y="17"/>
                  </a:lnTo>
                  <a:lnTo>
                    <a:pt x="20" y="545"/>
                  </a:lnTo>
                  <a:lnTo>
                    <a:pt x="20" y="545"/>
                  </a:lnTo>
                  <a:lnTo>
                    <a:pt x="19" y="547"/>
                  </a:lnTo>
                  <a:lnTo>
                    <a:pt x="16" y="548"/>
                  </a:lnTo>
                  <a:lnTo>
                    <a:pt x="16" y="548"/>
                  </a:lnTo>
                  <a:close/>
                  <a:moveTo>
                    <a:pt x="8" y="9"/>
                  </a:moveTo>
                  <a:lnTo>
                    <a:pt x="19" y="498"/>
                  </a:lnTo>
                  <a:lnTo>
                    <a:pt x="91" y="19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69" name="Freeform 50">
              <a:extLst>
                <a:ext uri="{FF2B5EF4-FFF2-40B4-BE49-F238E27FC236}">
                  <a16:creationId xmlns:a16="http://schemas.microsoft.com/office/drawing/2014/main" id="{3F84CFDC-290F-47CF-A738-66C99522A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" y="2268"/>
              <a:ext cx="410" cy="607"/>
            </a:xfrm>
            <a:custGeom>
              <a:avLst/>
              <a:gdLst>
                <a:gd name="T0" fmla="*/ 362 w 410"/>
                <a:gd name="T1" fmla="*/ 0 h 607"/>
                <a:gd name="T2" fmla="*/ 326 w 410"/>
                <a:gd name="T3" fmla="*/ 16 h 607"/>
                <a:gd name="T4" fmla="*/ 272 w 410"/>
                <a:gd name="T5" fmla="*/ 45 h 607"/>
                <a:gd name="T6" fmla="*/ 204 w 410"/>
                <a:gd name="T7" fmla="*/ 87 h 607"/>
                <a:gd name="T8" fmla="*/ 169 w 410"/>
                <a:gd name="T9" fmla="*/ 112 h 607"/>
                <a:gd name="T10" fmla="*/ 134 w 410"/>
                <a:gd name="T11" fmla="*/ 140 h 607"/>
                <a:gd name="T12" fmla="*/ 100 w 410"/>
                <a:gd name="T13" fmla="*/ 172 h 607"/>
                <a:gd name="T14" fmla="*/ 70 w 410"/>
                <a:gd name="T15" fmla="*/ 206 h 607"/>
                <a:gd name="T16" fmla="*/ 43 w 410"/>
                <a:gd name="T17" fmla="*/ 243 h 607"/>
                <a:gd name="T18" fmla="*/ 22 w 410"/>
                <a:gd name="T19" fmla="*/ 283 h 607"/>
                <a:gd name="T20" fmla="*/ 8 w 410"/>
                <a:gd name="T21" fmla="*/ 325 h 607"/>
                <a:gd name="T22" fmla="*/ 0 w 410"/>
                <a:gd name="T23" fmla="*/ 369 h 607"/>
                <a:gd name="T24" fmla="*/ 1 w 410"/>
                <a:gd name="T25" fmla="*/ 404 h 607"/>
                <a:gd name="T26" fmla="*/ 2 w 410"/>
                <a:gd name="T27" fmla="*/ 416 h 607"/>
                <a:gd name="T28" fmla="*/ 13 w 410"/>
                <a:gd name="T29" fmla="*/ 460 h 607"/>
                <a:gd name="T30" fmla="*/ 30 w 410"/>
                <a:gd name="T31" fmla="*/ 497 h 607"/>
                <a:gd name="T32" fmla="*/ 53 w 410"/>
                <a:gd name="T33" fmla="*/ 528 h 607"/>
                <a:gd name="T34" fmla="*/ 81 w 410"/>
                <a:gd name="T35" fmla="*/ 552 h 607"/>
                <a:gd name="T36" fmla="*/ 113 w 410"/>
                <a:gd name="T37" fmla="*/ 571 h 607"/>
                <a:gd name="T38" fmla="*/ 147 w 410"/>
                <a:gd name="T39" fmla="*/ 585 h 607"/>
                <a:gd name="T40" fmla="*/ 183 w 410"/>
                <a:gd name="T41" fmla="*/ 596 h 607"/>
                <a:gd name="T42" fmla="*/ 220 w 410"/>
                <a:gd name="T43" fmla="*/ 602 h 607"/>
                <a:gd name="T44" fmla="*/ 256 w 410"/>
                <a:gd name="T45" fmla="*/ 605 h 607"/>
                <a:gd name="T46" fmla="*/ 323 w 410"/>
                <a:gd name="T47" fmla="*/ 606 h 607"/>
                <a:gd name="T48" fmla="*/ 376 w 410"/>
                <a:gd name="T49" fmla="*/ 601 h 607"/>
                <a:gd name="T50" fmla="*/ 410 w 410"/>
                <a:gd name="T51" fmla="*/ 596 h 607"/>
                <a:gd name="T52" fmla="*/ 370 w 410"/>
                <a:gd name="T53" fmla="*/ 424 h 607"/>
                <a:gd name="T54" fmla="*/ 355 w 410"/>
                <a:gd name="T55" fmla="*/ 422 h 607"/>
                <a:gd name="T56" fmla="*/ 335 w 410"/>
                <a:gd name="T57" fmla="*/ 415 h 607"/>
                <a:gd name="T58" fmla="*/ 313 w 410"/>
                <a:gd name="T59" fmla="*/ 402 h 607"/>
                <a:gd name="T60" fmla="*/ 303 w 410"/>
                <a:gd name="T61" fmla="*/ 392 h 607"/>
                <a:gd name="T62" fmla="*/ 296 w 410"/>
                <a:gd name="T63" fmla="*/ 380 h 607"/>
                <a:gd name="T64" fmla="*/ 291 w 410"/>
                <a:gd name="T65" fmla="*/ 365 h 607"/>
                <a:gd name="T66" fmla="*/ 289 w 410"/>
                <a:gd name="T67" fmla="*/ 347 h 607"/>
                <a:gd name="T68" fmla="*/ 292 w 410"/>
                <a:gd name="T69" fmla="*/ 326 h 607"/>
                <a:gd name="T70" fmla="*/ 299 w 410"/>
                <a:gd name="T71" fmla="*/ 302 h 607"/>
                <a:gd name="T72" fmla="*/ 312 w 410"/>
                <a:gd name="T73" fmla="*/ 273 h 607"/>
                <a:gd name="T74" fmla="*/ 332 w 410"/>
                <a:gd name="T75" fmla="*/ 241 h 607"/>
                <a:gd name="T76" fmla="*/ 359 w 410"/>
                <a:gd name="T77" fmla="*/ 204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607">
                  <a:moveTo>
                    <a:pt x="362" y="0"/>
                  </a:moveTo>
                  <a:lnTo>
                    <a:pt x="362" y="0"/>
                  </a:lnTo>
                  <a:lnTo>
                    <a:pt x="345" y="7"/>
                  </a:lnTo>
                  <a:lnTo>
                    <a:pt x="326" y="16"/>
                  </a:lnTo>
                  <a:lnTo>
                    <a:pt x="301" y="29"/>
                  </a:lnTo>
                  <a:lnTo>
                    <a:pt x="272" y="45"/>
                  </a:lnTo>
                  <a:lnTo>
                    <a:pt x="239" y="64"/>
                  </a:lnTo>
                  <a:lnTo>
                    <a:pt x="204" y="87"/>
                  </a:lnTo>
                  <a:lnTo>
                    <a:pt x="187" y="99"/>
                  </a:lnTo>
                  <a:lnTo>
                    <a:pt x="169" y="112"/>
                  </a:lnTo>
                  <a:lnTo>
                    <a:pt x="151" y="126"/>
                  </a:lnTo>
                  <a:lnTo>
                    <a:pt x="134" y="140"/>
                  </a:lnTo>
                  <a:lnTo>
                    <a:pt x="117" y="156"/>
                  </a:lnTo>
                  <a:lnTo>
                    <a:pt x="100" y="172"/>
                  </a:lnTo>
                  <a:lnTo>
                    <a:pt x="85" y="189"/>
                  </a:lnTo>
                  <a:lnTo>
                    <a:pt x="70" y="206"/>
                  </a:lnTo>
                  <a:lnTo>
                    <a:pt x="56" y="224"/>
                  </a:lnTo>
                  <a:lnTo>
                    <a:pt x="43" y="243"/>
                  </a:lnTo>
                  <a:lnTo>
                    <a:pt x="32" y="262"/>
                  </a:lnTo>
                  <a:lnTo>
                    <a:pt x="22" y="283"/>
                  </a:lnTo>
                  <a:lnTo>
                    <a:pt x="14" y="303"/>
                  </a:lnTo>
                  <a:lnTo>
                    <a:pt x="8" y="325"/>
                  </a:lnTo>
                  <a:lnTo>
                    <a:pt x="3" y="347"/>
                  </a:lnTo>
                  <a:lnTo>
                    <a:pt x="0" y="369"/>
                  </a:lnTo>
                  <a:lnTo>
                    <a:pt x="0" y="392"/>
                  </a:lnTo>
                  <a:lnTo>
                    <a:pt x="1" y="404"/>
                  </a:lnTo>
                  <a:lnTo>
                    <a:pt x="2" y="416"/>
                  </a:lnTo>
                  <a:lnTo>
                    <a:pt x="2" y="416"/>
                  </a:lnTo>
                  <a:lnTo>
                    <a:pt x="7" y="439"/>
                  </a:lnTo>
                  <a:lnTo>
                    <a:pt x="13" y="460"/>
                  </a:lnTo>
                  <a:lnTo>
                    <a:pt x="21" y="480"/>
                  </a:lnTo>
                  <a:lnTo>
                    <a:pt x="30" y="497"/>
                  </a:lnTo>
                  <a:lnTo>
                    <a:pt x="41" y="513"/>
                  </a:lnTo>
                  <a:lnTo>
                    <a:pt x="53" y="528"/>
                  </a:lnTo>
                  <a:lnTo>
                    <a:pt x="67" y="541"/>
                  </a:lnTo>
                  <a:lnTo>
                    <a:pt x="81" y="552"/>
                  </a:lnTo>
                  <a:lnTo>
                    <a:pt x="97" y="562"/>
                  </a:lnTo>
                  <a:lnTo>
                    <a:pt x="113" y="571"/>
                  </a:lnTo>
                  <a:lnTo>
                    <a:pt x="130" y="579"/>
                  </a:lnTo>
                  <a:lnTo>
                    <a:pt x="147" y="585"/>
                  </a:lnTo>
                  <a:lnTo>
                    <a:pt x="165" y="591"/>
                  </a:lnTo>
                  <a:lnTo>
                    <a:pt x="183" y="596"/>
                  </a:lnTo>
                  <a:lnTo>
                    <a:pt x="202" y="599"/>
                  </a:lnTo>
                  <a:lnTo>
                    <a:pt x="220" y="602"/>
                  </a:lnTo>
                  <a:lnTo>
                    <a:pt x="238" y="604"/>
                  </a:lnTo>
                  <a:lnTo>
                    <a:pt x="256" y="605"/>
                  </a:lnTo>
                  <a:lnTo>
                    <a:pt x="291" y="607"/>
                  </a:lnTo>
                  <a:lnTo>
                    <a:pt x="323" y="606"/>
                  </a:lnTo>
                  <a:lnTo>
                    <a:pt x="352" y="604"/>
                  </a:lnTo>
                  <a:lnTo>
                    <a:pt x="376" y="601"/>
                  </a:lnTo>
                  <a:lnTo>
                    <a:pt x="394" y="599"/>
                  </a:lnTo>
                  <a:lnTo>
                    <a:pt x="410" y="596"/>
                  </a:lnTo>
                  <a:lnTo>
                    <a:pt x="370" y="424"/>
                  </a:lnTo>
                  <a:lnTo>
                    <a:pt x="370" y="424"/>
                  </a:lnTo>
                  <a:lnTo>
                    <a:pt x="363" y="423"/>
                  </a:lnTo>
                  <a:lnTo>
                    <a:pt x="355" y="422"/>
                  </a:lnTo>
                  <a:lnTo>
                    <a:pt x="346" y="419"/>
                  </a:lnTo>
                  <a:lnTo>
                    <a:pt x="335" y="415"/>
                  </a:lnTo>
                  <a:lnTo>
                    <a:pt x="324" y="409"/>
                  </a:lnTo>
                  <a:lnTo>
                    <a:pt x="313" y="402"/>
                  </a:lnTo>
                  <a:lnTo>
                    <a:pt x="308" y="397"/>
                  </a:lnTo>
                  <a:lnTo>
                    <a:pt x="303" y="392"/>
                  </a:lnTo>
                  <a:lnTo>
                    <a:pt x="299" y="386"/>
                  </a:lnTo>
                  <a:lnTo>
                    <a:pt x="296" y="380"/>
                  </a:lnTo>
                  <a:lnTo>
                    <a:pt x="293" y="373"/>
                  </a:lnTo>
                  <a:lnTo>
                    <a:pt x="291" y="365"/>
                  </a:lnTo>
                  <a:lnTo>
                    <a:pt x="289" y="356"/>
                  </a:lnTo>
                  <a:lnTo>
                    <a:pt x="289" y="347"/>
                  </a:lnTo>
                  <a:lnTo>
                    <a:pt x="290" y="337"/>
                  </a:lnTo>
                  <a:lnTo>
                    <a:pt x="292" y="326"/>
                  </a:lnTo>
                  <a:lnTo>
                    <a:pt x="295" y="314"/>
                  </a:lnTo>
                  <a:lnTo>
                    <a:pt x="299" y="302"/>
                  </a:lnTo>
                  <a:lnTo>
                    <a:pt x="305" y="288"/>
                  </a:lnTo>
                  <a:lnTo>
                    <a:pt x="312" y="273"/>
                  </a:lnTo>
                  <a:lnTo>
                    <a:pt x="321" y="257"/>
                  </a:lnTo>
                  <a:lnTo>
                    <a:pt x="332" y="241"/>
                  </a:lnTo>
                  <a:lnTo>
                    <a:pt x="345" y="223"/>
                  </a:lnTo>
                  <a:lnTo>
                    <a:pt x="359" y="204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0" name="Freeform 51">
              <a:extLst>
                <a:ext uri="{FF2B5EF4-FFF2-40B4-BE49-F238E27FC236}">
                  <a16:creationId xmlns:a16="http://schemas.microsoft.com/office/drawing/2014/main" id="{7D69EBF7-FC93-46EA-AD83-EBB984A7D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" y="2268"/>
              <a:ext cx="410" cy="607"/>
            </a:xfrm>
            <a:custGeom>
              <a:avLst/>
              <a:gdLst>
                <a:gd name="T0" fmla="*/ 362 w 410"/>
                <a:gd name="T1" fmla="*/ 0 h 607"/>
                <a:gd name="T2" fmla="*/ 326 w 410"/>
                <a:gd name="T3" fmla="*/ 16 h 607"/>
                <a:gd name="T4" fmla="*/ 272 w 410"/>
                <a:gd name="T5" fmla="*/ 45 h 607"/>
                <a:gd name="T6" fmla="*/ 204 w 410"/>
                <a:gd name="T7" fmla="*/ 87 h 607"/>
                <a:gd name="T8" fmla="*/ 169 w 410"/>
                <a:gd name="T9" fmla="*/ 112 h 607"/>
                <a:gd name="T10" fmla="*/ 134 w 410"/>
                <a:gd name="T11" fmla="*/ 140 h 607"/>
                <a:gd name="T12" fmla="*/ 100 w 410"/>
                <a:gd name="T13" fmla="*/ 172 h 607"/>
                <a:gd name="T14" fmla="*/ 70 w 410"/>
                <a:gd name="T15" fmla="*/ 206 h 607"/>
                <a:gd name="T16" fmla="*/ 43 w 410"/>
                <a:gd name="T17" fmla="*/ 243 h 607"/>
                <a:gd name="T18" fmla="*/ 22 w 410"/>
                <a:gd name="T19" fmla="*/ 283 h 607"/>
                <a:gd name="T20" fmla="*/ 8 w 410"/>
                <a:gd name="T21" fmla="*/ 325 h 607"/>
                <a:gd name="T22" fmla="*/ 0 w 410"/>
                <a:gd name="T23" fmla="*/ 369 h 607"/>
                <a:gd name="T24" fmla="*/ 1 w 410"/>
                <a:gd name="T25" fmla="*/ 404 h 607"/>
                <a:gd name="T26" fmla="*/ 2 w 410"/>
                <a:gd name="T27" fmla="*/ 416 h 607"/>
                <a:gd name="T28" fmla="*/ 13 w 410"/>
                <a:gd name="T29" fmla="*/ 460 h 607"/>
                <a:gd name="T30" fmla="*/ 30 w 410"/>
                <a:gd name="T31" fmla="*/ 497 h 607"/>
                <a:gd name="T32" fmla="*/ 53 w 410"/>
                <a:gd name="T33" fmla="*/ 528 h 607"/>
                <a:gd name="T34" fmla="*/ 81 w 410"/>
                <a:gd name="T35" fmla="*/ 552 h 607"/>
                <a:gd name="T36" fmla="*/ 113 w 410"/>
                <a:gd name="T37" fmla="*/ 571 h 607"/>
                <a:gd name="T38" fmla="*/ 147 w 410"/>
                <a:gd name="T39" fmla="*/ 585 h 607"/>
                <a:gd name="T40" fmla="*/ 183 w 410"/>
                <a:gd name="T41" fmla="*/ 596 h 607"/>
                <a:gd name="T42" fmla="*/ 220 w 410"/>
                <a:gd name="T43" fmla="*/ 602 h 607"/>
                <a:gd name="T44" fmla="*/ 256 w 410"/>
                <a:gd name="T45" fmla="*/ 605 h 607"/>
                <a:gd name="T46" fmla="*/ 323 w 410"/>
                <a:gd name="T47" fmla="*/ 606 h 607"/>
                <a:gd name="T48" fmla="*/ 376 w 410"/>
                <a:gd name="T49" fmla="*/ 601 h 607"/>
                <a:gd name="T50" fmla="*/ 410 w 410"/>
                <a:gd name="T51" fmla="*/ 596 h 607"/>
                <a:gd name="T52" fmla="*/ 370 w 410"/>
                <a:gd name="T53" fmla="*/ 424 h 607"/>
                <a:gd name="T54" fmla="*/ 355 w 410"/>
                <a:gd name="T55" fmla="*/ 422 h 607"/>
                <a:gd name="T56" fmla="*/ 335 w 410"/>
                <a:gd name="T57" fmla="*/ 415 h 607"/>
                <a:gd name="T58" fmla="*/ 313 w 410"/>
                <a:gd name="T59" fmla="*/ 402 h 607"/>
                <a:gd name="T60" fmla="*/ 303 w 410"/>
                <a:gd name="T61" fmla="*/ 392 h 607"/>
                <a:gd name="T62" fmla="*/ 296 w 410"/>
                <a:gd name="T63" fmla="*/ 380 h 607"/>
                <a:gd name="T64" fmla="*/ 291 w 410"/>
                <a:gd name="T65" fmla="*/ 365 h 607"/>
                <a:gd name="T66" fmla="*/ 289 w 410"/>
                <a:gd name="T67" fmla="*/ 347 h 607"/>
                <a:gd name="T68" fmla="*/ 292 w 410"/>
                <a:gd name="T69" fmla="*/ 326 h 607"/>
                <a:gd name="T70" fmla="*/ 299 w 410"/>
                <a:gd name="T71" fmla="*/ 302 h 607"/>
                <a:gd name="T72" fmla="*/ 312 w 410"/>
                <a:gd name="T73" fmla="*/ 273 h 607"/>
                <a:gd name="T74" fmla="*/ 332 w 410"/>
                <a:gd name="T75" fmla="*/ 241 h 607"/>
                <a:gd name="T76" fmla="*/ 359 w 410"/>
                <a:gd name="T77" fmla="*/ 204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607">
                  <a:moveTo>
                    <a:pt x="362" y="0"/>
                  </a:moveTo>
                  <a:lnTo>
                    <a:pt x="362" y="0"/>
                  </a:lnTo>
                  <a:lnTo>
                    <a:pt x="345" y="7"/>
                  </a:lnTo>
                  <a:lnTo>
                    <a:pt x="326" y="16"/>
                  </a:lnTo>
                  <a:lnTo>
                    <a:pt x="301" y="29"/>
                  </a:lnTo>
                  <a:lnTo>
                    <a:pt x="272" y="45"/>
                  </a:lnTo>
                  <a:lnTo>
                    <a:pt x="239" y="64"/>
                  </a:lnTo>
                  <a:lnTo>
                    <a:pt x="204" y="87"/>
                  </a:lnTo>
                  <a:lnTo>
                    <a:pt x="187" y="99"/>
                  </a:lnTo>
                  <a:lnTo>
                    <a:pt x="169" y="112"/>
                  </a:lnTo>
                  <a:lnTo>
                    <a:pt x="151" y="126"/>
                  </a:lnTo>
                  <a:lnTo>
                    <a:pt x="134" y="140"/>
                  </a:lnTo>
                  <a:lnTo>
                    <a:pt x="117" y="156"/>
                  </a:lnTo>
                  <a:lnTo>
                    <a:pt x="100" y="172"/>
                  </a:lnTo>
                  <a:lnTo>
                    <a:pt x="85" y="189"/>
                  </a:lnTo>
                  <a:lnTo>
                    <a:pt x="70" y="206"/>
                  </a:lnTo>
                  <a:lnTo>
                    <a:pt x="56" y="224"/>
                  </a:lnTo>
                  <a:lnTo>
                    <a:pt x="43" y="243"/>
                  </a:lnTo>
                  <a:lnTo>
                    <a:pt x="32" y="262"/>
                  </a:lnTo>
                  <a:lnTo>
                    <a:pt x="22" y="283"/>
                  </a:lnTo>
                  <a:lnTo>
                    <a:pt x="14" y="303"/>
                  </a:lnTo>
                  <a:lnTo>
                    <a:pt x="8" y="325"/>
                  </a:lnTo>
                  <a:lnTo>
                    <a:pt x="3" y="347"/>
                  </a:lnTo>
                  <a:lnTo>
                    <a:pt x="0" y="369"/>
                  </a:lnTo>
                  <a:lnTo>
                    <a:pt x="0" y="392"/>
                  </a:lnTo>
                  <a:lnTo>
                    <a:pt x="1" y="404"/>
                  </a:lnTo>
                  <a:lnTo>
                    <a:pt x="2" y="416"/>
                  </a:lnTo>
                  <a:lnTo>
                    <a:pt x="2" y="416"/>
                  </a:lnTo>
                  <a:lnTo>
                    <a:pt x="7" y="439"/>
                  </a:lnTo>
                  <a:lnTo>
                    <a:pt x="13" y="460"/>
                  </a:lnTo>
                  <a:lnTo>
                    <a:pt x="21" y="480"/>
                  </a:lnTo>
                  <a:lnTo>
                    <a:pt x="30" y="497"/>
                  </a:lnTo>
                  <a:lnTo>
                    <a:pt x="41" y="513"/>
                  </a:lnTo>
                  <a:lnTo>
                    <a:pt x="53" y="528"/>
                  </a:lnTo>
                  <a:lnTo>
                    <a:pt x="67" y="541"/>
                  </a:lnTo>
                  <a:lnTo>
                    <a:pt x="81" y="552"/>
                  </a:lnTo>
                  <a:lnTo>
                    <a:pt x="97" y="562"/>
                  </a:lnTo>
                  <a:lnTo>
                    <a:pt x="113" y="571"/>
                  </a:lnTo>
                  <a:lnTo>
                    <a:pt x="130" y="579"/>
                  </a:lnTo>
                  <a:lnTo>
                    <a:pt x="147" y="585"/>
                  </a:lnTo>
                  <a:lnTo>
                    <a:pt x="165" y="591"/>
                  </a:lnTo>
                  <a:lnTo>
                    <a:pt x="183" y="596"/>
                  </a:lnTo>
                  <a:lnTo>
                    <a:pt x="202" y="599"/>
                  </a:lnTo>
                  <a:lnTo>
                    <a:pt x="220" y="602"/>
                  </a:lnTo>
                  <a:lnTo>
                    <a:pt x="238" y="604"/>
                  </a:lnTo>
                  <a:lnTo>
                    <a:pt x="256" y="605"/>
                  </a:lnTo>
                  <a:lnTo>
                    <a:pt x="291" y="607"/>
                  </a:lnTo>
                  <a:lnTo>
                    <a:pt x="323" y="606"/>
                  </a:lnTo>
                  <a:lnTo>
                    <a:pt x="352" y="604"/>
                  </a:lnTo>
                  <a:lnTo>
                    <a:pt x="376" y="601"/>
                  </a:lnTo>
                  <a:lnTo>
                    <a:pt x="394" y="599"/>
                  </a:lnTo>
                  <a:lnTo>
                    <a:pt x="410" y="596"/>
                  </a:lnTo>
                  <a:lnTo>
                    <a:pt x="370" y="424"/>
                  </a:lnTo>
                  <a:lnTo>
                    <a:pt x="370" y="424"/>
                  </a:lnTo>
                  <a:lnTo>
                    <a:pt x="363" y="423"/>
                  </a:lnTo>
                  <a:lnTo>
                    <a:pt x="355" y="422"/>
                  </a:lnTo>
                  <a:lnTo>
                    <a:pt x="346" y="419"/>
                  </a:lnTo>
                  <a:lnTo>
                    <a:pt x="335" y="415"/>
                  </a:lnTo>
                  <a:lnTo>
                    <a:pt x="324" y="409"/>
                  </a:lnTo>
                  <a:lnTo>
                    <a:pt x="313" y="402"/>
                  </a:lnTo>
                  <a:lnTo>
                    <a:pt x="308" y="397"/>
                  </a:lnTo>
                  <a:lnTo>
                    <a:pt x="303" y="392"/>
                  </a:lnTo>
                  <a:lnTo>
                    <a:pt x="299" y="386"/>
                  </a:lnTo>
                  <a:lnTo>
                    <a:pt x="296" y="380"/>
                  </a:lnTo>
                  <a:lnTo>
                    <a:pt x="293" y="373"/>
                  </a:lnTo>
                  <a:lnTo>
                    <a:pt x="291" y="365"/>
                  </a:lnTo>
                  <a:lnTo>
                    <a:pt x="289" y="356"/>
                  </a:lnTo>
                  <a:lnTo>
                    <a:pt x="289" y="347"/>
                  </a:lnTo>
                  <a:lnTo>
                    <a:pt x="290" y="337"/>
                  </a:lnTo>
                  <a:lnTo>
                    <a:pt x="292" y="326"/>
                  </a:lnTo>
                  <a:lnTo>
                    <a:pt x="295" y="314"/>
                  </a:lnTo>
                  <a:lnTo>
                    <a:pt x="299" y="302"/>
                  </a:lnTo>
                  <a:lnTo>
                    <a:pt x="305" y="288"/>
                  </a:lnTo>
                  <a:lnTo>
                    <a:pt x="312" y="273"/>
                  </a:lnTo>
                  <a:lnTo>
                    <a:pt x="321" y="257"/>
                  </a:lnTo>
                  <a:lnTo>
                    <a:pt x="332" y="241"/>
                  </a:lnTo>
                  <a:lnTo>
                    <a:pt x="345" y="223"/>
                  </a:lnTo>
                  <a:lnTo>
                    <a:pt x="359" y="20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1" name="Freeform 52">
              <a:extLst>
                <a:ext uri="{FF2B5EF4-FFF2-40B4-BE49-F238E27FC236}">
                  <a16:creationId xmlns:a16="http://schemas.microsoft.com/office/drawing/2014/main" id="{F8BD0DC9-FC77-4FD9-9F4A-6B2ACC3E5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" y="2264"/>
              <a:ext cx="419" cy="614"/>
            </a:xfrm>
            <a:custGeom>
              <a:avLst/>
              <a:gdLst>
                <a:gd name="T0" fmla="*/ 271 w 419"/>
                <a:gd name="T1" fmla="*/ 614 h 614"/>
                <a:gd name="T2" fmla="*/ 188 w 419"/>
                <a:gd name="T3" fmla="*/ 604 h 614"/>
                <a:gd name="T4" fmla="*/ 134 w 419"/>
                <a:gd name="T5" fmla="*/ 587 h 614"/>
                <a:gd name="T6" fmla="*/ 97 w 419"/>
                <a:gd name="T7" fmla="*/ 568 h 614"/>
                <a:gd name="T8" fmla="*/ 68 w 419"/>
                <a:gd name="T9" fmla="*/ 548 h 614"/>
                <a:gd name="T10" fmla="*/ 29 w 419"/>
                <a:gd name="T11" fmla="*/ 501 h 614"/>
                <a:gd name="T12" fmla="*/ 6 w 419"/>
                <a:gd name="T13" fmla="*/ 443 h 614"/>
                <a:gd name="T14" fmla="*/ 0 w 419"/>
                <a:gd name="T15" fmla="*/ 401 h 614"/>
                <a:gd name="T16" fmla="*/ 5 w 419"/>
                <a:gd name="T17" fmla="*/ 341 h 614"/>
                <a:gd name="T18" fmla="*/ 24 w 419"/>
                <a:gd name="T19" fmla="*/ 282 h 614"/>
                <a:gd name="T20" fmla="*/ 58 w 419"/>
                <a:gd name="T21" fmla="*/ 224 h 614"/>
                <a:gd name="T22" fmla="*/ 107 w 419"/>
                <a:gd name="T23" fmla="*/ 167 h 614"/>
                <a:gd name="T24" fmla="*/ 170 w 419"/>
                <a:gd name="T25" fmla="*/ 113 h 614"/>
                <a:gd name="T26" fmla="*/ 206 w 419"/>
                <a:gd name="T27" fmla="*/ 87 h 614"/>
                <a:gd name="T28" fmla="*/ 302 w 419"/>
                <a:gd name="T29" fmla="*/ 30 h 614"/>
                <a:gd name="T30" fmla="*/ 365 w 419"/>
                <a:gd name="T31" fmla="*/ 0 h 614"/>
                <a:gd name="T32" fmla="*/ 350 w 419"/>
                <a:gd name="T33" fmla="*/ 15 h 614"/>
                <a:gd name="T34" fmla="*/ 277 w 419"/>
                <a:gd name="T35" fmla="*/ 53 h 614"/>
                <a:gd name="T36" fmla="*/ 193 w 419"/>
                <a:gd name="T37" fmla="*/ 106 h 614"/>
                <a:gd name="T38" fmla="*/ 159 w 419"/>
                <a:gd name="T39" fmla="*/ 132 h 614"/>
                <a:gd name="T40" fmla="*/ 111 w 419"/>
                <a:gd name="T41" fmla="*/ 175 h 614"/>
                <a:gd name="T42" fmla="*/ 67 w 419"/>
                <a:gd name="T43" fmla="*/ 226 h 614"/>
                <a:gd name="T44" fmla="*/ 32 w 419"/>
                <a:gd name="T45" fmla="*/ 284 h 614"/>
                <a:gd name="T46" fmla="*/ 11 w 419"/>
                <a:gd name="T47" fmla="*/ 349 h 614"/>
                <a:gd name="T48" fmla="*/ 8 w 419"/>
                <a:gd name="T49" fmla="*/ 395 h 614"/>
                <a:gd name="T50" fmla="*/ 10 w 419"/>
                <a:gd name="T51" fmla="*/ 419 h 614"/>
                <a:gd name="T52" fmla="*/ 27 w 419"/>
                <a:gd name="T53" fmla="*/ 479 h 614"/>
                <a:gd name="T54" fmla="*/ 60 w 419"/>
                <a:gd name="T55" fmla="*/ 528 h 614"/>
                <a:gd name="T56" fmla="*/ 90 w 419"/>
                <a:gd name="T57" fmla="*/ 554 h 614"/>
                <a:gd name="T58" fmla="*/ 122 w 419"/>
                <a:gd name="T59" fmla="*/ 573 h 614"/>
                <a:gd name="T60" fmla="*/ 181 w 419"/>
                <a:gd name="T61" fmla="*/ 594 h 614"/>
                <a:gd name="T62" fmla="*/ 255 w 419"/>
                <a:gd name="T63" fmla="*/ 605 h 614"/>
                <a:gd name="T64" fmla="*/ 324 w 419"/>
                <a:gd name="T65" fmla="*/ 606 h 614"/>
                <a:gd name="T66" fmla="*/ 410 w 419"/>
                <a:gd name="T67" fmla="*/ 597 h 614"/>
                <a:gd name="T68" fmla="*/ 356 w 419"/>
                <a:gd name="T69" fmla="*/ 429 h 614"/>
                <a:gd name="T70" fmla="*/ 323 w 419"/>
                <a:gd name="T71" fmla="*/ 415 h 614"/>
                <a:gd name="T72" fmla="*/ 303 w 419"/>
                <a:gd name="T73" fmla="*/ 397 h 614"/>
                <a:gd name="T74" fmla="*/ 295 w 419"/>
                <a:gd name="T75" fmla="*/ 384 h 614"/>
                <a:gd name="T76" fmla="*/ 289 w 419"/>
                <a:gd name="T77" fmla="*/ 359 h 614"/>
                <a:gd name="T78" fmla="*/ 292 w 419"/>
                <a:gd name="T79" fmla="*/ 330 h 614"/>
                <a:gd name="T80" fmla="*/ 302 w 419"/>
                <a:gd name="T81" fmla="*/ 297 h 614"/>
                <a:gd name="T82" fmla="*/ 321 w 419"/>
                <a:gd name="T83" fmla="*/ 260 h 614"/>
                <a:gd name="T84" fmla="*/ 366 w 419"/>
                <a:gd name="T85" fmla="*/ 210 h 614"/>
                <a:gd name="T86" fmla="*/ 329 w 419"/>
                <a:gd name="T87" fmla="*/ 263 h 614"/>
                <a:gd name="T88" fmla="*/ 306 w 419"/>
                <a:gd name="T89" fmla="*/ 309 h 614"/>
                <a:gd name="T90" fmla="*/ 298 w 419"/>
                <a:gd name="T91" fmla="*/ 339 h 614"/>
                <a:gd name="T92" fmla="*/ 298 w 419"/>
                <a:gd name="T93" fmla="*/ 365 h 614"/>
                <a:gd name="T94" fmla="*/ 302 w 419"/>
                <a:gd name="T95" fmla="*/ 381 h 614"/>
                <a:gd name="T96" fmla="*/ 315 w 419"/>
                <a:gd name="T97" fmla="*/ 399 h 614"/>
                <a:gd name="T98" fmla="*/ 333 w 419"/>
                <a:gd name="T99" fmla="*/ 411 h 614"/>
                <a:gd name="T100" fmla="*/ 366 w 419"/>
                <a:gd name="T101" fmla="*/ 423 h 614"/>
                <a:gd name="T102" fmla="*/ 419 w 419"/>
                <a:gd name="T103" fmla="*/ 603 h 614"/>
                <a:gd name="T104" fmla="*/ 406 w 419"/>
                <a:gd name="T105" fmla="*/ 606 h 614"/>
                <a:gd name="T106" fmla="*/ 321 w 419"/>
                <a:gd name="T107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614">
                  <a:moveTo>
                    <a:pt x="297" y="614"/>
                  </a:moveTo>
                  <a:lnTo>
                    <a:pt x="297" y="614"/>
                  </a:lnTo>
                  <a:lnTo>
                    <a:pt x="271" y="614"/>
                  </a:lnTo>
                  <a:lnTo>
                    <a:pt x="244" y="612"/>
                  </a:lnTo>
                  <a:lnTo>
                    <a:pt x="216" y="609"/>
                  </a:lnTo>
                  <a:lnTo>
                    <a:pt x="188" y="604"/>
                  </a:lnTo>
                  <a:lnTo>
                    <a:pt x="161" y="597"/>
                  </a:lnTo>
                  <a:lnTo>
                    <a:pt x="147" y="592"/>
                  </a:lnTo>
                  <a:lnTo>
                    <a:pt x="134" y="587"/>
                  </a:lnTo>
                  <a:lnTo>
                    <a:pt x="121" y="582"/>
                  </a:lnTo>
                  <a:lnTo>
                    <a:pt x="109" y="575"/>
                  </a:lnTo>
                  <a:lnTo>
                    <a:pt x="97" y="568"/>
                  </a:lnTo>
                  <a:lnTo>
                    <a:pt x="85" y="561"/>
                  </a:lnTo>
                  <a:lnTo>
                    <a:pt x="85" y="561"/>
                  </a:lnTo>
                  <a:lnTo>
                    <a:pt x="68" y="548"/>
                  </a:lnTo>
                  <a:lnTo>
                    <a:pt x="54" y="534"/>
                  </a:lnTo>
                  <a:lnTo>
                    <a:pt x="41" y="518"/>
                  </a:lnTo>
                  <a:lnTo>
                    <a:pt x="29" y="501"/>
                  </a:lnTo>
                  <a:lnTo>
                    <a:pt x="20" y="483"/>
                  </a:lnTo>
                  <a:lnTo>
                    <a:pt x="12" y="463"/>
                  </a:lnTo>
                  <a:lnTo>
                    <a:pt x="6" y="443"/>
                  </a:lnTo>
                  <a:lnTo>
                    <a:pt x="2" y="421"/>
                  </a:lnTo>
                  <a:lnTo>
                    <a:pt x="2" y="421"/>
                  </a:lnTo>
                  <a:lnTo>
                    <a:pt x="0" y="401"/>
                  </a:lnTo>
                  <a:lnTo>
                    <a:pt x="0" y="381"/>
                  </a:lnTo>
                  <a:lnTo>
                    <a:pt x="2" y="361"/>
                  </a:lnTo>
                  <a:lnTo>
                    <a:pt x="5" y="341"/>
                  </a:lnTo>
                  <a:lnTo>
                    <a:pt x="10" y="321"/>
                  </a:lnTo>
                  <a:lnTo>
                    <a:pt x="16" y="302"/>
                  </a:lnTo>
                  <a:lnTo>
                    <a:pt x="24" y="282"/>
                  </a:lnTo>
                  <a:lnTo>
                    <a:pt x="34" y="263"/>
                  </a:lnTo>
                  <a:lnTo>
                    <a:pt x="45" y="243"/>
                  </a:lnTo>
                  <a:lnTo>
                    <a:pt x="58" y="224"/>
                  </a:lnTo>
                  <a:lnTo>
                    <a:pt x="73" y="205"/>
                  </a:lnTo>
                  <a:lnTo>
                    <a:pt x="89" y="186"/>
                  </a:lnTo>
                  <a:lnTo>
                    <a:pt x="107" y="167"/>
                  </a:lnTo>
                  <a:lnTo>
                    <a:pt x="127" y="149"/>
                  </a:lnTo>
                  <a:lnTo>
                    <a:pt x="148" y="131"/>
                  </a:lnTo>
                  <a:lnTo>
                    <a:pt x="170" y="113"/>
                  </a:lnTo>
                  <a:lnTo>
                    <a:pt x="170" y="113"/>
                  </a:lnTo>
                  <a:lnTo>
                    <a:pt x="188" y="100"/>
                  </a:lnTo>
                  <a:lnTo>
                    <a:pt x="206" y="87"/>
                  </a:lnTo>
                  <a:lnTo>
                    <a:pt x="240" y="65"/>
                  </a:lnTo>
                  <a:lnTo>
                    <a:pt x="273" y="46"/>
                  </a:lnTo>
                  <a:lnTo>
                    <a:pt x="302" y="30"/>
                  </a:lnTo>
                  <a:lnTo>
                    <a:pt x="328" y="17"/>
                  </a:lnTo>
                  <a:lnTo>
                    <a:pt x="347" y="8"/>
                  </a:lnTo>
                  <a:lnTo>
                    <a:pt x="365" y="0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50" y="15"/>
                  </a:lnTo>
                  <a:lnTo>
                    <a:pt x="331" y="24"/>
                  </a:lnTo>
                  <a:lnTo>
                    <a:pt x="306" y="37"/>
                  </a:lnTo>
                  <a:lnTo>
                    <a:pt x="277" y="53"/>
                  </a:lnTo>
                  <a:lnTo>
                    <a:pt x="244" y="72"/>
                  </a:lnTo>
                  <a:lnTo>
                    <a:pt x="210" y="94"/>
                  </a:lnTo>
                  <a:lnTo>
                    <a:pt x="193" y="106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59" y="132"/>
                  </a:lnTo>
                  <a:lnTo>
                    <a:pt x="143" y="146"/>
                  </a:lnTo>
                  <a:lnTo>
                    <a:pt x="127" y="160"/>
                  </a:lnTo>
                  <a:lnTo>
                    <a:pt x="111" y="175"/>
                  </a:lnTo>
                  <a:lnTo>
                    <a:pt x="95" y="191"/>
                  </a:lnTo>
                  <a:lnTo>
                    <a:pt x="81" y="208"/>
                  </a:lnTo>
                  <a:lnTo>
                    <a:pt x="67" y="226"/>
                  </a:lnTo>
                  <a:lnTo>
                    <a:pt x="54" y="245"/>
                  </a:lnTo>
                  <a:lnTo>
                    <a:pt x="42" y="264"/>
                  </a:lnTo>
                  <a:lnTo>
                    <a:pt x="32" y="284"/>
                  </a:lnTo>
                  <a:lnTo>
                    <a:pt x="23" y="305"/>
                  </a:lnTo>
                  <a:lnTo>
                    <a:pt x="16" y="327"/>
                  </a:lnTo>
                  <a:lnTo>
                    <a:pt x="11" y="349"/>
                  </a:lnTo>
                  <a:lnTo>
                    <a:pt x="9" y="372"/>
                  </a:lnTo>
                  <a:lnTo>
                    <a:pt x="8" y="383"/>
                  </a:lnTo>
                  <a:lnTo>
                    <a:pt x="8" y="395"/>
                  </a:lnTo>
                  <a:lnTo>
                    <a:pt x="9" y="407"/>
                  </a:lnTo>
                  <a:lnTo>
                    <a:pt x="10" y="419"/>
                  </a:lnTo>
                  <a:lnTo>
                    <a:pt x="10" y="419"/>
                  </a:lnTo>
                  <a:lnTo>
                    <a:pt x="14" y="441"/>
                  </a:lnTo>
                  <a:lnTo>
                    <a:pt x="20" y="461"/>
                  </a:lnTo>
                  <a:lnTo>
                    <a:pt x="27" y="479"/>
                  </a:lnTo>
                  <a:lnTo>
                    <a:pt x="36" y="497"/>
                  </a:lnTo>
                  <a:lnTo>
                    <a:pt x="47" y="513"/>
                  </a:lnTo>
                  <a:lnTo>
                    <a:pt x="60" y="528"/>
                  </a:lnTo>
                  <a:lnTo>
                    <a:pt x="74" y="542"/>
                  </a:lnTo>
                  <a:lnTo>
                    <a:pt x="90" y="554"/>
                  </a:lnTo>
                  <a:lnTo>
                    <a:pt x="90" y="554"/>
                  </a:lnTo>
                  <a:lnTo>
                    <a:pt x="100" y="561"/>
                  </a:lnTo>
                  <a:lnTo>
                    <a:pt x="111" y="567"/>
                  </a:lnTo>
                  <a:lnTo>
                    <a:pt x="122" y="573"/>
                  </a:lnTo>
                  <a:lnTo>
                    <a:pt x="133" y="578"/>
                  </a:lnTo>
                  <a:lnTo>
                    <a:pt x="157" y="587"/>
                  </a:lnTo>
                  <a:lnTo>
                    <a:pt x="181" y="594"/>
                  </a:lnTo>
                  <a:lnTo>
                    <a:pt x="206" y="599"/>
                  </a:lnTo>
                  <a:lnTo>
                    <a:pt x="231" y="603"/>
                  </a:lnTo>
                  <a:lnTo>
                    <a:pt x="255" y="605"/>
                  </a:lnTo>
                  <a:lnTo>
                    <a:pt x="279" y="606"/>
                  </a:lnTo>
                  <a:lnTo>
                    <a:pt x="302" y="606"/>
                  </a:lnTo>
                  <a:lnTo>
                    <a:pt x="324" y="606"/>
                  </a:lnTo>
                  <a:lnTo>
                    <a:pt x="362" y="603"/>
                  </a:lnTo>
                  <a:lnTo>
                    <a:pt x="392" y="600"/>
                  </a:lnTo>
                  <a:lnTo>
                    <a:pt x="410" y="597"/>
                  </a:lnTo>
                  <a:lnTo>
                    <a:pt x="371" y="432"/>
                  </a:lnTo>
                  <a:lnTo>
                    <a:pt x="371" y="432"/>
                  </a:lnTo>
                  <a:lnTo>
                    <a:pt x="356" y="429"/>
                  </a:lnTo>
                  <a:lnTo>
                    <a:pt x="346" y="426"/>
                  </a:lnTo>
                  <a:lnTo>
                    <a:pt x="335" y="422"/>
                  </a:lnTo>
                  <a:lnTo>
                    <a:pt x="323" y="415"/>
                  </a:lnTo>
                  <a:lnTo>
                    <a:pt x="312" y="407"/>
                  </a:lnTo>
                  <a:lnTo>
                    <a:pt x="307" y="402"/>
                  </a:lnTo>
                  <a:lnTo>
                    <a:pt x="303" y="397"/>
                  </a:lnTo>
                  <a:lnTo>
                    <a:pt x="299" y="391"/>
                  </a:lnTo>
                  <a:lnTo>
                    <a:pt x="295" y="384"/>
                  </a:lnTo>
                  <a:lnTo>
                    <a:pt x="295" y="384"/>
                  </a:lnTo>
                  <a:lnTo>
                    <a:pt x="292" y="376"/>
                  </a:lnTo>
                  <a:lnTo>
                    <a:pt x="290" y="368"/>
                  </a:lnTo>
                  <a:lnTo>
                    <a:pt x="289" y="359"/>
                  </a:lnTo>
                  <a:lnTo>
                    <a:pt x="289" y="350"/>
                  </a:lnTo>
                  <a:lnTo>
                    <a:pt x="290" y="340"/>
                  </a:lnTo>
                  <a:lnTo>
                    <a:pt x="292" y="330"/>
                  </a:lnTo>
                  <a:lnTo>
                    <a:pt x="294" y="319"/>
                  </a:lnTo>
                  <a:lnTo>
                    <a:pt x="298" y="308"/>
                  </a:lnTo>
                  <a:lnTo>
                    <a:pt x="302" y="297"/>
                  </a:lnTo>
                  <a:lnTo>
                    <a:pt x="308" y="285"/>
                  </a:lnTo>
                  <a:lnTo>
                    <a:pt x="314" y="273"/>
                  </a:lnTo>
                  <a:lnTo>
                    <a:pt x="321" y="260"/>
                  </a:lnTo>
                  <a:lnTo>
                    <a:pt x="339" y="234"/>
                  </a:lnTo>
                  <a:lnTo>
                    <a:pt x="360" y="206"/>
                  </a:lnTo>
                  <a:lnTo>
                    <a:pt x="366" y="210"/>
                  </a:lnTo>
                  <a:lnTo>
                    <a:pt x="366" y="210"/>
                  </a:lnTo>
                  <a:lnTo>
                    <a:pt x="346" y="238"/>
                  </a:lnTo>
                  <a:lnTo>
                    <a:pt x="329" y="263"/>
                  </a:lnTo>
                  <a:lnTo>
                    <a:pt x="316" y="287"/>
                  </a:lnTo>
                  <a:lnTo>
                    <a:pt x="310" y="299"/>
                  </a:lnTo>
                  <a:lnTo>
                    <a:pt x="306" y="309"/>
                  </a:lnTo>
                  <a:lnTo>
                    <a:pt x="302" y="320"/>
                  </a:lnTo>
                  <a:lnTo>
                    <a:pt x="300" y="330"/>
                  </a:lnTo>
                  <a:lnTo>
                    <a:pt x="298" y="339"/>
                  </a:lnTo>
                  <a:lnTo>
                    <a:pt x="297" y="348"/>
                  </a:lnTo>
                  <a:lnTo>
                    <a:pt x="297" y="357"/>
                  </a:lnTo>
                  <a:lnTo>
                    <a:pt x="298" y="365"/>
                  </a:lnTo>
                  <a:lnTo>
                    <a:pt x="300" y="373"/>
                  </a:lnTo>
                  <a:lnTo>
                    <a:pt x="302" y="381"/>
                  </a:lnTo>
                  <a:lnTo>
                    <a:pt x="302" y="381"/>
                  </a:lnTo>
                  <a:lnTo>
                    <a:pt x="306" y="387"/>
                  </a:lnTo>
                  <a:lnTo>
                    <a:pt x="310" y="394"/>
                  </a:lnTo>
                  <a:lnTo>
                    <a:pt x="315" y="399"/>
                  </a:lnTo>
                  <a:lnTo>
                    <a:pt x="321" y="404"/>
                  </a:lnTo>
                  <a:lnTo>
                    <a:pt x="327" y="408"/>
                  </a:lnTo>
                  <a:lnTo>
                    <a:pt x="333" y="411"/>
                  </a:lnTo>
                  <a:lnTo>
                    <a:pt x="345" y="417"/>
                  </a:lnTo>
                  <a:lnTo>
                    <a:pt x="356" y="421"/>
                  </a:lnTo>
                  <a:lnTo>
                    <a:pt x="366" y="423"/>
                  </a:lnTo>
                  <a:lnTo>
                    <a:pt x="375" y="424"/>
                  </a:lnTo>
                  <a:lnTo>
                    <a:pt x="378" y="424"/>
                  </a:lnTo>
                  <a:lnTo>
                    <a:pt x="419" y="603"/>
                  </a:lnTo>
                  <a:lnTo>
                    <a:pt x="415" y="604"/>
                  </a:lnTo>
                  <a:lnTo>
                    <a:pt x="415" y="604"/>
                  </a:lnTo>
                  <a:lnTo>
                    <a:pt x="406" y="606"/>
                  </a:lnTo>
                  <a:lnTo>
                    <a:pt x="380" y="609"/>
                  </a:lnTo>
                  <a:lnTo>
                    <a:pt x="343" y="613"/>
                  </a:lnTo>
                  <a:lnTo>
                    <a:pt x="321" y="614"/>
                  </a:lnTo>
                  <a:lnTo>
                    <a:pt x="297" y="614"/>
                  </a:lnTo>
                  <a:lnTo>
                    <a:pt x="297" y="6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2" name="Freeform 53">
              <a:extLst>
                <a:ext uri="{FF2B5EF4-FFF2-40B4-BE49-F238E27FC236}">
                  <a16:creationId xmlns:a16="http://schemas.microsoft.com/office/drawing/2014/main" id="{37260E9F-FE9A-47C7-AEEB-58F74D3CA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7" y="2256"/>
              <a:ext cx="515" cy="587"/>
            </a:xfrm>
            <a:custGeom>
              <a:avLst/>
              <a:gdLst>
                <a:gd name="T0" fmla="*/ 124 w 515"/>
                <a:gd name="T1" fmla="*/ 0 h 587"/>
                <a:gd name="T2" fmla="*/ 168 w 515"/>
                <a:gd name="T3" fmla="*/ 22 h 587"/>
                <a:gd name="T4" fmla="*/ 216 w 515"/>
                <a:gd name="T5" fmla="*/ 50 h 587"/>
                <a:gd name="T6" fmla="*/ 273 w 515"/>
                <a:gd name="T7" fmla="*/ 89 h 587"/>
                <a:gd name="T8" fmla="*/ 336 w 515"/>
                <a:gd name="T9" fmla="*/ 139 h 587"/>
                <a:gd name="T10" fmla="*/ 367 w 515"/>
                <a:gd name="T11" fmla="*/ 168 h 587"/>
                <a:gd name="T12" fmla="*/ 398 w 515"/>
                <a:gd name="T13" fmla="*/ 201 h 587"/>
                <a:gd name="T14" fmla="*/ 427 w 515"/>
                <a:gd name="T15" fmla="*/ 236 h 587"/>
                <a:gd name="T16" fmla="*/ 454 w 515"/>
                <a:gd name="T17" fmla="*/ 274 h 587"/>
                <a:gd name="T18" fmla="*/ 479 w 515"/>
                <a:gd name="T19" fmla="*/ 316 h 587"/>
                <a:gd name="T20" fmla="*/ 500 w 515"/>
                <a:gd name="T21" fmla="*/ 360 h 587"/>
                <a:gd name="T22" fmla="*/ 505 w 515"/>
                <a:gd name="T23" fmla="*/ 371 h 587"/>
                <a:gd name="T24" fmla="*/ 511 w 515"/>
                <a:gd name="T25" fmla="*/ 393 h 587"/>
                <a:gd name="T26" fmla="*/ 515 w 515"/>
                <a:gd name="T27" fmla="*/ 413 h 587"/>
                <a:gd name="T28" fmla="*/ 515 w 515"/>
                <a:gd name="T29" fmla="*/ 432 h 587"/>
                <a:gd name="T30" fmla="*/ 513 w 515"/>
                <a:gd name="T31" fmla="*/ 449 h 587"/>
                <a:gd name="T32" fmla="*/ 508 w 515"/>
                <a:gd name="T33" fmla="*/ 466 h 587"/>
                <a:gd name="T34" fmla="*/ 501 w 515"/>
                <a:gd name="T35" fmla="*/ 481 h 587"/>
                <a:gd name="T36" fmla="*/ 485 w 515"/>
                <a:gd name="T37" fmla="*/ 501 h 587"/>
                <a:gd name="T38" fmla="*/ 458 w 515"/>
                <a:gd name="T39" fmla="*/ 524 h 587"/>
                <a:gd name="T40" fmla="*/ 424 w 515"/>
                <a:gd name="T41" fmla="*/ 544 h 587"/>
                <a:gd name="T42" fmla="*/ 384 w 515"/>
                <a:gd name="T43" fmla="*/ 559 h 587"/>
                <a:gd name="T44" fmla="*/ 340 w 515"/>
                <a:gd name="T45" fmla="*/ 571 h 587"/>
                <a:gd name="T46" fmla="*/ 294 w 515"/>
                <a:gd name="T47" fmla="*/ 579 h 587"/>
                <a:gd name="T48" fmla="*/ 246 w 515"/>
                <a:gd name="T49" fmla="*/ 584 h 587"/>
                <a:gd name="T50" fmla="*/ 198 w 515"/>
                <a:gd name="T51" fmla="*/ 587 h 587"/>
                <a:gd name="T52" fmla="*/ 106 w 515"/>
                <a:gd name="T53" fmla="*/ 585 h 587"/>
                <a:gd name="T54" fmla="*/ 30 w 515"/>
                <a:gd name="T55" fmla="*/ 575 h 587"/>
                <a:gd name="T56" fmla="*/ 0 w 515"/>
                <a:gd name="T57" fmla="*/ 568 h 587"/>
                <a:gd name="T58" fmla="*/ 337 w 515"/>
                <a:gd name="T59" fmla="*/ 400 h 587"/>
                <a:gd name="T60" fmla="*/ 326 w 515"/>
                <a:gd name="T61" fmla="*/ 386 h 587"/>
                <a:gd name="T62" fmla="*/ 294 w 515"/>
                <a:gd name="T63" fmla="*/ 351 h 587"/>
                <a:gd name="T64" fmla="*/ 242 w 515"/>
                <a:gd name="T65" fmla="*/ 302 h 587"/>
                <a:gd name="T66" fmla="*/ 191 w 515"/>
                <a:gd name="T67" fmla="*/ 262 h 587"/>
                <a:gd name="T68" fmla="*/ 124 w 515"/>
                <a:gd name="T69" fmla="*/ 0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5" h="587">
                  <a:moveTo>
                    <a:pt x="124" y="0"/>
                  </a:moveTo>
                  <a:lnTo>
                    <a:pt x="124" y="0"/>
                  </a:lnTo>
                  <a:lnTo>
                    <a:pt x="136" y="5"/>
                  </a:lnTo>
                  <a:lnTo>
                    <a:pt x="168" y="22"/>
                  </a:lnTo>
                  <a:lnTo>
                    <a:pt x="191" y="34"/>
                  </a:lnTo>
                  <a:lnTo>
                    <a:pt x="216" y="50"/>
                  </a:lnTo>
                  <a:lnTo>
                    <a:pt x="244" y="68"/>
                  </a:lnTo>
                  <a:lnTo>
                    <a:pt x="273" y="89"/>
                  </a:lnTo>
                  <a:lnTo>
                    <a:pt x="304" y="112"/>
                  </a:lnTo>
                  <a:lnTo>
                    <a:pt x="336" y="139"/>
                  </a:lnTo>
                  <a:lnTo>
                    <a:pt x="351" y="153"/>
                  </a:lnTo>
                  <a:lnTo>
                    <a:pt x="367" y="168"/>
                  </a:lnTo>
                  <a:lnTo>
                    <a:pt x="383" y="184"/>
                  </a:lnTo>
                  <a:lnTo>
                    <a:pt x="398" y="201"/>
                  </a:lnTo>
                  <a:lnTo>
                    <a:pt x="413" y="218"/>
                  </a:lnTo>
                  <a:lnTo>
                    <a:pt x="427" y="236"/>
                  </a:lnTo>
                  <a:lnTo>
                    <a:pt x="441" y="255"/>
                  </a:lnTo>
                  <a:lnTo>
                    <a:pt x="454" y="274"/>
                  </a:lnTo>
                  <a:lnTo>
                    <a:pt x="467" y="295"/>
                  </a:lnTo>
                  <a:lnTo>
                    <a:pt x="479" y="316"/>
                  </a:lnTo>
                  <a:lnTo>
                    <a:pt x="490" y="338"/>
                  </a:lnTo>
                  <a:lnTo>
                    <a:pt x="500" y="360"/>
                  </a:lnTo>
                  <a:lnTo>
                    <a:pt x="500" y="360"/>
                  </a:lnTo>
                  <a:lnTo>
                    <a:pt x="505" y="371"/>
                  </a:lnTo>
                  <a:lnTo>
                    <a:pt x="508" y="382"/>
                  </a:lnTo>
                  <a:lnTo>
                    <a:pt x="511" y="393"/>
                  </a:lnTo>
                  <a:lnTo>
                    <a:pt x="513" y="403"/>
                  </a:lnTo>
                  <a:lnTo>
                    <a:pt x="515" y="413"/>
                  </a:lnTo>
                  <a:lnTo>
                    <a:pt x="515" y="422"/>
                  </a:lnTo>
                  <a:lnTo>
                    <a:pt x="515" y="432"/>
                  </a:lnTo>
                  <a:lnTo>
                    <a:pt x="514" y="441"/>
                  </a:lnTo>
                  <a:lnTo>
                    <a:pt x="513" y="449"/>
                  </a:lnTo>
                  <a:lnTo>
                    <a:pt x="511" y="458"/>
                  </a:lnTo>
                  <a:lnTo>
                    <a:pt x="508" y="466"/>
                  </a:lnTo>
                  <a:lnTo>
                    <a:pt x="504" y="473"/>
                  </a:lnTo>
                  <a:lnTo>
                    <a:pt x="501" y="481"/>
                  </a:lnTo>
                  <a:lnTo>
                    <a:pt x="496" y="488"/>
                  </a:lnTo>
                  <a:lnTo>
                    <a:pt x="485" y="501"/>
                  </a:lnTo>
                  <a:lnTo>
                    <a:pt x="472" y="513"/>
                  </a:lnTo>
                  <a:lnTo>
                    <a:pt x="458" y="524"/>
                  </a:lnTo>
                  <a:lnTo>
                    <a:pt x="442" y="535"/>
                  </a:lnTo>
                  <a:lnTo>
                    <a:pt x="424" y="544"/>
                  </a:lnTo>
                  <a:lnTo>
                    <a:pt x="405" y="552"/>
                  </a:lnTo>
                  <a:lnTo>
                    <a:pt x="384" y="559"/>
                  </a:lnTo>
                  <a:lnTo>
                    <a:pt x="363" y="565"/>
                  </a:lnTo>
                  <a:lnTo>
                    <a:pt x="340" y="571"/>
                  </a:lnTo>
                  <a:lnTo>
                    <a:pt x="317" y="575"/>
                  </a:lnTo>
                  <a:lnTo>
                    <a:pt x="294" y="579"/>
                  </a:lnTo>
                  <a:lnTo>
                    <a:pt x="270" y="582"/>
                  </a:lnTo>
                  <a:lnTo>
                    <a:pt x="246" y="584"/>
                  </a:lnTo>
                  <a:lnTo>
                    <a:pt x="222" y="586"/>
                  </a:lnTo>
                  <a:lnTo>
                    <a:pt x="198" y="587"/>
                  </a:lnTo>
                  <a:lnTo>
                    <a:pt x="150" y="587"/>
                  </a:lnTo>
                  <a:lnTo>
                    <a:pt x="106" y="585"/>
                  </a:lnTo>
                  <a:lnTo>
                    <a:pt x="65" y="581"/>
                  </a:lnTo>
                  <a:lnTo>
                    <a:pt x="30" y="575"/>
                  </a:lnTo>
                  <a:lnTo>
                    <a:pt x="14" y="572"/>
                  </a:lnTo>
                  <a:lnTo>
                    <a:pt x="0" y="568"/>
                  </a:lnTo>
                  <a:lnTo>
                    <a:pt x="16" y="360"/>
                  </a:lnTo>
                  <a:lnTo>
                    <a:pt x="337" y="400"/>
                  </a:lnTo>
                  <a:lnTo>
                    <a:pt x="337" y="400"/>
                  </a:lnTo>
                  <a:lnTo>
                    <a:pt x="326" y="386"/>
                  </a:lnTo>
                  <a:lnTo>
                    <a:pt x="312" y="371"/>
                  </a:lnTo>
                  <a:lnTo>
                    <a:pt x="294" y="351"/>
                  </a:lnTo>
                  <a:lnTo>
                    <a:pt x="270" y="328"/>
                  </a:lnTo>
                  <a:lnTo>
                    <a:pt x="242" y="302"/>
                  </a:lnTo>
                  <a:lnTo>
                    <a:pt x="209" y="275"/>
                  </a:lnTo>
                  <a:lnTo>
                    <a:pt x="191" y="262"/>
                  </a:lnTo>
                  <a:lnTo>
                    <a:pt x="172" y="248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3" name="Freeform 54">
              <a:extLst>
                <a:ext uri="{FF2B5EF4-FFF2-40B4-BE49-F238E27FC236}">
                  <a16:creationId xmlns:a16="http://schemas.microsoft.com/office/drawing/2014/main" id="{D4340BA9-6013-4E71-9D33-7700560F8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7" y="2256"/>
              <a:ext cx="515" cy="587"/>
            </a:xfrm>
            <a:custGeom>
              <a:avLst/>
              <a:gdLst>
                <a:gd name="T0" fmla="*/ 124 w 515"/>
                <a:gd name="T1" fmla="*/ 0 h 587"/>
                <a:gd name="T2" fmla="*/ 168 w 515"/>
                <a:gd name="T3" fmla="*/ 22 h 587"/>
                <a:gd name="T4" fmla="*/ 216 w 515"/>
                <a:gd name="T5" fmla="*/ 50 h 587"/>
                <a:gd name="T6" fmla="*/ 273 w 515"/>
                <a:gd name="T7" fmla="*/ 89 h 587"/>
                <a:gd name="T8" fmla="*/ 336 w 515"/>
                <a:gd name="T9" fmla="*/ 139 h 587"/>
                <a:gd name="T10" fmla="*/ 367 w 515"/>
                <a:gd name="T11" fmla="*/ 168 h 587"/>
                <a:gd name="T12" fmla="*/ 398 w 515"/>
                <a:gd name="T13" fmla="*/ 201 h 587"/>
                <a:gd name="T14" fmla="*/ 427 w 515"/>
                <a:gd name="T15" fmla="*/ 236 h 587"/>
                <a:gd name="T16" fmla="*/ 454 w 515"/>
                <a:gd name="T17" fmla="*/ 274 h 587"/>
                <a:gd name="T18" fmla="*/ 479 w 515"/>
                <a:gd name="T19" fmla="*/ 316 h 587"/>
                <a:gd name="T20" fmla="*/ 500 w 515"/>
                <a:gd name="T21" fmla="*/ 360 h 587"/>
                <a:gd name="T22" fmla="*/ 505 w 515"/>
                <a:gd name="T23" fmla="*/ 371 h 587"/>
                <a:gd name="T24" fmla="*/ 511 w 515"/>
                <a:gd name="T25" fmla="*/ 393 h 587"/>
                <a:gd name="T26" fmla="*/ 515 w 515"/>
                <a:gd name="T27" fmla="*/ 413 h 587"/>
                <a:gd name="T28" fmla="*/ 515 w 515"/>
                <a:gd name="T29" fmla="*/ 432 h 587"/>
                <a:gd name="T30" fmla="*/ 513 w 515"/>
                <a:gd name="T31" fmla="*/ 449 h 587"/>
                <a:gd name="T32" fmla="*/ 508 w 515"/>
                <a:gd name="T33" fmla="*/ 466 h 587"/>
                <a:gd name="T34" fmla="*/ 501 w 515"/>
                <a:gd name="T35" fmla="*/ 481 h 587"/>
                <a:gd name="T36" fmla="*/ 485 w 515"/>
                <a:gd name="T37" fmla="*/ 501 h 587"/>
                <a:gd name="T38" fmla="*/ 458 w 515"/>
                <a:gd name="T39" fmla="*/ 524 h 587"/>
                <a:gd name="T40" fmla="*/ 424 w 515"/>
                <a:gd name="T41" fmla="*/ 544 h 587"/>
                <a:gd name="T42" fmla="*/ 384 w 515"/>
                <a:gd name="T43" fmla="*/ 559 h 587"/>
                <a:gd name="T44" fmla="*/ 340 w 515"/>
                <a:gd name="T45" fmla="*/ 571 h 587"/>
                <a:gd name="T46" fmla="*/ 294 w 515"/>
                <a:gd name="T47" fmla="*/ 579 h 587"/>
                <a:gd name="T48" fmla="*/ 246 w 515"/>
                <a:gd name="T49" fmla="*/ 584 h 587"/>
                <a:gd name="T50" fmla="*/ 198 w 515"/>
                <a:gd name="T51" fmla="*/ 587 h 587"/>
                <a:gd name="T52" fmla="*/ 106 w 515"/>
                <a:gd name="T53" fmla="*/ 585 h 587"/>
                <a:gd name="T54" fmla="*/ 30 w 515"/>
                <a:gd name="T55" fmla="*/ 575 h 587"/>
                <a:gd name="T56" fmla="*/ 0 w 515"/>
                <a:gd name="T57" fmla="*/ 568 h 587"/>
                <a:gd name="T58" fmla="*/ 337 w 515"/>
                <a:gd name="T59" fmla="*/ 400 h 587"/>
                <a:gd name="T60" fmla="*/ 326 w 515"/>
                <a:gd name="T61" fmla="*/ 386 h 587"/>
                <a:gd name="T62" fmla="*/ 294 w 515"/>
                <a:gd name="T63" fmla="*/ 351 h 587"/>
                <a:gd name="T64" fmla="*/ 242 w 515"/>
                <a:gd name="T65" fmla="*/ 302 h 587"/>
                <a:gd name="T66" fmla="*/ 191 w 515"/>
                <a:gd name="T67" fmla="*/ 26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5" h="587">
                  <a:moveTo>
                    <a:pt x="124" y="0"/>
                  </a:moveTo>
                  <a:lnTo>
                    <a:pt x="124" y="0"/>
                  </a:lnTo>
                  <a:lnTo>
                    <a:pt x="136" y="5"/>
                  </a:lnTo>
                  <a:lnTo>
                    <a:pt x="168" y="22"/>
                  </a:lnTo>
                  <a:lnTo>
                    <a:pt x="191" y="34"/>
                  </a:lnTo>
                  <a:lnTo>
                    <a:pt x="216" y="50"/>
                  </a:lnTo>
                  <a:lnTo>
                    <a:pt x="244" y="68"/>
                  </a:lnTo>
                  <a:lnTo>
                    <a:pt x="273" y="89"/>
                  </a:lnTo>
                  <a:lnTo>
                    <a:pt x="304" y="112"/>
                  </a:lnTo>
                  <a:lnTo>
                    <a:pt x="336" y="139"/>
                  </a:lnTo>
                  <a:lnTo>
                    <a:pt x="351" y="153"/>
                  </a:lnTo>
                  <a:lnTo>
                    <a:pt x="367" y="168"/>
                  </a:lnTo>
                  <a:lnTo>
                    <a:pt x="383" y="184"/>
                  </a:lnTo>
                  <a:lnTo>
                    <a:pt x="398" y="201"/>
                  </a:lnTo>
                  <a:lnTo>
                    <a:pt x="413" y="218"/>
                  </a:lnTo>
                  <a:lnTo>
                    <a:pt x="427" y="236"/>
                  </a:lnTo>
                  <a:lnTo>
                    <a:pt x="441" y="255"/>
                  </a:lnTo>
                  <a:lnTo>
                    <a:pt x="454" y="274"/>
                  </a:lnTo>
                  <a:lnTo>
                    <a:pt x="467" y="295"/>
                  </a:lnTo>
                  <a:lnTo>
                    <a:pt x="479" y="316"/>
                  </a:lnTo>
                  <a:lnTo>
                    <a:pt x="490" y="338"/>
                  </a:lnTo>
                  <a:lnTo>
                    <a:pt x="500" y="360"/>
                  </a:lnTo>
                  <a:lnTo>
                    <a:pt x="500" y="360"/>
                  </a:lnTo>
                  <a:lnTo>
                    <a:pt x="505" y="371"/>
                  </a:lnTo>
                  <a:lnTo>
                    <a:pt x="508" y="382"/>
                  </a:lnTo>
                  <a:lnTo>
                    <a:pt x="511" y="393"/>
                  </a:lnTo>
                  <a:lnTo>
                    <a:pt x="513" y="403"/>
                  </a:lnTo>
                  <a:lnTo>
                    <a:pt x="515" y="413"/>
                  </a:lnTo>
                  <a:lnTo>
                    <a:pt x="515" y="422"/>
                  </a:lnTo>
                  <a:lnTo>
                    <a:pt x="515" y="432"/>
                  </a:lnTo>
                  <a:lnTo>
                    <a:pt x="514" y="441"/>
                  </a:lnTo>
                  <a:lnTo>
                    <a:pt x="513" y="449"/>
                  </a:lnTo>
                  <a:lnTo>
                    <a:pt x="511" y="458"/>
                  </a:lnTo>
                  <a:lnTo>
                    <a:pt x="508" y="466"/>
                  </a:lnTo>
                  <a:lnTo>
                    <a:pt x="504" y="473"/>
                  </a:lnTo>
                  <a:lnTo>
                    <a:pt x="501" y="481"/>
                  </a:lnTo>
                  <a:lnTo>
                    <a:pt x="496" y="488"/>
                  </a:lnTo>
                  <a:lnTo>
                    <a:pt x="485" y="501"/>
                  </a:lnTo>
                  <a:lnTo>
                    <a:pt x="472" y="513"/>
                  </a:lnTo>
                  <a:lnTo>
                    <a:pt x="458" y="524"/>
                  </a:lnTo>
                  <a:lnTo>
                    <a:pt x="442" y="535"/>
                  </a:lnTo>
                  <a:lnTo>
                    <a:pt x="424" y="544"/>
                  </a:lnTo>
                  <a:lnTo>
                    <a:pt x="405" y="552"/>
                  </a:lnTo>
                  <a:lnTo>
                    <a:pt x="384" y="559"/>
                  </a:lnTo>
                  <a:lnTo>
                    <a:pt x="363" y="565"/>
                  </a:lnTo>
                  <a:lnTo>
                    <a:pt x="340" y="571"/>
                  </a:lnTo>
                  <a:lnTo>
                    <a:pt x="317" y="575"/>
                  </a:lnTo>
                  <a:lnTo>
                    <a:pt x="294" y="579"/>
                  </a:lnTo>
                  <a:lnTo>
                    <a:pt x="270" y="582"/>
                  </a:lnTo>
                  <a:lnTo>
                    <a:pt x="246" y="584"/>
                  </a:lnTo>
                  <a:lnTo>
                    <a:pt x="222" y="586"/>
                  </a:lnTo>
                  <a:lnTo>
                    <a:pt x="198" y="587"/>
                  </a:lnTo>
                  <a:lnTo>
                    <a:pt x="150" y="587"/>
                  </a:lnTo>
                  <a:lnTo>
                    <a:pt x="106" y="585"/>
                  </a:lnTo>
                  <a:lnTo>
                    <a:pt x="65" y="581"/>
                  </a:lnTo>
                  <a:lnTo>
                    <a:pt x="30" y="575"/>
                  </a:lnTo>
                  <a:lnTo>
                    <a:pt x="14" y="572"/>
                  </a:lnTo>
                  <a:lnTo>
                    <a:pt x="0" y="568"/>
                  </a:lnTo>
                  <a:lnTo>
                    <a:pt x="16" y="360"/>
                  </a:lnTo>
                  <a:lnTo>
                    <a:pt x="337" y="400"/>
                  </a:lnTo>
                  <a:lnTo>
                    <a:pt x="337" y="400"/>
                  </a:lnTo>
                  <a:lnTo>
                    <a:pt x="326" y="386"/>
                  </a:lnTo>
                  <a:lnTo>
                    <a:pt x="312" y="371"/>
                  </a:lnTo>
                  <a:lnTo>
                    <a:pt x="294" y="351"/>
                  </a:lnTo>
                  <a:lnTo>
                    <a:pt x="270" y="328"/>
                  </a:lnTo>
                  <a:lnTo>
                    <a:pt x="242" y="302"/>
                  </a:lnTo>
                  <a:lnTo>
                    <a:pt x="209" y="275"/>
                  </a:lnTo>
                  <a:lnTo>
                    <a:pt x="191" y="262"/>
                  </a:lnTo>
                  <a:lnTo>
                    <a:pt x="172" y="2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4" name="Freeform 55">
              <a:extLst>
                <a:ext uri="{FF2B5EF4-FFF2-40B4-BE49-F238E27FC236}">
                  <a16:creationId xmlns:a16="http://schemas.microsoft.com/office/drawing/2014/main" id="{C8B18114-0560-4BD9-8224-D08E39395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3" y="2252"/>
              <a:ext cx="523" cy="595"/>
            </a:xfrm>
            <a:custGeom>
              <a:avLst/>
              <a:gdLst>
                <a:gd name="T0" fmla="*/ 151 w 523"/>
                <a:gd name="T1" fmla="*/ 595 h 595"/>
                <a:gd name="T2" fmla="*/ 78 w 523"/>
                <a:gd name="T3" fmla="*/ 590 h 595"/>
                <a:gd name="T4" fmla="*/ 19 w 523"/>
                <a:gd name="T5" fmla="*/ 580 h 595"/>
                <a:gd name="T6" fmla="*/ 17 w 523"/>
                <a:gd name="T7" fmla="*/ 360 h 595"/>
                <a:gd name="T8" fmla="*/ 311 w 523"/>
                <a:gd name="T9" fmla="*/ 375 h 595"/>
                <a:gd name="T10" fmla="*/ 256 w 523"/>
                <a:gd name="T11" fmla="*/ 320 h 595"/>
                <a:gd name="T12" fmla="*/ 174 w 523"/>
                <a:gd name="T13" fmla="*/ 255 h 595"/>
                <a:gd name="T14" fmla="*/ 198 w 523"/>
                <a:gd name="T15" fmla="*/ 262 h 595"/>
                <a:gd name="T16" fmla="*/ 276 w 523"/>
                <a:gd name="T17" fmla="*/ 328 h 595"/>
                <a:gd name="T18" fmla="*/ 333 w 523"/>
                <a:gd name="T19" fmla="*/ 387 h 595"/>
                <a:gd name="T20" fmla="*/ 24 w 523"/>
                <a:gd name="T21" fmla="*/ 368 h 595"/>
                <a:gd name="T22" fmla="*/ 28 w 523"/>
                <a:gd name="T23" fmla="*/ 574 h 595"/>
                <a:gd name="T24" fmla="*/ 110 w 523"/>
                <a:gd name="T25" fmla="*/ 585 h 595"/>
                <a:gd name="T26" fmla="*/ 214 w 523"/>
                <a:gd name="T27" fmla="*/ 586 h 595"/>
                <a:gd name="T28" fmla="*/ 278 w 523"/>
                <a:gd name="T29" fmla="*/ 581 h 595"/>
                <a:gd name="T30" fmla="*/ 357 w 523"/>
                <a:gd name="T31" fmla="*/ 567 h 595"/>
                <a:gd name="T32" fmla="*/ 407 w 523"/>
                <a:gd name="T33" fmla="*/ 552 h 595"/>
                <a:gd name="T34" fmla="*/ 452 w 523"/>
                <a:gd name="T35" fmla="*/ 530 h 595"/>
                <a:gd name="T36" fmla="*/ 488 w 523"/>
                <a:gd name="T37" fmla="*/ 501 h 595"/>
                <a:gd name="T38" fmla="*/ 498 w 523"/>
                <a:gd name="T39" fmla="*/ 487 h 595"/>
                <a:gd name="T40" fmla="*/ 509 w 523"/>
                <a:gd name="T41" fmla="*/ 465 h 595"/>
                <a:gd name="T42" fmla="*/ 515 w 523"/>
                <a:gd name="T43" fmla="*/ 440 h 595"/>
                <a:gd name="T44" fmla="*/ 514 w 523"/>
                <a:gd name="T45" fmla="*/ 414 h 595"/>
                <a:gd name="T46" fmla="*/ 501 w 523"/>
                <a:gd name="T47" fmla="*/ 366 h 595"/>
                <a:gd name="T48" fmla="*/ 480 w 523"/>
                <a:gd name="T49" fmla="*/ 322 h 595"/>
                <a:gd name="T50" fmla="*/ 442 w 523"/>
                <a:gd name="T51" fmla="*/ 262 h 595"/>
                <a:gd name="T52" fmla="*/ 400 w 523"/>
                <a:gd name="T53" fmla="*/ 209 h 595"/>
                <a:gd name="T54" fmla="*/ 354 w 523"/>
                <a:gd name="T55" fmla="*/ 162 h 595"/>
                <a:gd name="T56" fmla="*/ 276 w 523"/>
                <a:gd name="T57" fmla="*/ 97 h 595"/>
                <a:gd name="T58" fmla="*/ 194 w 523"/>
                <a:gd name="T59" fmla="*/ 43 h 595"/>
                <a:gd name="T60" fmla="*/ 127 w 523"/>
                <a:gd name="T61" fmla="*/ 8 h 595"/>
                <a:gd name="T62" fmla="*/ 143 w 523"/>
                <a:gd name="T63" fmla="*/ 6 h 595"/>
                <a:gd name="T64" fmla="*/ 224 w 523"/>
                <a:gd name="T65" fmla="*/ 51 h 595"/>
                <a:gd name="T66" fmla="*/ 312 w 523"/>
                <a:gd name="T67" fmla="*/ 115 h 595"/>
                <a:gd name="T68" fmla="*/ 375 w 523"/>
                <a:gd name="T69" fmla="*/ 171 h 595"/>
                <a:gd name="T70" fmla="*/ 421 w 523"/>
                <a:gd name="T71" fmla="*/ 221 h 595"/>
                <a:gd name="T72" fmla="*/ 462 w 523"/>
                <a:gd name="T73" fmla="*/ 277 h 595"/>
                <a:gd name="T74" fmla="*/ 498 w 523"/>
                <a:gd name="T75" fmla="*/ 340 h 595"/>
                <a:gd name="T76" fmla="*/ 516 w 523"/>
                <a:gd name="T77" fmla="*/ 383 h 595"/>
                <a:gd name="T78" fmla="*/ 522 w 523"/>
                <a:gd name="T79" fmla="*/ 413 h 595"/>
                <a:gd name="T80" fmla="*/ 523 w 523"/>
                <a:gd name="T81" fmla="*/ 441 h 595"/>
                <a:gd name="T82" fmla="*/ 517 w 523"/>
                <a:gd name="T83" fmla="*/ 467 h 595"/>
                <a:gd name="T84" fmla="*/ 505 w 523"/>
                <a:gd name="T85" fmla="*/ 491 h 595"/>
                <a:gd name="T86" fmla="*/ 494 w 523"/>
                <a:gd name="T87" fmla="*/ 506 h 595"/>
                <a:gd name="T88" fmla="*/ 453 w 523"/>
                <a:gd name="T89" fmla="*/ 539 h 595"/>
                <a:gd name="T90" fmla="*/ 399 w 523"/>
                <a:gd name="T91" fmla="*/ 563 h 595"/>
                <a:gd name="T92" fmla="*/ 337 w 523"/>
                <a:gd name="T93" fmla="*/ 580 h 595"/>
                <a:gd name="T94" fmla="*/ 269 w 523"/>
                <a:gd name="T95" fmla="*/ 590 h 595"/>
                <a:gd name="T96" fmla="*/ 177 w 523"/>
                <a:gd name="T97" fmla="*/ 595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3" h="595">
                  <a:moveTo>
                    <a:pt x="177" y="595"/>
                  </a:moveTo>
                  <a:lnTo>
                    <a:pt x="177" y="595"/>
                  </a:lnTo>
                  <a:lnTo>
                    <a:pt x="151" y="595"/>
                  </a:lnTo>
                  <a:lnTo>
                    <a:pt x="125" y="594"/>
                  </a:lnTo>
                  <a:lnTo>
                    <a:pt x="101" y="592"/>
                  </a:lnTo>
                  <a:lnTo>
                    <a:pt x="78" y="590"/>
                  </a:lnTo>
                  <a:lnTo>
                    <a:pt x="56" y="587"/>
                  </a:lnTo>
                  <a:lnTo>
                    <a:pt x="37" y="584"/>
                  </a:lnTo>
                  <a:lnTo>
                    <a:pt x="19" y="580"/>
                  </a:lnTo>
                  <a:lnTo>
                    <a:pt x="3" y="576"/>
                  </a:lnTo>
                  <a:lnTo>
                    <a:pt x="0" y="575"/>
                  </a:lnTo>
                  <a:lnTo>
                    <a:pt x="17" y="360"/>
                  </a:lnTo>
                  <a:lnTo>
                    <a:pt x="332" y="399"/>
                  </a:lnTo>
                  <a:lnTo>
                    <a:pt x="332" y="399"/>
                  </a:lnTo>
                  <a:lnTo>
                    <a:pt x="311" y="375"/>
                  </a:lnTo>
                  <a:lnTo>
                    <a:pt x="296" y="359"/>
                  </a:lnTo>
                  <a:lnTo>
                    <a:pt x="278" y="341"/>
                  </a:lnTo>
                  <a:lnTo>
                    <a:pt x="256" y="320"/>
                  </a:lnTo>
                  <a:lnTo>
                    <a:pt x="232" y="299"/>
                  </a:lnTo>
                  <a:lnTo>
                    <a:pt x="204" y="277"/>
                  </a:lnTo>
                  <a:lnTo>
                    <a:pt x="174" y="255"/>
                  </a:lnTo>
                  <a:lnTo>
                    <a:pt x="179" y="249"/>
                  </a:lnTo>
                  <a:lnTo>
                    <a:pt x="179" y="249"/>
                  </a:lnTo>
                  <a:lnTo>
                    <a:pt x="198" y="262"/>
                  </a:lnTo>
                  <a:lnTo>
                    <a:pt x="215" y="276"/>
                  </a:lnTo>
                  <a:lnTo>
                    <a:pt x="248" y="303"/>
                  </a:lnTo>
                  <a:lnTo>
                    <a:pt x="276" y="328"/>
                  </a:lnTo>
                  <a:lnTo>
                    <a:pt x="300" y="352"/>
                  </a:lnTo>
                  <a:lnTo>
                    <a:pt x="319" y="372"/>
                  </a:lnTo>
                  <a:lnTo>
                    <a:pt x="333" y="387"/>
                  </a:lnTo>
                  <a:lnTo>
                    <a:pt x="344" y="402"/>
                  </a:lnTo>
                  <a:lnTo>
                    <a:pt x="350" y="409"/>
                  </a:lnTo>
                  <a:lnTo>
                    <a:pt x="24" y="368"/>
                  </a:lnTo>
                  <a:lnTo>
                    <a:pt x="9" y="569"/>
                  </a:lnTo>
                  <a:lnTo>
                    <a:pt x="9" y="569"/>
                  </a:lnTo>
                  <a:lnTo>
                    <a:pt x="28" y="574"/>
                  </a:lnTo>
                  <a:lnTo>
                    <a:pt x="52" y="578"/>
                  </a:lnTo>
                  <a:lnTo>
                    <a:pt x="79" y="582"/>
                  </a:lnTo>
                  <a:lnTo>
                    <a:pt x="110" y="585"/>
                  </a:lnTo>
                  <a:lnTo>
                    <a:pt x="142" y="586"/>
                  </a:lnTo>
                  <a:lnTo>
                    <a:pt x="177" y="587"/>
                  </a:lnTo>
                  <a:lnTo>
                    <a:pt x="214" y="586"/>
                  </a:lnTo>
                  <a:lnTo>
                    <a:pt x="251" y="584"/>
                  </a:lnTo>
                  <a:lnTo>
                    <a:pt x="251" y="584"/>
                  </a:lnTo>
                  <a:lnTo>
                    <a:pt x="278" y="581"/>
                  </a:lnTo>
                  <a:lnTo>
                    <a:pt x="308" y="577"/>
                  </a:lnTo>
                  <a:lnTo>
                    <a:pt x="341" y="571"/>
                  </a:lnTo>
                  <a:lnTo>
                    <a:pt x="357" y="567"/>
                  </a:lnTo>
                  <a:lnTo>
                    <a:pt x="374" y="563"/>
                  </a:lnTo>
                  <a:lnTo>
                    <a:pt x="390" y="558"/>
                  </a:lnTo>
                  <a:lnTo>
                    <a:pt x="407" y="552"/>
                  </a:lnTo>
                  <a:lnTo>
                    <a:pt x="422" y="546"/>
                  </a:lnTo>
                  <a:lnTo>
                    <a:pt x="438" y="538"/>
                  </a:lnTo>
                  <a:lnTo>
                    <a:pt x="452" y="530"/>
                  </a:lnTo>
                  <a:lnTo>
                    <a:pt x="465" y="521"/>
                  </a:lnTo>
                  <a:lnTo>
                    <a:pt x="477" y="511"/>
                  </a:lnTo>
                  <a:lnTo>
                    <a:pt x="488" y="501"/>
                  </a:lnTo>
                  <a:lnTo>
                    <a:pt x="488" y="501"/>
                  </a:lnTo>
                  <a:lnTo>
                    <a:pt x="493" y="494"/>
                  </a:lnTo>
                  <a:lnTo>
                    <a:pt x="498" y="487"/>
                  </a:lnTo>
                  <a:lnTo>
                    <a:pt x="503" y="480"/>
                  </a:lnTo>
                  <a:lnTo>
                    <a:pt x="506" y="472"/>
                  </a:lnTo>
                  <a:lnTo>
                    <a:pt x="509" y="465"/>
                  </a:lnTo>
                  <a:lnTo>
                    <a:pt x="512" y="457"/>
                  </a:lnTo>
                  <a:lnTo>
                    <a:pt x="514" y="448"/>
                  </a:lnTo>
                  <a:lnTo>
                    <a:pt x="515" y="440"/>
                  </a:lnTo>
                  <a:lnTo>
                    <a:pt x="515" y="432"/>
                  </a:lnTo>
                  <a:lnTo>
                    <a:pt x="515" y="423"/>
                  </a:lnTo>
                  <a:lnTo>
                    <a:pt x="514" y="414"/>
                  </a:lnTo>
                  <a:lnTo>
                    <a:pt x="513" y="405"/>
                  </a:lnTo>
                  <a:lnTo>
                    <a:pt x="508" y="385"/>
                  </a:lnTo>
                  <a:lnTo>
                    <a:pt x="501" y="366"/>
                  </a:lnTo>
                  <a:lnTo>
                    <a:pt x="501" y="366"/>
                  </a:lnTo>
                  <a:lnTo>
                    <a:pt x="491" y="343"/>
                  </a:lnTo>
                  <a:lnTo>
                    <a:pt x="480" y="322"/>
                  </a:lnTo>
                  <a:lnTo>
                    <a:pt x="468" y="301"/>
                  </a:lnTo>
                  <a:lnTo>
                    <a:pt x="455" y="281"/>
                  </a:lnTo>
                  <a:lnTo>
                    <a:pt x="442" y="262"/>
                  </a:lnTo>
                  <a:lnTo>
                    <a:pt x="428" y="244"/>
                  </a:lnTo>
                  <a:lnTo>
                    <a:pt x="414" y="226"/>
                  </a:lnTo>
                  <a:lnTo>
                    <a:pt x="400" y="209"/>
                  </a:lnTo>
                  <a:lnTo>
                    <a:pt x="385" y="192"/>
                  </a:lnTo>
                  <a:lnTo>
                    <a:pt x="369" y="177"/>
                  </a:lnTo>
                  <a:lnTo>
                    <a:pt x="354" y="162"/>
                  </a:lnTo>
                  <a:lnTo>
                    <a:pt x="338" y="147"/>
                  </a:lnTo>
                  <a:lnTo>
                    <a:pt x="307" y="121"/>
                  </a:lnTo>
                  <a:lnTo>
                    <a:pt x="276" y="97"/>
                  </a:lnTo>
                  <a:lnTo>
                    <a:pt x="247" y="76"/>
                  </a:lnTo>
                  <a:lnTo>
                    <a:pt x="219" y="58"/>
                  </a:lnTo>
                  <a:lnTo>
                    <a:pt x="194" y="43"/>
                  </a:lnTo>
                  <a:lnTo>
                    <a:pt x="172" y="30"/>
                  </a:lnTo>
                  <a:lnTo>
                    <a:pt x="139" y="14"/>
                  </a:lnTo>
                  <a:lnTo>
                    <a:pt x="127" y="8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43" y="6"/>
                  </a:lnTo>
                  <a:lnTo>
                    <a:pt x="176" y="23"/>
                  </a:lnTo>
                  <a:lnTo>
                    <a:pt x="198" y="36"/>
                  </a:lnTo>
                  <a:lnTo>
                    <a:pt x="224" y="51"/>
                  </a:lnTo>
                  <a:lnTo>
                    <a:pt x="251" y="70"/>
                  </a:lnTo>
                  <a:lnTo>
                    <a:pt x="281" y="91"/>
                  </a:lnTo>
                  <a:lnTo>
                    <a:pt x="312" y="115"/>
                  </a:lnTo>
                  <a:lnTo>
                    <a:pt x="344" y="142"/>
                  </a:lnTo>
                  <a:lnTo>
                    <a:pt x="359" y="156"/>
                  </a:lnTo>
                  <a:lnTo>
                    <a:pt x="375" y="171"/>
                  </a:lnTo>
                  <a:lnTo>
                    <a:pt x="391" y="187"/>
                  </a:lnTo>
                  <a:lnTo>
                    <a:pt x="406" y="204"/>
                  </a:lnTo>
                  <a:lnTo>
                    <a:pt x="421" y="221"/>
                  </a:lnTo>
                  <a:lnTo>
                    <a:pt x="435" y="239"/>
                  </a:lnTo>
                  <a:lnTo>
                    <a:pt x="449" y="258"/>
                  </a:lnTo>
                  <a:lnTo>
                    <a:pt x="462" y="277"/>
                  </a:lnTo>
                  <a:lnTo>
                    <a:pt x="475" y="297"/>
                  </a:lnTo>
                  <a:lnTo>
                    <a:pt x="487" y="318"/>
                  </a:lnTo>
                  <a:lnTo>
                    <a:pt x="498" y="340"/>
                  </a:lnTo>
                  <a:lnTo>
                    <a:pt x="508" y="362"/>
                  </a:lnTo>
                  <a:lnTo>
                    <a:pt x="508" y="362"/>
                  </a:lnTo>
                  <a:lnTo>
                    <a:pt x="516" y="383"/>
                  </a:lnTo>
                  <a:lnTo>
                    <a:pt x="519" y="394"/>
                  </a:lnTo>
                  <a:lnTo>
                    <a:pt x="521" y="404"/>
                  </a:lnTo>
                  <a:lnTo>
                    <a:pt x="522" y="413"/>
                  </a:lnTo>
                  <a:lnTo>
                    <a:pt x="523" y="423"/>
                  </a:lnTo>
                  <a:lnTo>
                    <a:pt x="523" y="432"/>
                  </a:lnTo>
                  <a:lnTo>
                    <a:pt x="523" y="441"/>
                  </a:lnTo>
                  <a:lnTo>
                    <a:pt x="522" y="450"/>
                  </a:lnTo>
                  <a:lnTo>
                    <a:pt x="520" y="459"/>
                  </a:lnTo>
                  <a:lnTo>
                    <a:pt x="517" y="467"/>
                  </a:lnTo>
                  <a:lnTo>
                    <a:pt x="514" y="476"/>
                  </a:lnTo>
                  <a:lnTo>
                    <a:pt x="510" y="484"/>
                  </a:lnTo>
                  <a:lnTo>
                    <a:pt x="505" y="491"/>
                  </a:lnTo>
                  <a:lnTo>
                    <a:pt x="500" y="499"/>
                  </a:lnTo>
                  <a:lnTo>
                    <a:pt x="494" y="506"/>
                  </a:lnTo>
                  <a:lnTo>
                    <a:pt x="494" y="506"/>
                  </a:lnTo>
                  <a:lnTo>
                    <a:pt x="482" y="518"/>
                  </a:lnTo>
                  <a:lnTo>
                    <a:pt x="468" y="529"/>
                  </a:lnTo>
                  <a:lnTo>
                    <a:pt x="453" y="539"/>
                  </a:lnTo>
                  <a:lnTo>
                    <a:pt x="436" y="548"/>
                  </a:lnTo>
                  <a:lnTo>
                    <a:pt x="418" y="556"/>
                  </a:lnTo>
                  <a:lnTo>
                    <a:pt x="399" y="563"/>
                  </a:lnTo>
                  <a:lnTo>
                    <a:pt x="379" y="570"/>
                  </a:lnTo>
                  <a:lnTo>
                    <a:pt x="358" y="575"/>
                  </a:lnTo>
                  <a:lnTo>
                    <a:pt x="337" y="580"/>
                  </a:lnTo>
                  <a:lnTo>
                    <a:pt x="314" y="584"/>
                  </a:lnTo>
                  <a:lnTo>
                    <a:pt x="292" y="588"/>
                  </a:lnTo>
                  <a:lnTo>
                    <a:pt x="269" y="590"/>
                  </a:lnTo>
                  <a:lnTo>
                    <a:pt x="246" y="592"/>
                  </a:lnTo>
                  <a:lnTo>
                    <a:pt x="223" y="594"/>
                  </a:lnTo>
                  <a:lnTo>
                    <a:pt x="177" y="595"/>
                  </a:lnTo>
                  <a:lnTo>
                    <a:pt x="177" y="59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5" name="Freeform 56">
              <a:extLst>
                <a:ext uri="{FF2B5EF4-FFF2-40B4-BE49-F238E27FC236}">
                  <a16:creationId xmlns:a16="http://schemas.microsoft.com/office/drawing/2014/main" id="{7656A6FD-9B26-4EDF-B98D-55F8F8BFB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" y="2256"/>
              <a:ext cx="92" cy="540"/>
            </a:xfrm>
            <a:custGeom>
              <a:avLst/>
              <a:gdLst>
                <a:gd name="T0" fmla="*/ 92 w 92"/>
                <a:gd name="T1" fmla="*/ 0 h 540"/>
                <a:gd name="T2" fmla="*/ 80 w 92"/>
                <a:gd name="T3" fmla="*/ 540 h 540"/>
                <a:gd name="T4" fmla="*/ 0 w 92"/>
                <a:gd name="T5" fmla="*/ 12 h 540"/>
                <a:gd name="T6" fmla="*/ 92 w 92"/>
                <a:gd name="T7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540">
                  <a:moveTo>
                    <a:pt x="92" y="0"/>
                  </a:moveTo>
                  <a:lnTo>
                    <a:pt x="80" y="540"/>
                  </a:lnTo>
                  <a:lnTo>
                    <a:pt x="0" y="12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FE9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6" name="Freeform 57">
              <a:extLst>
                <a:ext uri="{FF2B5EF4-FFF2-40B4-BE49-F238E27FC236}">
                  <a16:creationId xmlns:a16="http://schemas.microsoft.com/office/drawing/2014/main" id="{BADDE580-EF65-4046-AB04-EC34F8C967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5" y="2252"/>
              <a:ext cx="100" cy="548"/>
            </a:xfrm>
            <a:custGeom>
              <a:avLst/>
              <a:gdLst>
                <a:gd name="T0" fmla="*/ 84 w 100"/>
                <a:gd name="T1" fmla="*/ 548 h 548"/>
                <a:gd name="T2" fmla="*/ 84 w 100"/>
                <a:gd name="T3" fmla="*/ 548 h 548"/>
                <a:gd name="T4" fmla="*/ 82 w 100"/>
                <a:gd name="T5" fmla="*/ 547 h 548"/>
                <a:gd name="T6" fmla="*/ 80 w 100"/>
                <a:gd name="T7" fmla="*/ 545 h 548"/>
                <a:gd name="T8" fmla="*/ 0 w 100"/>
                <a:gd name="T9" fmla="*/ 17 h 548"/>
                <a:gd name="T10" fmla="*/ 0 w 100"/>
                <a:gd name="T11" fmla="*/ 17 h 548"/>
                <a:gd name="T12" fmla="*/ 0 w 100"/>
                <a:gd name="T13" fmla="*/ 15 h 548"/>
                <a:gd name="T14" fmla="*/ 1 w 100"/>
                <a:gd name="T15" fmla="*/ 14 h 548"/>
                <a:gd name="T16" fmla="*/ 1 w 100"/>
                <a:gd name="T17" fmla="*/ 14 h 548"/>
                <a:gd name="T18" fmla="*/ 2 w 100"/>
                <a:gd name="T19" fmla="*/ 13 h 548"/>
                <a:gd name="T20" fmla="*/ 4 w 100"/>
                <a:gd name="T21" fmla="*/ 12 h 548"/>
                <a:gd name="T22" fmla="*/ 96 w 100"/>
                <a:gd name="T23" fmla="*/ 0 h 548"/>
                <a:gd name="T24" fmla="*/ 96 w 100"/>
                <a:gd name="T25" fmla="*/ 0 h 548"/>
                <a:gd name="T26" fmla="*/ 98 w 100"/>
                <a:gd name="T27" fmla="*/ 0 h 548"/>
                <a:gd name="T28" fmla="*/ 99 w 100"/>
                <a:gd name="T29" fmla="*/ 1 h 548"/>
                <a:gd name="T30" fmla="*/ 99 w 100"/>
                <a:gd name="T31" fmla="*/ 1 h 548"/>
                <a:gd name="T32" fmla="*/ 100 w 100"/>
                <a:gd name="T33" fmla="*/ 2 h 548"/>
                <a:gd name="T34" fmla="*/ 100 w 100"/>
                <a:gd name="T35" fmla="*/ 4 h 548"/>
                <a:gd name="T36" fmla="*/ 88 w 100"/>
                <a:gd name="T37" fmla="*/ 544 h 548"/>
                <a:gd name="T38" fmla="*/ 88 w 100"/>
                <a:gd name="T39" fmla="*/ 544 h 548"/>
                <a:gd name="T40" fmla="*/ 87 w 100"/>
                <a:gd name="T41" fmla="*/ 547 h 548"/>
                <a:gd name="T42" fmla="*/ 85 w 100"/>
                <a:gd name="T43" fmla="*/ 548 h 548"/>
                <a:gd name="T44" fmla="*/ 84 w 100"/>
                <a:gd name="T45" fmla="*/ 548 h 548"/>
                <a:gd name="T46" fmla="*/ 9 w 100"/>
                <a:gd name="T47" fmla="*/ 19 h 548"/>
                <a:gd name="T48" fmla="*/ 81 w 100"/>
                <a:gd name="T49" fmla="*/ 498 h 548"/>
                <a:gd name="T50" fmla="*/ 92 w 100"/>
                <a:gd name="T51" fmla="*/ 9 h 548"/>
                <a:gd name="T52" fmla="*/ 9 w 100"/>
                <a:gd name="T53" fmla="*/ 19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548">
                  <a:moveTo>
                    <a:pt x="84" y="548"/>
                  </a:moveTo>
                  <a:lnTo>
                    <a:pt x="84" y="548"/>
                  </a:lnTo>
                  <a:lnTo>
                    <a:pt x="82" y="547"/>
                  </a:lnTo>
                  <a:lnTo>
                    <a:pt x="80" y="54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4" y="1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9" y="1"/>
                  </a:lnTo>
                  <a:lnTo>
                    <a:pt x="99" y="1"/>
                  </a:lnTo>
                  <a:lnTo>
                    <a:pt x="100" y="2"/>
                  </a:lnTo>
                  <a:lnTo>
                    <a:pt x="100" y="4"/>
                  </a:lnTo>
                  <a:lnTo>
                    <a:pt x="88" y="544"/>
                  </a:lnTo>
                  <a:lnTo>
                    <a:pt x="88" y="544"/>
                  </a:lnTo>
                  <a:lnTo>
                    <a:pt x="87" y="547"/>
                  </a:lnTo>
                  <a:lnTo>
                    <a:pt x="85" y="548"/>
                  </a:lnTo>
                  <a:lnTo>
                    <a:pt x="84" y="548"/>
                  </a:lnTo>
                  <a:close/>
                  <a:moveTo>
                    <a:pt x="9" y="19"/>
                  </a:moveTo>
                  <a:lnTo>
                    <a:pt x="81" y="498"/>
                  </a:lnTo>
                  <a:lnTo>
                    <a:pt x="92" y="9"/>
                  </a:lnTo>
                  <a:lnTo>
                    <a:pt x="9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7" name="Freeform 58">
              <a:extLst>
                <a:ext uri="{FF2B5EF4-FFF2-40B4-BE49-F238E27FC236}">
                  <a16:creationId xmlns:a16="http://schemas.microsoft.com/office/drawing/2014/main" id="{5ACB1FAA-75C5-4304-B563-D9594ABC8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" y="1462"/>
              <a:ext cx="1064" cy="909"/>
            </a:xfrm>
            <a:custGeom>
              <a:avLst/>
              <a:gdLst>
                <a:gd name="T0" fmla="*/ 727 w 1064"/>
                <a:gd name="T1" fmla="*/ 176 h 909"/>
                <a:gd name="T2" fmla="*/ 687 w 1064"/>
                <a:gd name="T3" fmla="*/ 106 h 909"/>
                <a:gd name="T4" fmla="*/ 621 w 1064"/>
                <a:gd name="T5" fmla="*/ 50 h 909"/>
                <a:gd name="T6" fmla="*/ 536 w 1064"/>
                <a:gd name="T7" fmla="*/ 13 h 909"/>
                <a:gd name="T8" fmla="*/ 436 w 1064"/>
                <a:gd name="T9" fmla="*/ 0 h 909"/>
                <a:gd name="T10" fmla="*/ 376 w 1064"/>
                <a:gd name="T11" fmla="*/ 5 h 909"/>
                <a:gd name="T12" fmla="*/ 268 w 1064"/>
                <a:gd name="T13" fmla="*/ 40 h 909"/>
                <a:gd name="T14" fmla="*/ 205 w 1064"/>
                <a:gd name="T15" fmla="*/ 86 h 909"/>
                <a:gd name="T16" fmla="*/ 172 w 1064"/>
                <a:gd name="T17" fmla="*/ 123 h 909"/>
                <a:gd name="T18" fmla="*/ 149 w 1064"/>
                <a:gd name="T19" fmla="*/ 165 h 909"/>
                <a:gd name="T20" fmla="*/ 138 w 1064"/>
                <a:gd name="T21" fmla="*/ 211 h 909"/>
                <a:gd name="T22" fmla="*/ 136 w 1064"/>
                <a:gd name="T23" fmla="*/ 247 h 909"/>
                <a:gd name="T24" fmla="*/ 145 w 1064"/>
                <a:gd name="T25" fmla="*/ 293 h 909"/>
                <a:gd name="T26" fmla="*/ 159 w 1064"/>
                <a:gd name="T27" fmla="*/ 326 h 909"/>
                <a:gd name="T28" fmla="*/ 128 w 1064"/>
                <a:gd name="T29" fmla="*/ 386 h 909"/>
                <a:gd name="T30" fmla="*/ 108 w 1064"/>
                <a:gd name="T31" fmla="*/ 452 h 909"/>
                <a:gd name="T32" fmla="*/ 74 w 1064"/>
                <a:gd name="T33" fmla="*/ 478 h 909"/>
                <a:gd name="T34" fmla="*/ 37 w 1064"/>
                <a:gd name="T35" fmla="*/ 521 h 909"/>
                <a:gd name="T36" fmla="*/ 12 w 1064"/>
                <a:gd name="T37" fmla="*/ 573 h 909"/>
                <a:gd name="T38" fmla="*/ 1 w 1064"/>
                <a:gd name="T39" fmla="*/ 631 h 909"/>
                <a:gd name="T40" fmla="*/ 5 w 1064"/>
                <a:gd name="T41" fmla="*/ 692 h 909"/>
                <a:gd name="T42" fmla="*/ 39 w 1064"/>
                <a:gd name="T43" fmla="*/ 773 h 909"/>
                <a:gd name="T44" fmla="*/ 101 w 1064"/>
                <a:gd name="T45" fmla="*/ 835 h 909"/>
                <a:gd name="T46" fmla="*/ 182 w 1064"/>
                <a:gd name="T47" fmla="*/ 869 h 909"/>
                <a:gd name="T48" fmla="*/ 246 w 1064"/>
                <a:gd name="T49" fmla="*/ 873 h 909"/>
                <a:gd name="T50" fmla="*/ 299 w 1064"/>
                <a:gd name="T51" fmla="*/ 863 h 909"/>
                <a:gd name="T52" fmla="*/ 385 w 1064"/>
                <a:gd name="T53" fmla="*/ 897 h 909"/>
                <a:gd name="T54" fmla="*/ 480 w 1064"/>
                <a:gd name="T55" fmla="*/ 909 h 909"/>
                <a:gd name="T56" fmla="*/ 529 w 1064"/>
                <a:gd name="T57" fmla="*/ 906 h 909"/>
                <a:gd name="T58" fmla="*/ 591 w 1064"/>
                <a:gd name="T59" fmla="*/ 892 h 909"/>
                <a:gd name="T60" fmla="*/ 648 w 1064"/>
                <a:gd name="T61" fmla="*/ 870 h 909"/>
                <a:gd name="T62" fmla="*/ 701 w 1064"/>
                <a:gd name="T63" fmla="*/ 838 h 909"/>
                <a:gd name="T64" fmla="*/ 737 w 1064"/>
                <a:gd name="T65" fmla="*/ 830 h 909"/>
                <a:gd name="T66" fmla="*/ 803 w 1064"/>
                <a:gd name="T67" fmla="*/ 823 h 909"/>
                <a:gd name="T68" fmla="*/ 864 w 1064"/>
                <a:gd name="T69" fmla="*/ 804 h 909"/>
                <a:gd name="T70" fmla="*/ 920 w 1064"/>
                <a:gd name="T71" fmla="*/ 774 h 909"/>
                <a:gd name="T72" fmla="*/ 968 w 1064"/>
                <a:gd name="T73" fmla="*/ 734 h 909"/>
                <a:gd name="T74" fmla="*/ 1008 w 1064"/>
                <a:gd name="T75" fmla="*/ 686 h 909"/>
                <a:gd name="T76" fmla="*/ 1038 w 1064"/>
                <a:gd name="T77" fmla="*/ 630 h 909"/>
                <a:gd name="T78" fmla="*/ 1057 w 1064"/>
                <a:gd name="T79" fmla="*/ 569 h 909"/>
                <a:gd name="T80" fmla="*/ 1064 w 1064"/>
                <a:gd name="T81" fmla="*/ 503 h 909"/>
                <a:gd name="T82" fmla="*/ 1060 w 1064"/>
                <a:gd name="T83" fmla="*/ 453 h 909"/>
                <a:gd name="T84" fmla="*/ 1044 w 1064"/>
                <a:gd name="T85" fmla="*/ 391 h 909"/>
                <a:gd name="T86" fmla="*/ 1017 w 1064"/>
                <a:gd name="T87" fmla="*/ 333 h 909"/>
                <a:gd name="T88" fmla="*/ 979 w 1064"/>
                <a:gd name="T89" fmla="*/ 283 h 909"/>
                <a:gd name="T90" fmla="*/ 933 w 1064"/>
                <a:gd name="T91" fmla="*/ 241 h 909"/>
                <a:gd name="T92" fmla="*/ 879 w 1064"/>
                <a:gd name="T93" fmla="*/ 208 h 909"/>
                <a:gd name="T94" fmla="*/ 819 w 1064"/>
                <a:gd name="T95" fmla="*/ 186 h 909"/>
                <a:gd name="T96" fmla="*/ 754 w 1064"/>
                <a:gd name="T97" fmla="*/ 176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64" h="909">
                  <a:moveTo>
                    <a:pt x="737" y="176"/>
                  </a:moveTo>
                  <a:lnTo>
                    <a:pt x="737" y="176"/>
                  </a:lnTo>
                  <a:lnTo>
                    <a:pt x="727" y="176"/>
                  </a:lnTo>
                  <a:lnTo>
                    <a:pt x="727" y="176"/>
                  </a:lnTo>
                  <a:lnTo>
                    <a:pt x="719" y="158"/>
                  </a:lnTo>
                  <a:lnTo>
                    <a:pt x="710" y="140"/>
                  </a:lnTo>
                  <a:lnTo>
                    <a:pt x="699" y="122"/>
                  </a:lnTo>
                  <a:lnTo>
                    <a:pt x="687" y="106"/>
                  </a:lnTo>
                  <a:lnTo>
                    <a:pt x="673" y="91"/>
                  </a:lnTo>
                  <a:lnTo>
                    <a:pt x="657" y="76"/>
                  </a:lnTo>
                  <a:lnTo>
                    <a:pt x="640" y="63"/>
                  </a:lnTo>
                  <a:lnTo>
                    <a:pt x="621" y="50"/>
                  </a:lnTo>
                  <a:lnTo>
                    <a:pt x="602" y="39"/>
                  </a:lnTo>
                  <a:lnTo>
                    <a:pt x="581" y="29"/>
                  </a:lnTo>
                  <a:lnTo>
                    <a:pt x="559" y="21"/>
                  </a:lnTo>
                  <a:lnTo>
                    <a:pt x="536" y="13"/>
                  </a:lnTo>
                  <a:lnTo>
                    <a:pt x="512" y="8"/>
                  </a:lnTo>
                  <a:lnTo>
                    <a:pt x="487" y="3"/>
                  </a:lnTo>
                  <a:lnTo>
                    <a:pt x="462" y="1"/>
                  </a:lnTo>
                  <a:lnTo>
                    <a:pt x="436" y="0"/>
                  </a:lnTo>
                  <a:lnTo>
                    <a:pt x="436" y="0"/>
                  </a:lnTo>
                  <a:lnTo>
                    <a:pt x="421" y="0"/>
                  </a:lnTo>
                  <a:lnTo>
                    <a:pt x="405" y="1"/>
                  </a:lnTo>
                  <a:lnTo>
                    <a:pt x="376" y="5"/>
                  </a:lnTo>
                  <a:lnTo>
                    <a:pt x="347" y="11"/>
                  </a:lnTo>
                  <a:lnTo>
                    <a:pt x="319" y="19"/>
                  </a:lnTo>
                  <a:lnTo>
                    <a:pt x="293" y="28"/>
                  </a:lnTo>
                  <a:lnTo>
                    <a:pt x="268" y="40"/>
                  </a:lnTo>
                  <a:lnTo>
                    <a:pt x="245" y="54"/>
                  </a:lnTo>
                  <a:lnTo>
                    <a:pt x="224" y="69"/>
                  </a:lnTo>
                  <a:lnTo>
                    <a:pt x="214" y="77"/>
                  </a:lnTo>
                  <a:lnTo>
                    <a:pt x="205" y="86"/>
                  </a:lnTo>
                  <a:lnTo>
                    <a:pt x="196" y="94"/>
                  </a:lnTo>
                  <a:lnTo>
                    <a:pt x="187" y="104"/>
                  </a:lnTo>
                  <a:lnTo>
                    <a:pt x="179" y="113"/>
                  </a:lnTo>
                  <a:lnTo>
                    <a:pt x="172" y="123"/>
                  </a:lnTo>
                  <a:lnTo>
                    <a:pt x="166" y="133"/>
                  </a:lnTo>
                  <a:lnTo>
                    <a:pt x="160" y="143"/>
                  </a:lnTo>
                  <a:lnTo>
                    <a:pt x="154" y="154"/>
                  </a:lnTo>
                  <a:lnTo>
                    <a:pt x="149" y="165"/>
                  </a:lnTo>
                  <a:lnTo>
                    <a:pt x="145" y="176"/>
                  </a:lnTo>
                  <a:lnTo>
                    <a:pt x="142" y="188"/>
                  </a:lnTo>
                  <a:lnTo>
                    <a:pt x="139" y="199"/>
                  </a:lnTo>
                  <a:lnTo>
                    <a:pt x="138" y="211"/>
                  </a:lnTo>
                  <a:lnTo>
                    <a:pt x="136" y="223"/>
                  </a:lnTo>
                  <a:lnTo>
                    <a:pt x="136" y="235"/>
                  </a:lnTo>
                  <a:lnTo>
                    <a:pt x="136" y="235"/>
                  </a:lnTo>
                  <a:lnTo>
                    <a:pt x="136" y="247"/>
                  </a:lnTo>
                  <a:lnTo>
                    <a:pt x="138" y="259"/>
                  </a:lnTo>
                  <a:lnTo>
                    <a:pt x="139" y="270"/>
                  </a:lnTo>
                  <a:lnTo>
                    <a:pt x="142" y="282"/>
                  </a:lnTo>
                  <a:lnTo>
                    <a:pt x="145" y="293"/>
                  </a:lnTo>
                  <a:lnTo>
                    <a:pt x="149" y="304"/>
                  </a:lnTo>
                  <a:lnTo>
                    <a:pt x="154" y="315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1" y="340"/>
                  </a:lnTo>
                  <a:lnTo>
                    <a:pt x="142" y="355"/>
                  </a:lnTo>
                  <a:lnTo>
                    <a:pt x="135" y="370"/>
                  </a:lnTo>
                  <a:lnTo>
                    <a:pt x="128" y="386"/>
                  </a:lnTo>
                  <a:lnTo>
                    <a:pt x="122" y="402"/>
                  </a:lnTo>
                  <a:lnTo>
                    <a:pt x="117" y="418"/>
                  </a:lnTo>
                  <a:lnTo>
                    <a:pt x="112" y="435"/>
                  </a:lnTo>
                  <a:lnTo>
                    <a:pt x="108" y="452"/>
                  </a:lnTo>
                  <a:lnTo>
                    <a:pt x="108" y="452"/>
                  </a:lnTo>
                  <a:lnTo>
                    <a:pt x="96" y="460"/>
                  </a:lnTo>
                  <a:lnTo>
                    <a:pt x="85" y="469"/>
                  </a:lnTo>
                  <a:lnTo>
                    <a:pt x="74" y="478"/>
                  </a:lnTo>
                  <a:lnTo>
                    <a:pt x="64" y="488"/>
                  </a:lnTo>
                  <a:lnTo>
                    <a:pt x="54" y="498"/>
                  </a:lnTo>
                  <a:lnTo>
                    <a:pt x="45" y="509"/>
                  </a:lnTo>
                  <a:lnTo>
                    <a:pt x="37" y="521"/>
                  </a:lnTo>
                  <a:lnTo>
                    <a:pt x="30" y="533"/>
                  </a:lnTo>
                  <a:lnTo>
                    <a:pt x="23" y="546"/>
                  </a:lnTo>
                  <a:lnTo>
                    <a:pt x="17" y="559"/>
                  </a:lnTo>
                  <a:lnTo>
                    <a:pt x="12" y="573"/>
                  </a:lnTo>
                  <a:lnTo>
                    <a:pt x="8" y="587"/>
                  </a:lnTo>
                  <a:lnTo>
                    <a:pt x="4" y="601"/>
                  </a:lnTo>
                  <a:lnTo>
                    <a:pt x="2" y="616"/>
                  </a:lnTo>
                  <a:lnTo>
                    <a:pt x="1" y="631"/>
                  </a:lnTo>
                  <a:lnTo>
                    <a:pt x="0" y="646"/>
                  </a:lnTo>
                  <a:lnTo>
                    <a:pt x="0" y="646"/>
                  </a:lnTo>
                  <a:lnTo>
                    <a:pt x="1" y="669"/>
                  </a:lnTo>
                  <a:lnTo>
                    <a:pt x="5" y="692"/>
                  </a:lnTo>
                  <a:lnTo>
                    <a:pt x="10" y="714"/>
                  </a:lnTo>
                  <a:lnTo>
                    <a:pt x="18" y="735"/>
                  </a:lnTo>
                  <a:lnTo>
                    <a:pt x="28" y="755"/>
                  </a:lnTo>
                  <a:lnTo>
                    <a:pt x="39" y="773"/>
                  </a:lnTo>
                  <a:lnTo>
                    <a:pt x="52" y="791"/>
                  </a:lnTo>
                  <a:lnTo>
                    <a:pt x="67" y="807"/>
                  </a:lnTo>
                  <a:lnTo>
                    <a:pt x="83" y="822"/>
                  </a:lnTo>
                  <a:lnTo>
                    <a:pt x="101" y="835"/>
                  </a:lnTo>
                  <a:lnTo>
                    <a:pt x="119" y="846"/>
                  </a:lnTo>
                  <a:lnTo>
                    <a:pt x="139" y="856"/>
                  </a:lnTo>
                  <a:lnTo>
                    <a:pt x="160" y="864"/>
                  </a:lnTo>
                  <a:lnTo>
                    <a:pt x="182" y="869"/>
                  </a:lnTo>
                  <a:lnTo>
                    <a:pt x="205" y="873"/>
                  </a:lnTo>
                  <a:lnTo>
                    <a:pt x="228" y="874"/>
                  </a:lnTo>
                  <a:lnTo>
                    <a:pt x="228" y="874"/>
                  </a:lnTo>
                  <a:lnTo>
                    <a:pt x="246" y="873"/>
                  </a:lnTo>
                  <a:lnTo>
                    <a:pt x="264" y="871"/>
                  </a:lnTo>
                  <a:lnTo>
                    <a:pt x="282" y="868"/>
                  </a:lnTo>
                  <a:lnTo>
                    <a:pt x="299" y="863"/>
                  </a:lnTo>
                  <a:lnTo>
                    <a:pt x="299" y="863"/>
                  </a:lnTo>
                  <a:lnTo>
                    <a:pt x="319" y="873"/>
                  </a:lnTo>
                  <a:lnTo>
                    <a:pt x="341" y="882"/>
                  </a:lnTo>
                  <a:lnTo>
                    <a:pt x="363" y="890"/>
                  </a:lnTo>
                  <a:lnTo>
                    <a:pt x="385" y="897"/>
                  </a:lnTo>
                  <a:lnTo>
                    <a:pt x="408" y="902"/>
                  </a:lnTo>
                  <a:lnTo>
                    <a:pt x="432" y="906"/>
                  </a:lnTo>
                  <a:lnTo>
                    <a:pt x="456" y="908"/>
                  </a:lnTo>
                  <a:lnTo>
                    <a:pt x="480" y="909"/>
                  </a:lnTo>
                  <a:lnTo>
                    <a:pt x="480" y="909"/>
                  </a:lnTo>
                  <a:lnTo>
                    <a:pt x="497" y="908"/>
                  </a:lnTo>
                  <a:lnTo>
                    <a:pt x="513" y="907"/>
                  </a:lnTo>
                  <a:lnTo>
                    <a:pt x="529" y="906"/>
                  </a:lnTo>
                  <a:lnTo>
                    <a:pt x="545" y="903"/>
                  </a:lnTo>
                  <a:lnTo>
                    <a:pt x="560" y="900"/>
                  </a:lnTo>
                  <a:lnTo>
                    <a:pt x="576" y="897"/>
                  </a:lnTo>
                  <a:lnTo>
                    <a:pt x="591" y="892"/>
                  </a:lnTo>
                  <a:lnTo>
                    <a:pt x="606" y="888"/>
                  </a:lnTo>
                  <a:lnTo>
                    <a:pt x="620" y="882"/>
                  </a:lnTo>
                  <a:lnTo>
                    <a:pt x="634" y="876"/>
                  </a:lnTo>
                  <a:lnTo>
                    <a:pt x="648" y="870"/>
                  </a:lnTo>
                  <a:lnTo>
                    <a:pt x="662" y="862"/>
                  </a:lnTo>
                  <a:lnTo>
                    <a:pt x="675" y="855"/>
                  </a:lnTo>
                  <a:lnTo>
                    <a:pt x="688" y="847"/>
                  </a:lnTo>
                  <a:lnTo>
                    <a:pt x="701" y="838"/>
                  </a:lnTo>
                  <a:lnTo>
                    <a:pt x="713" y="829"/>
                  </a:lnTo>
                  <a:lnTo>
                    <a:pt x="713" y="829"/>
                  </a:lnTo>
                  <a:lnTo>
                    <a:pt x="737" y="830"/>
                  </a:lnTo>
                  <a:lnTo>
                    <a:pt x="737" y="830"/>
                  </a:lnTo>
                  <a:lnTo>
                    <a:pt x="754" y="829"/>
                  </a:lnTo>
                  <a:lnTo>
                    <a:pt x="771" y="828"/>
                  </a:lnTo>
                  <a:lnTo>
                    <a:pt x="787" y="826"/>
                  </a:lnTo>
                  <a:lnTo>
                    <a:pt x="803" y="823"/>
                  </a:lnTo>
                  <a:lnTo>
                    <a:pt x="819" y="820"/>
                  </a:lnTo>
                  <a:lnTo>
                    <a:pt x="834" y="815"/>
                  </a:lnTo>
                  <a:lnTo>
                    <a:pt x="850" y="810"/>
                  </a:lnTo>
                  <a:lnTo>
                    <a:pt x="864" y="804"/>
                  </a:lnTo>
                  <a:lnTo>
                    <a:pt x="879" y="798"/>
                  </a:lnTo>
                  <a:lnTo>
                    <a:pt x="893" y="790"/>
                  </a:lnTo>
                  <a:lnTo>
                    <a:pt x="907" y="782"/>
                  </a:lnTo>
                  <a:lnTo>
                    <a:pt x="920" y="774"/>
                  </a:lnTo>
                  <a:lnTo>
                    <a:pt x="933" y="765"/>
                  </a:lnTo>
                  <a:lnTo>
                    <a:pt x="945" y="755"/>
                  </a:lnTo>
                  <a:lnTo>
                    <a:pt x="957" y="745"/>
                  </a:lnTo>
                  <a:lnTo>
                    <a:pt x="968" y="734"/>
                  </a:lnTo>
                  <a:lnTo>
                    <a:pt x="979" y="723"/>
                  </a:lnTo>
                  <a:lnTo>
                    <a:pt x="989" y="711"/>
                  </a:lnTo>
                  <a:lnTo>
                    <a:pt x="999" y="698"/>
                  </a:lnTo>
                  <a:lnTo>
                    <a:pt x="1008" y="686"/>
                  </a:lnTo>
                  <a:lnTo>
                    <a:pt x="1017" y="672"/>
                  </a:lnTo>
                  <a:lnTo>
                    <a:pt x="1025" y="659"/>
                  </a:lnTo>
                  <a:lnTo>
                    <a:pt x="1032" y="645"/>
                  </a:lnTo>
                  <a:lnTo>
                    <a:pt x="1038" y="630"/>
                  </a:lnTo>
                  <a:lnTo>
                    <a:pt x="1044" y="615"/>
                  </a:lnTo>
                  <a:lnTo>
                    <a:pt x="1049" y="600"/>
                  </a:lnTo>
                  <a:lnTo>
                    <a:pt x="1054" y="585"/>
                  </a:lnTo>
                  <a:lnTo>
                    <a:pt x="1057" y="569"/>
                  </a:lnTo>
                  <a:lnTo>
                    <a:pt x="1060" y="553"/>
                  </a:lnTo>
                  <a:lnTo>
                    <a:pt x="1062" y="536"/>
                  </a:lnTo>
                  <a:lnTo>
                    <a:pt x="1064" y="520"/>
                  </a:lnTo>
                  <a:lnTo>
                    <a:pt x="1064" y="503"/>
                  </a:lnTo>
                  <a:lnTo>
                    <a:pt x="1064" y="503"/>
                  </a:lnTo>
                  <a:lnTo>
                    <a:pt x="1064" y="486"/>
                  </a:lnTo>
                  <a:lnTo>
                    <a:pt x="1062" y="469"/>
                  </a:lnTo>
                  <a:lnTo>
                    <a:pt x="1060" y="453"/>
                  </a:lnTo>
                  <a:lnTo>
                    <a:pt x="1057" y="437"/>
                  </a:lnTo>
                  <a:lnTo>
                    <a:pt x="1054" y="421"/>
                  </a:lnTo>
                  <a:lnTo>
                    <a:pt x="1049" y="406"/>
                  </a:lnTo>
                  <a:lnTo>
                    <a:pt x="1044" y="391"/>
                  </a:lnTo>
                  <a:lnTo>
                    <a:pt x="1038" y="376"/>
                  </a:lnTo>
                  <a:lnTo>
                    <a:pt x="1032" y="361"/>
                  </a:lnTo>
                  <a:lnTo>
                    <a:pt x="1025" y="347"/>
                  </a:lnTo>
                  <a:lnTo>
                    <a:pt x="1017" y="333"/>
                  </a:lnTo>
                  <a:lnTo>
                    <a:pt x="1008" y="320"/>
                  </a:lnTo>
                  <a:lnTo>
                    <a:pt x="999" y="307"/>
                  </a:lnTo>
                  <a:lnTo>
                    <a:pt x="989" y="295"/>
                  </a:lnTo>
                  <a:lnTo>
                    <a:pt x="979" y="283"/>
                  </a:lnTo>
                  <a:lnTo>
                    <a:pt x="968" y="272"/>
                  </a:lnTo>
                  <a:lnTo>
                    <a:pt x="957" y="261"/>
                  </a:lnTo>
                  <a:lnTo>
                    <a:pt x="945" y="251"/>
                  </a:lnTo>
                  <a:lnTo>
                    <a:pt x="933" y="241"/>
                  </a:lnTo>
                  <a:lnTo>
                    <a:pt x="920" y="232"/>
                  </a:lnTo>
                  <a:lnTo>
                    <a:pt x="907" y="223"/>
                  </a:lnTo>
                  <a:lnTo>
                    <a:pt x="893" y="215"/>
                  </a:lnTo>
                  <a:lnTo>
                    <a:pt x="879" y="208"/>
                  </a:lnTo>
                  <a:lnTo>
                    <a:pt x="864" y="202"/>
                  </a:lnTo>
                  <a:lnTo>
                    <a:pt x="850" y="196"/>
                  </a:lnTo>
                  <a:lnTo>
                    <a:pt x="834" y="191"/>
                  </a:lnTo>
                  <a:lnTo>
                    <a:pt x="819" y="186"/>
                  </a:lnTo>
                  <a:lnTo>
                    <a:pt x="803" y="183"/>
                  </a:lnTo>
                  <a:lnTo>
                    <a:pt x="787" y="180"/>
                  </a:lnTo>
                  <a:lnTo>
                    <a:pt x="771" y="178"/>
                  </a:lnTo>
                  <a:lnTo>
                    <a:pt x="754" y="176"/>
                  </a:lnTo>
                  <a:lnTo>
                    <a:pt x="737" y="176"/>
                  </a:lnTo>
                  <a:lnTo>
                    <a:pt x="737" y="1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8" name="Freeform 59">
              <a:extLst>
                <a:ext uri="{FF2B5EF4-FFF2-40B4-BE49-F238E27FC236}">
                  <a16:creationId xmlns:a16="http://schemas.microsoft.com/office/drawing/2014/main" id="{E277E108-7E14-4151-9C82-70765A3C7F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8" y="1458"/>
              <a:ext cx="1072" cy="917"/>
            </a:xfrm>
            <a:custGeom>
              <a:avLst/>
              <a:gdLst>
                <a:gd name="T0" fmla="*/ 368 w 1072"/>
                <a:gd name="T1" fmla="*/ 899 h 917"/>
                <a:gd name="T2" fmla="*/ 250 w 1072"/>
                <a:gd name="T3" fmla="*/ 881 h 917"/>
                <a:gd name="T4" fmla="*/ 142 w 1072"/>
                <a:gd name="T5" fmla="*/ 864 h 917"/>
                <a:gd name="T6" fmla="*/ 28 w 1072"/>
                <a:gd name="T7" fmla="*/ 760 h 917"/>
                <a:gd name="T8" fmla="*/ 0 w 1072"/>
                <a:gd name="T9" fmla="*/ 650 h 917"/>
                <a:gd name="T10" fmla="*/ 22 w 1072"/>
                <a:gd name="T11" fmla="*/ 551 h 917"/>
                <a:gd name="T12" fmla="*/ 84 w 1072"/>
                <a:gd name="T13" fmla="*/ 471 h 917"/>
                <a:gd name="T14" fmla="*/ 128 w 1072"/>
                <a:gd name="T15" fmla="*/ 389 h 917"/>
                <a:gd name="T16" fmla="*/ 149 w 1072"/>
                <a:gd name="T17" fmla="*/ 308 h 917"/>
                <a:gd name="T18" fmla="*/ 136 w 1072"/>
                <a:gd name="T19" fmla="*/ 239 h 917"/>
                <a:gd name="T20" fmla="*/ 154 w 1072"/>
                <a:gd name="T21" fmla="*/ 157 h 917"/>
                <a:gd name="T22" fmla="*/ 206 w 1072"/>
                <a:gd name="T23" fmla="*/ 87 h 917"/>
                <a:gd name="T24" fmla="*/ 350 w 1072"/>
                <a:gd name="T25" fmla="*/ 11 h 917"/>
                <a:gd name="T26" fmla="*/ 466 w 1072"/>
                <a:gd name="T27" fmla="*/ 1 h 917"/>
                <a:gd name="T28" fmla="*/ 625 w 1072"/>
                <a:gd name="T29" fmla="*/ 49 h 917"/>
                <a:gd name="T30" fmla="*/ 726 w 1072"/>
                <a:gd name="T31" fmla="*/ 157 h 917"/>
                <a:gd name="T32" fmla="*/ 791 w 1072"/>
                <a:gd name="T33" fmla="*/ 180 h 917"/>
                <a:gd name="T34" fmla="*/ 899 w 1072"/>
                <a:gd name="T35" fmla="*/ 216 h 917"/>
                <a:gd name="T36" fmla="*/ 986 w 1072"/>
                <a:gd name="T37" fmla="*/ 285 h 917"/>
                <a:gd name="T38" fmla="*/ 1046 w 1072"/>
                <a:gd name="T39" fmla="*/ 378 h 917"/>
                <a:gd name="T40" fmla="*/ 1072 w 1072"/>
                <a:gd name="T41" fmla="*/ 490 h 917"/>
                <a:gd name="T42" fmla="*/ 1062 w 1072"/>
                <a:gd name="T43" fmla="*/ 590 h 917"/>
                <a:gd name="T44" fmla="*/ 1015 w 1072"/>
                <a:gd name="T45" fmla="*/ 692 h 917"/>
                <a:gd name="T46" fmla="*/ 939 w 1072"/>
                <a:gd name="T47" fmla="*/ 772 h 917"/>
                <a:gd name="T48" fmla="*/ 839 w 1072"/>
                <a:gd name="T49" fmla="*/ 823 h 917"/>
                <a:gd name="T50" fmla="*/ 741 w 1072"/>
                <a:gd name="T51" fmla="*/ 838 h 917"/>
                <a:gd name="T52" fmla="*/ 651 w 1072"/>
                <a:gd name="T53" fmla="*/ 879 h 917"/>
                <a:gd name="T54" fmla="*/ 547 w 1072"/>
                <a:gd name="T55" fmla="*/ 912 h 917"/>
                <a:gd name="T56" fmla="*/ 305 w 1072"/>
                <a:gd name="T57" fmla="*/ 863 h 917"/>
                <a:gd name="T58" fmla="*/ 437 w 1072"/>
                <a:gd name="T59" fmla="*/ 906 h 917"/>
                <a:gd name="T60" fmla="*/ 546 w 1072"/>
                <a:gd name="T61" fmla="*/ 904 h 917"/>
                <a:gd name="T62" fmla="*/ 649 w 1072"/>
                <a:gd name="T63" fmla="*/ 871 h 917"/>
                <a:gd name="T64" fmla="*/ 718 w 1072"/>
                <a:gd name="T65" fmla="*/ 829 h 917"/>
                <a:gd name="T66" fmla="*/ 806 w 1072"/>
                <a:gd name="T67" fmla="*/ 823 h 917"/>
                <a:gd name="T68" fmla="*/ 908 w 1072"/>
                <a:gd name="T69" fmla="*/ 783 h 917"/>
                <a:gd name="T70" fmla="*/ 990 w 1072"/>
                <a:gd name="T71" fmla="*/ 712 h 917"/>
                <a:gd name="T72" fmla="*/ 1044 w 1072"/>
                <a:gd name="T73" fmla="*/ 618 h 917"/>
                <a:gd name="T74" fmla="*/ 1064 w 1072"/>
                <a:gd name="T75" fmla="*/ 507 h 917"/>
                <a:gd name="T76" fmla="*/ 1049 w 1072"/>
                <a:gd name="T77" fmla="*/ 411 h 917"/>
                <a:gd name="T78" fmla="*/ 1000 w 1072"/>
                <a:gd name="T79" fmla="*/ 314 h 917"/>
                <a:gd name="T80" fmla="*/ 922 w 1072"/>
                <a:gd name="T81" fmla="*/ 239 h 917"/>
                <a:gd name="T82" fmla="*/ 822 w 1072"/>
                <a:gd name="T83" fmla="*/ 194 h 917"/>
                <a:gd name="T84" fmla="*/ 733 w 1072"/>
                <a:gd name="T85" fmla="*/ 184 h 917"/>
                <a:gd name="T86" fmla="*/ 687 w 1072"/>
                <a:gd name="T87" fmla="*/ 111 h 917"/>
                <a:gd name="T88" fmla="*/ 560 w 1072"/>
                <a:gd name="T89" fmla="*/ 28 h 917"/>
                <a:gd name="T90" fmla="*/ 425 w 1072"/>
                <a:gd name="T91" fmla="*/ 8 h 917"/>
                <a:gd name="T92" fmla="*/ 252 w 1072"/>
                <a:gd name="T93" fmla="*/ 61 h 917"/>
                <a:gd name="T94" fmla="*/ 173 w 1072"/>
                <a:gd name="T95" fmla="*/ 139 h 917"/>
                <a:gd name="T96" fmla="*/ 146 w 1072"/>
                <a:gd name="T97" fmla="*/ 215 h 917"/>
                <a:gd name="T98" fmla="*/ 150 w 1072"/>
                <a:gd name="T99" fmla="*/ 284 h 917"/>
                <a:gd name="T100" fmla="*/ 167 w 1072"/>
                <a:gd name="T101" fmla="*/ 332 h 917"/>
                <a:gd name="T102" fmla="*/ 120 w 1072"/>
                <a:gd name="T103" fmla="*/ 440 h 917"/>
                <a:gd name="T104" fmla="*/ 80 w 1072"/>
                <a:gd name="T105" fmla="*/ 486 h 917"/>
                <a:gd name="T106" fmla="*/ 24 w 1072"/>
                <a:gd name="T107" fmla="*/ 566 h 917"/>
                <a:gd name="T108" fmla="*/ 8 w 1072"/>
                <a:gd name="T109" fmla="*/ 650 h 917"/>
                <a:gd name="T110" fmla="*/ 59 w 1072"/>
                <a:gd name="T111" fmla="*/ 792 h 917"/>
                <a:gd name="T112" fmla="*/ 187 w 1072"/>
                <a:gd name="T113" fmla="*/ 869 h 917"/>
                <a:gd name="T114" fmla="*/ 302 w 1072"/>
                <a:gd name="T115" fmla="*/ 863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72" h="917">
                  <a:moveTo>
                    <a:pt x="484" y="917"/>
                  </a:moveTo>
                  <a:lnTo>
                    <a:pt x="484" y="917"/>
                  </a:lnTo>
                  <a:lnTo>
                    <a:pt x="460" y="916"/>
                  </a:lnTo>
                  <a:lnTo>
                    <a:pt x="437" y="914"/>
                  </a:lnTo>
                  <a:lnTo>
                    <a:pt x="413" y="910"/>
                  </a:lnTo>
                  <a:lnTo>
                    <a:pt x="390" y="905"/>
                  </a:lnTo>
                  <a:lnTo>
                    <a:pt x="368" y="899"/>
                  </a:lnTo>
                  <a:lnTo>
                    <a:pt x="345" y="891"/>
                  </a:lnTo>
                  <a:lnTo>
                    <a:pt x="324" y="882"/>
                  </a:lnTo>
                  <a:lnTo>
                    <a:pt x="302" y="871"/>
                  </a:lnTo>
                  <a:lnTo>
                    <a:pt x="302" y="871"/>
                  </a:lnTo>
                  <a:lnTo>
                    <a:pt x="285" y="876"/>
                  </a:lnTo>
                  <a:lnTo>
                    <a:pt x="268" y="879"/>
                  </a:lnTo>
                  <a:lnTo>
                    <a:pt x="250" y="881"/>
                  </a:lnTo>
                  <a:lnTo>
                    <a:pt x="232" y="882"/>
                  </a:lnTo>
                  <a:lnTo>
                    <a:pt x="232" y="882"/>
                  </a:lnTo>
                  <a:lnTo>
                    <a:pt x="220" y="882"/>
                  </a:lnTo>
                  <a:lnTo>
                    <a:pt x="208" y="881"/>
                  </a:lnTo>
                  <a:lnTo>
                    <a:pt x="185" y="877"/>
                  </a:lnTo>
                  <a:lnTo>
                    <a:pt x="163" y="872"/>
                  </a:lnTo>
                  <a:lnTo>
                    <a:pt x="142" y="864"/>
                  </a:lnTo>
                  <a:lnTo>
                    <a:pt x="122" y="854"/>
                  </a:lnTo>
                  <a:lnTo>
                    <a:pt x="102" y="842"/>
                  </a:lnTo>
                  <a:lnTo>
                    <a:pt x="85" y="829"/>
                  </a:lnTo>
                  <a:lnTo>
                    <a:pt x="68" y="814"/>
                  </a:lnTo>
                  <a:lnTo>
                    <a:pt x="53" y="797"/>
                  </a:lnTo>
                  <a:lnTo>
                    <a:pt x="40" y="780"/>
                  </a:lnTo>
                  <a:lnTo>
                    <a:pt x="28" y="760"/>
                  </a:lnTo>
                  <a:lnTo>
                    <a:pt x="18" y="740"/>
                  </a:lnTo>
                  <a:lnTo>
                    <a:pt x="10" y="719"/>
                  </a:lnTo>
                  <a:lnTo>
                    <a:pt x="5" y="697"/>
                  </a:lnTo>
                  <a:lnTo>
                    <a:pt x="1" y="674"/>
                  </a:lnTo>
                  <a:lnTo>
                    <a:pt x="0" y="662"/>
                  </a:lnTo>
                  <a:lnTo>
                    <a:pt x="0" y="650"/>
                  </a:lnTo>
                  <a:lnTo>
                    <a:pt x="0" y="650"/>
                  </a:lnTo>
                  <a:lnTo>
                    <a:pt x="0" y="635"/>
                  </a:lnTo>
                  <a:lnTo>
                    <a:pt x="2" y="620"/>
                  </a:lnTo>
                  <a:lnTo>
                    <a:pt x="4" y="606"/>
                  </a:lnTo>
                  <a:lnTo>
                    <a:pt x="7" y="591"/>
                  </a:lnTo>
                  <a:lnTo>
                    <a:pt x="11" y="577"/>
                  </a:lnTo>
                  <a:lnTo>
                    <a:pt x="16" y="564"/>
                  </a:lnTo>
                  <a:lnTo>
                    <a:pt x="22" y="551"/>
                  </a:lnTo>
                  <a:lnTo>
                    <a:pt x="29" y="538"/>
                  </a:lnTo>
                  <a:lnTo>
                    <a:pt x="36" y="525"/>
                  </a:lnTo>
                  <a:lnTo>
                    <a:pt x="44" y="513"/>
                  </a:lnTo>
                  <a:lnTo>
                    <a:pt x="53" y="502"/>
                  </a:lnTo>
                  <a:lnTo>
                    <a:pt x="63" y="491"/>
                  </a:lnTo>
                  <a:lnTo>
                    <a:pt x="73" y="481"/>
                  </a:lnTo>
                  <a:lnTo>
                    <a:pt x="84" y="471"/>
                  </a:lnTo>
                  <a:lnTo>
                    <a:pt x="96" y="462"/>
                  </a:lnTo>
                  <a:lnTo>
                    <a:pt x="109" y="454"/>
                  </a:lnTo>
                  <a:lnTo>
                    <a:pt x="109" y="454"/>
                  </a:lnTo>
                  <a:lnTo>
                    <a:pt x="112" y="437"/>
                  </a:lnTo>
                  <a:lnTo>
                    <a:pt x="117" y="421"/>
                  </a:lnTo>
                  <a:lnTo>
                    <a:pt x="122" y="405"/>
                  </a:lnTo>
                  <a:lnTo>
                    <a:pt x="128" y="389"/>
                  </a:lnTo>
                  <a:lnTo>
                    <a:pt x="135" y="374"/>
                  </a:lnTo>
                  <a:lnTo>
                    <a:pt x="142" y="359"/>
                  </a:lnTo>
                  <a:lnTo>
                    <a:pt x="150" y="344"/>
                  </a:lnTo>
                  <a:lnTo>
                    <a:pt x="159" y="330"/>
                  </a:lnTo>
                  <a:lnTo>
                    <a:pt x="159" y="330"/>
                  </a:lnTo>
                  <a:lnTo>
                    <a:pt x="153" y="319"/>
                  </a:lnTo>
                  <a:lnTo>
                    <a:pt x="149" y="308"/>
                  </a:lnTo>
                  <a:lnTo>
                    <a:pt x="145" y="297"/>
                  </a:lnTo>
                  <a:lnTo>
                    <a:pt x="142" y="285"/>
                  </a:lnTo>
                  <a:lnTo>
                    <a:pt x="139" y="274"/>
                  </a:lnTo>
                  <a:lnTo>
                    <a:pt x="137" y="262"/>
                  </a:lnTo>
                  <a:lnTo>
                    <a:pt x="136" y="251"/>
                  </a:lnTo>
                  <a:lnTo>
                    <a:pt x="136" y="239"/>
                  </a:lnTo>
                  <a:lnTo>
                    <a:pt x="136" y="239"/>
                  </a:lnTo>
                  <a:lnTo>
                    <a:pt x="136" y="227"/>
                  </a:lnTo>
                  <a:lnTo>
                    <a:pt x="138" y="215"/>
                  </a:lnTo>
                  <a:lnTo>
                    <a:pt x="140" y="203"/>
                  </a:lnTo>
                  <a:lnTo>
                    <a:pt x="142" y="191"/>
                  </a:lnTo>
                  <a:lnTo>
                    <a:pt x="146" y="179"/>
                  </a:lnTo>
                  <a:lnTo>
                    <a:pt x="150" y="168"/>
                  </a:lnTo>
                  <a:lnTo>
                    <a:pt x="154" y="157"/>
                  </a:lnTo>
                  <a:lnTo>
                    <a:pt x="160" y="146"/>
                  </a:lnTo>
                  <a:lnTo>
                    <a:pt x="166" y="135"/>
                  </a:lnTo>
                  <a:lnTo>
                    <a:pt x="173" y="125"/>
                  </a:lnTo>
                  <a:lnTo>
                    <a:pt x="180" y="115"/>
                  </a:lnTo>
                  <a:lnTo>
                    <a:pt x="188" y="105"/>
                  </a:lnTo>
                  <a:lnTo>
                    <a:pt x="196" y="96"/>
                  </a:lnTo>
                  <a:lnTo>
                    <a:pt x="206" y="87"/>
                  </a:lnTo>
                  <a:lnTo>
                    <a:pt x="215" y="78"/>
                  </a:lnTo>
                  <a:lnTo>
                    <a:pt x="225" y="70"/>
                  </a:lnTo>
                  <a:lnTo>
                    <a:pt x="247" y="55"/>
                  </a:lnTo>
                  <a:lnTo>
                    <a:pt x="270" y="41"/>
                  </a:lnTo>
                  <a:lnTo>
                    <a:pt x="295" y="29"/>
                  </a:lnTo>
                  <a:lnTo>
                    <a:pt x="322" y="19"/>
                  </a:lnTo>
                  <a:lnTo>
                    <a:pt x="350" y="11"/>
                  </a:lnTo>
                  <a:lnTo>
                    <a:pt x="379" y="5"/>
                  </a:lnTo>
                  <a:lnTo>
                    <a:pt x="394" y="3"/>
                  </a:lnTo>
                  <a:lnTo>
                    <a:pt x="409" y="1"/>
                  </a:lnTo>
                  <a:lnTo>
                    <a:pt x="424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66" y="1"/>
                  </a:lnTo>
                  <a:lnTo>
                    <a:pt x="491" y="3"/>
                  </a:lnTo>
                  <a:lnTo>
                    <a:pt x="515" y="7"/>
                  </a:lnTo>
                  <a:lnTo>
                    <a:pt x="539" y="13"/>
                  </a:lnTo>
                  <a:lnTo>
                    <a:pt x="562" y="20"/>
                  </a:lnTo>
                  <a:lnTo>
                    <a:pt x="584" y="28"/>
                  </a:lnTo>
                  <a:lnTo>
                    <a:pt x="605" y="38"/>
                  </a:lnTo>
                  <a:lnTo>
                    <a:pt x="625" y="49"/>
                  </a:lnTo>
                  <a:lnTo>
                    <a:pt x="644" y="61"/>
                  </a:lnTo>
                  <a:lnTo>
                    <a:pt x="661" y="75"/>
                  </a:lnTo>
                  <a:lnTo>
                    <a:pt x="677" y="89"/>
                  </a:lnTo>
                  <a:lnTo>
                    <a:pt x="692" y="105"/>
                  </a:lnTo>
                  <a:lnTo>
                    <a:pt x="705" y="121"/>
                  </a:lnTo>
                  <a:lnTo>
                    <a:pt x="716" y="139"/>
                  </a:lnTo>
                  <a:lnTo>
                    <a:pt x="726" y="157"/>
                  </a:lnTo>
                  <a:lnTo>
                    <a:pt x="733" y="176"/>
                  </a:lnTo>
                  <a:lnTo>
                    <a:pt x="733" y="176"/>
                  </a:lnTo>
                  <a:lnTo>
                    <a:pt x="741" y="176"/>
                  </a:lnTo>
                  <a:lnTo>
                    <a:pt x="741" y="176"/>
                  </a:lnTo>
                  <a:lnTo>
                    <a:pt x="758" y="176"/>
                  </a:lnTo>
                  <a:lnTo>
                    <a:pt x="775" y="178"/>
                  </a:lnTo>
                  <a:lnTo>
                    <a:pt x="791" y="180"/>
                  </a:lnTo>
                  <a:lnTo>
                    <a:pt x="808" y="183"/>
                  </a:lnTo>
                  <a:lnTo>
                    <a:pt x="824" y="186"/>
                  </a:lnTo>
                  <a:lnTo>
                    <a:pt x="839" y="191"/>
                  </a:lnTo>
                  <a:lnTo>
                    <a:pt x="855" y="196"/>
                  </a:lnTo>
                  <a:lnTo>
                    <a:pt x="870" y="202"/>
                  </a:lnTo>
                  <a:lnTo>
                    <a:pt x="884" y="209"/>
                  </a:lnTo>
                  <a:lnTo>
                    <a:pt x="899" y="216"/>
                  </a:lnTo>
                  <a:lnTo>
                    <a:pt x="913" y="224"/>
                  </a:lnTo>
                  <a:lnTo>
                    <a:pt x="926" y="233"/>
                  </a:lnTo>
                  <a:lnTo>
                    <a:pt x="939" y="242"/>
                  </a:lnTo>
                  <a:lnTo>
                    <a:pt x="951" y="252"/>
                  </a:lnTo>
                  <a:lnTo>
                    <a:pt x="963" y="262"/>
                  </a:lnTo>
                  <a:lnTo>
                    <a:pt x="975" y="273"/>
                  </a:lnTo>
                  <a:lnTo>
                    <a:pt x="986" y="285"/>
                  </a:lnTo>
                  <a:lnTo>
                    <a:pt x="996" y="297"/>
                  </a:lnTo>
                  <a:lnTo>
                    <a:pt x="1006" y="309"/>
                  </a:lnTo>
                  <a:lnTo>
                    <a:pt x="1015" y="322"/>
                  </a:lnTo>
                  <a:lnTo>
                    <a:pt x="1024" y="335"/>
                  </a:lnTo>
                  <a:lnTo>
                    <a:pt x="1032" y="349"/>
                  </a:lnTo>
                  <a:lnTo>
                    <a:pt x="1039" y="364"/>
                  </a:lnTo>
                  <a:lnTo>
                    <a:pt x="1046" y="378"/>
                  </a:lnTo>
                  <a:lnTo>
                    <a:pt x="1052" y="393"/>
                  </a:lnTo>
                  <a:lnTo>
                    <a:pt x="1057" y="409"/>
                  </a:lnTo>
                  <a:lnTo>
                    <a:pt x="1062" y="424"/>
                  </a:lnTo>
                  <a:lnTo>
                    <a:pt x="1065" y="440"/>
                  </a:lnTo>
                  <a:lnTo>
                    <a:pt x="1068" y="457"/>
                  </a:lnTo>
                  <a:lnTo>
                    <a:pt x="1070" y="473"/>
                  </a:lnTo>
                  <a:lnTo>
                    <a:pt x="1072" y="490"/>
                  </a:lnTo>
                  <a:lnTo>
                    <a:pt x="1072" y="507"/>
                  </a:lnTo>
                  <a:lnTo>
                    <a:pt x="1072" y="507"/>
                  </a:lnTo>
                  <a:lnTo>
                    <a:pt x="1072" y="524"/>
                  </a:lnTo>
                  <a:lnTo>
                    <a:pt x="1070" y="541"/>
                  </a:lnTo>
                  <a:lnTo>
                    <a:pt x="1068" y="557"/>
                  </a:lnTo>
                  <a:lnTo>
                    <a:pt x="1065" y="574"/>
                  </a:lnTo>
                  <a:lnTo>
                    <a:pt x="1062" y="590"/>
                  </a:lnTo>
                  <a:lnTo>
                    <a:pt x="1057" y="605"/>
                  </a:lnTo>
                  <a:lnTo>
                    <a:pt x="1052" y="621"/>
                  </a:lnTo>
                  <a:lnTo>
                    <a:pt x="1046" y="636"/>
                  </a:lnTo>
                  <a:lnTo>
                    <a:pt x="1039" y="650"/>
                  </a:lnTo>
                  <a:lnTo>
                    <a:pt x="1032" y="665"/>
                  </a:lnTo>
                  <a:lnTo>
                    <a:pt x="1024" y="678"/>
                  </a:lnTo>
                  <a:lnTo>
                    <a:pt x="1015" y="692"/>
                  </a:lnTo>
                  <a:lnTo>
                    <a:pt x="1006" y="705"/>
                  </a:lnTo>
                  <a:lnTo>
                    <a:pt x="996" y="717"/>
                  </a:lnTo>
                  <a:lnTo>
                    <a:pt x="986" y="729"/>
                  </a:lnTo>
                  <a:lnTo>
                    <a:pt x="975" y="741"/>
                  </a:lnTo>
                  <a:lnTo>
                    <a:pt x="963" y="752"/>
                  </a:lnTo>
                  <a:lnTo>
                    <a:pt x="951" y="762"/>
                  </a:lnTo>
                  <a:lnTo>
                    <a:pt x="939" y="772"/>
                  </a:lnTo>
                  <a:lnTo>
                    <a:pt x="926" y="781"/>
                  </a:lnTo>
                  <a:lnTo>
                    <a:pt x="913" y="790"/>
                  </a:lnTo>
                  <a:lnTo>
                    <a:pt x="899" y="798"/>
                  </a:lnTo>
                  <a:lnTo>
                    <a:pt x="884" y="805"/>
                  </a:lnTo>
                  <a:lnTo>
                    <a:pt x="870" y="812"/>
                  </a:lnTo>
                  <a:lnTo>
                    <a:pt x="855" y="818"/>
                  </a:lnTo>
                  <a:lnTo>
                    <a:pt x="839" y="823"/>
                  </a:lnTo>
                  <a:lnTo>
                    <a:pt x="824" y="827"/>
                  </a:lnTo>
                  <a:lnTo>
                    <a:pt x="808" y="831"/>
                  </a:lnTo>
                  <a:lnTo>
                    <a:pt x="791" y="834"/>
                  </a:lnTo>
                  <a:lnTo>
                    <a:pt x="775" y="836"/>
                  </a:lnTo>
                  <a:lnTo>
                    <a:pt x="758" y="837"/>
                  </a:lnTo>
                  <a:lnTo>
                    <a:pt x="741" y="838"/>
                  </a:lnTo>
                  <a:lnTo>
                    <a:pt x="741" y="838"/>
                  </a:lnTo>
                  <a:lnTo>
                    <a:pt x="718" y="837"/>
                  </a:lnTo>
                  <a:lnTo>
                    <a:pt x="718" y="837"/>
                  </a:lnTo>
                  <a:lnTo>
                    <a:pt x="706" y="846"/>
                  </a:lnTo>
                  <a:lnTo>
                    <a:pt x="693" y="855"/>
                  </a:lnTo>
                  <a:lnTo>
                    <a:pt x="679" y="864"/>
                  </a:lnTo>
                  <a:lnTo>
                    <a:pt x="665" y="871"/>
                  </a:lnTo>
                  <a:lnTo>
                    <a:pt x="651" y="879"/>
                  </a:lnTo>
                  <a:lnTo>
                    <a:pt x="637" y="885"/>
                  </a:lnTo>
                  <a:lnTo>
                    <a:pt x="623" y="891"/>
                  </a:lnTo>
                  <a:lnTo>
                    <a:pt x="608" y="896"/>
                  </a:lnTo>
                  <a:lnTo>
                    <a:pt x="593" y="901"/>
                  </a:lnTo>
                  <a:lnTo>
                    <a:pt x="578" y="905"/>
                  </a:lnTo>
                  <a:lnTo>
                    <a:pt x="563" y="909"/>
                  </a:lnTo>
                  <a:lnTo>
                    <a:pt x="547" y="912"/>
                  </a:lnTo>
                  <a:lnTo>
                    <a:pt x="532" y="914"/>
                  </a:lnTo>
                  <a:lnTo>
                    <a:pt x="516" y="915"/>
                  </a:lnTo>
                  <a:lnTo>
                    <a:pt x="500" y="916"/>
                  </a:lnTo>
                  <a:lnTo>
                    <a:pt x="484" y="917"/>
                  </a:lnTo>
                  <a:lnTo>
                    <a:pt x="484" y="917"/>
                  </a:lnTo>
                  <a:close/>
                  <a:moveTo>
                    <a:pt x="303" y="862"/>
                  </a:moveTo>
                  <a:lnTo>
                    <a:pt x="305" y="863"/>
                  </a:lnTo>
                  <a:lnTo>
                    <a:pt x="305" y="863"/>
                  </a:lnTo>
                  <a:lnTo>
                    <a:pt x="326" y="874"/>
                  </a:lnTo>
                  <a:lnTo>
                    <a:pt x="347" y="883"/>
                  </a:lnTo>
                  <a:lnTo>
                    <a:pt x="369" y="891"/>
                  </a:lnTo>
                  <a:lnTo>
                    <a:pt x="391" y="897"/>
                  </a:lnTo>
                  <a:lnTo>
                    <a:pt x="414" y="902"/>
                  </a:lnTo>
                  <a:lnTo>
                    <a:pt x="437" y="906"/>
                  </a:lnTo>
                  <a:lnTo>
                    <a:pt x="461" y="908"/>
                  </a:lnTo>
                  <a:lnTo>
                    <a:pt x="484" y="909"/>
                  </a:lnTo>
                  <a:lnTo>
                    <a:pt x="484" y="909"/>
                  </a:lnTo>
                  <a:lnTo>
                    <a:pt x="500" y="908"/>
                  </a:lnTo>
                  <a:lnTo>
                    <a:pt x="516" y="907"/>
                  </a:lnTo>
                  <a:lnTo>
                    <a:pt x="531" y="906"/>
                  </a:lnTo>
                  <a:lnTo>
                    <a:pt x="546" y="904"/>
                  </a:lnTo>
                  <a:lnTo>
                    <a:pt x="562" y="901"/>
                  </a:lnTo>
                  <a:lnTo>
                    <a:pt x="577" y="897"/>
                  </a:lnTo>
                  <a:lnTo>
                    <a:pt x="592" y="893"/>
                  </a:lnTo>
                  <a:lnTo>
                    <a:pt x="606" y="889"/>
                  </a:lnTo>
                  <a:lnTo>
                    <a:pt x="621" y="883"/>
                  </a:lnTo>
                  <a:lnTo>
                    <a:pt x="635" y="877"/>
                  </a:lnTo>
                  <a:lnTo>
                    <a:pt x="649" y="871"/>
                  </a:lnTo>
                  <a:lnTo>
                    <a:pt x="663" y="864"/>
                  </a:lnTo>
                  <a:lnTo>
                    <a:pt x="676" y="856"/>
                  </a:lnTo>
                  <a:lnTo>
                    <a:pt x="689" y="848"/>
                  </a:lnTo>
                  <a:lnTo>
                    <a:pt x="702" y="839"/>
                  </a:lnTo>
                  <a:lnTo>
                    <a:pt x="715" y="830"/>
                  </a:lnTo>
                  <a:lnTo>
                    <a:pt x="716" y="829"/>
                  </a:lnTo>
                  <a:lnTo>
                    <a:pt x="718" y="829"/>
                  </a:lnTo>
                  <a:lnTo>
                    <a:pt x="718" y="829"/>
                  </a:lnTo>
                  <a:lnTo>
                    <a:pt x="741" y="830"/>
                  </a:lnTo>
                  <a:lnTo>
                    <a:pt x="741" y="830"/>
                  </a:lnTo>
                  <a:lnTo>
                    <a:pt x="758" y="829"/>
                  </a:lnTo>
                  <a:lnTo>
                    <a:pt x="774" y="828"/>
                  </a:lnTo>
                  <a:lnTo>
                    <a:pt x="790" y="826"/>
                  </a:lnTo>
                  <a:lnTo>
                    <a:pt x="806" y="823"/>
                  </a:lnTo>
                  <a:lnTo>
                    <a:pt x="822" y="820"/>
                  </a:lnTo>
                  <a:lnTo>
                    <a:pt x="837" y="815"/>
                  </a:lnTo>
                  <a:lnTo>
                    <a:pt x="852" y="810"/>
                  </a:lnTo>
                  <a:lnTo>
                    <a:pt x="867" y="804"/>
                  </a:lnTo>
                  <a:lnTo>
                    <a:pt x="881" y="798"/>
                  </a:lnTo>
                  <a:lnTo>
                    <a:pt x="895" y="791"/>
                  </a:lnTo>
                  <a:lnTo>
                    <a:pt x="908" y="783"/>
                  </a:lnTo>
                  <a:lnTo>
                    <a:pt x="922" y="775"/>
                  </a:lnTo>
                  <a:lnTo>
                    <a:pt x="934" y="766"/>
                  </a:lnTo>
                  <a:lnTo>
                    <a:pt x="946" y="756"/>
                  </a:lnTo>
                  <a:lnTo>
                    <a:pt x="958" y="746"/>
                  </a:lnTo>
                  <a:lnTo>
                    <a:pt x="969" y="735"/>
                  </a:lnTo>
                  <a:lnTo>
                    <a:pt x="980" y="724"/>
                  </a:lnTo>
                  <a:lnTo>
                    <a:pt x="990" y="712"/>
                  </a:lnTo>
                  <a:lnTo>
                    <a:pt x="1000" y="700"/>
                  </a:lnTo>
                  <a:lnTo>
                    <a:pt x="1009" y="687"/>
                  </a:lnTo>
                  <a:lnTo>
                    <a:pt x="1017" y="674"/>
                  </a:lnTo>
                  <a:lnTo>
                    <a:pt x="1025" y="661"/>
                  </a:lnTo>
                  <a:lnTo>
                    <a:pt x="1032" y="647"/>
                  </a:lnTo>
                  <a:lnTo>
                    <a:pt x="1039" y="632"/>
                  </a:lnTo>
                  <a:lnTo>
                    <a:pt x="1044" y="618"/>
                  </a:lnTo>
                  <a:lnTo>
                    <a:pt x="1049" y="603"/>
                  </a:lnTo>
                  <a:lnTo>
                    <a:pt x="1054" y="588"/>
                  </a:lnTo>
                  <a:lnTo>
                    <a:pt x="1057" y="572"/>
                  </a:lnTo>
                  <a:lnTo>
                    <a:pt x="1060" y="556"/>
                  </a:lnTo>
                  <a:lnTo>
                    <a:pt x="1062" y="540"/>
                  </a:lnTo>
                  <a:lnTo>
                    <a:pt x="1064" y="524"/>
                  </a:lnTo>
                  <a:lnTo>
                    <a:pt x="1064" y="507"/>
                  </a:lnTo>
                  <a:lnTo>
                    <a:pt x="1064" y="507"/>
                  </a:lnTo>
                  <a:lnTo>
                    <a:pt x="1064" y="490"/>
                  </a:lnTo>
                  <a:lnTo>
                    <a:pt x="1062" y="474"/>
                  </a:lnTo>
                  <a:lnTo>
                    <a:pt x="1060" y="458"/>
                  </a:lnTo>
                  <a:lnTo>
                    <a:pt x="1057" y="442"/>
                  </a:lnTo>
                  <a:lnTo>
                    <a:pt x="1054" y="426"/>
                  </a:lnTo>
                  <a:lnTo>
                    <a:pt x="1049" y="411"/>
                  </a:lnTo>
                  <a:lnTo>
                    <a:pt x="1044" y="396"/>
                  </a:lnTo>
                  <a:lnTo>
                    <a:pt x="1039" y="381"/>
                  </a:lnTo>
                  <a:lnTo>
                    <a:pt x="1032" y="367"/>
                  </a:lnTo>
                  <a:lnTo>
                    <a:pt x="1025" y="353"/>
                  </a:lnTo>
                  <a:lnTo>
                    <a:pt x="1017" y="340"/>
                  </a:lnTo>
                  <a:lnTo>
                    <a:pt x="1009" y="327"/>
                  </a:lnTo>
                  <a:lnTo>
                    <a:pt x="1000" y="314"/>
                  </a:lnTo>
                  <a:lnTo>
                    <a:pt x="990" y="302"/>
                  </a:lnTo>
                  <a:lnTo>
                    <a:pt x="980" y="290"/>
                  </a:lnTo>
                  <a:lnTo>
                    <a:pt x="969" y="279"/>
                  </a:lnTo>
                  <a:lnTo>
                    <a:pt x="958" y="268"/>
                  </a:lnTo>
                  <a:lnTo>
                    <a:pt x="946" y="258"/>
                  </a:lnTo>
                  <a:lnTo>
                    <a:pt x="934" y="248"/>
                  </a:lnTo>
                  <a:lnTo>
                    <a:pt x="922" y="239"/>
                  </a:lnTo>
                  <a:lnTo>
                    <a:pt x="908" y="231"/>
                  </a:lnTo>
                  <a:lnTo>
                    <a:pt x="895" y="223"/>
                  </a:lnTo>
                  <a:lnTo>
                    <a:pt x="881" y="216"/>
                  </a:lnTo>
                  <a:lnTo>
                    <a:pt x="867" y="209"/>
                  </a:lnTo>
                  <a:lnTo>
                    <a:pt x="852" y="204"/>
                  </a:lnTo>
                  <a:lnTo>
                    <a:pt x="837" y="199"/>
                  </a:lnTo>
                  <a:lnTo>
                    <a:pt x="822" y="194"/>
                  </a:lnTo>
                  <a:lnTo>
                    <a:pt x="806" y="191"/>
                  </a:lnTo>
                  <a:lnTo>
                    <a:pt x="790" y="188"/>
                  </a:lnTo>
                  <a:lnTo>
                    <a:pt x="774" y="186"/>
                  </a:lnTo>
                  <a:lnTo>
                    <a:pt x="758" y="184"/>
                  </a:lnTo>
                  <a:lnTo>
                    <a:pt x="741" y="184"/>
                  </a:lnTo>
                  <a:lnTo>
                    <a:pt x="741" y="184"/>
                  </a:lnTo>
                  <a:lnTo>
                    <a:pt x="733" y="184"/>
                  </a:lnTo>
                  <a:lnTo>
                    <a:pt x="728" y="184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0" y="163"/>
                  </a:lnTo>
                  <a:lnTo>
                    <a:pt x="710" y="145"/>
                  </a:lnTo>
                  <a:lnTo>
                    <a:pt x="699" y="128"/>
                  </a:lnTo>
                  <a:lnTo>
                    <a:pt x="687" y="111"/>
                  </a:lnTo>
                  <a:lnTo>
                    <a:pt x="673" y="96"/>
                  </a:lnTo>
                  <a:lnTo>
                    <a:pt x="657" y="82"/>
                  </a:lnTo>
                  <a:lnTo>
                    <a:pt x="640" y="69"/>
                  </a:lnTo>
                  <a:lnTo>
                    <a:pt x="622" y="56"/>
                  </a:lnTo>
                  <a:lnTo>
                    <a:pt x="602" y="46"/>
                  </a:lnTo>
                  <a:lnTo>
                    <a:pt x="581" y="36"/>
                  </a:lnTo>
                  <a:lnTo>
                    <a:pt x="560" y="28"/>
                  </a:lnTo>
                  <a:lnTo>
                    <a:pt x="537" y="21"/>
                  </a:lnTo>
                  <a:lnTo>
                    <a:pt x="514" y="15"/>
                  </a:lnTo>
                  <a:lnTo>
                    <a:pt x="490" y="11"/>
                  </a:lnTo>
                  <a:lnTo>
                    <a:pt x="465" y="9"/>
                  </a:lnTo>
                  <a:lnTo>
                    <a:pt x="440" y="8"/>
                  </a:lnTo>
                  <a:lnTo>
                    <a:pt x="440" y="8"/>
                  </a:lnTo>
                  <a:lnTo>
                    <a:pt x="425" y="8"/>
                  </a:lnTo>
                  <a:lnTo>
                    <a:pt x="410" y="9"/>
                  </a:lnTo>
                  <a:lnTo>
                    <a:pt x="380" y="13"/>
                  </a:lnTo>
                  <a:lnTo>
                    <a:pt x="352" y="18"/>
                  </a:lnTo>
                  <a:lnTo>
                    <a:pt x="325" y="26"/>
                  </a:lnTo>
                  <a:lnTo>
                    <a:pt x="299" y="36"/>
                  </a:lnTo>
                  <a:lnTo>
                    <a:pt x="275" y="48"/>
                  </a:lnTo>
                  <a:lnTo>
                    <a:pt x="252" y="61"/>
                  </a:lnTo>
                  <a:lnTo>
                    <a:pt x="231" y="76"/>
                  </a:lnTo>
                  <a:lnTo>
                    <a:pt x="212" y="92"/>
                  </a:lnTo>
                  <a:lnTo>
                    <a:pt x="203" y="101"/>
                  </a:lnTo>
                  <a:lnTo>
                    <a:pt x="195" y="110"/>
                  </a:lnTo>
                  <a:lnTo>
                    <a:pt x="187" y="119"/>
                  </a:lnTo>
                  <a:lnTo>
                    <a:pt x="180" y="129"/>
                  </a:lnTo>
                  <a:lnTo>
                    <a:pt x="173" y="139"/>
                  </a:lnTo>
                  <a:lnTo>
                    <a:pt x="167" y="149"/>
                  </a:lnTo>
                  <a:lnTo>
                    <a:pt x="162" y="160"/>
                  </a:lnTo>
                  <a:lnTo>
                    <a:pt x="157" y="170"/>
                  </a:lnTo>
                  <a:lnTo>
                    <a:pt x="153" y="181"/>
                  </a:lnTo>
                  <a:lnTo>
                    <a:pt x="150" y="192"/>
                  </a:lnTo>
                  <a:lnTo>
                    <a:pt x="147" y="204"/>
                  </a:lnTo>
                  <a:lnTo>
                    <a:pt x="146" y="215"/>
                  </a:lnTo>
                  <a:lnTo>
                    <a:pt x="144" y="227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50"/>
                  </a:lnTo>
                  <a:lnTo>
                    <a:pt x="145" y="262"/>
                  </a:lnTo>
                  <a:lnTo>
                    <a:pt x="147" y="273"/>
                  </a:lnTo>
                  <a:lnTo>
                    <a:pt x="150" y="284"/>
                  </a:lnTo>
                  <a:lnTo>
                    <a:pt x="153" y="295"/>
                  </a:lnTo>
                  <a:lnTo>
                    <a:pt x="157" y="306"/>
                  </a:lnTo>
                  <a:lnTo>
                    <a:pt x="161" y="317"/>
                  </a:lnTo>
                  <a:lnTo>
                    <a:pt x="167" y="328"/>
                  </a:lnTo>
                  <a:lnTo>
                    <a:pt x="168" y="330"/>
                  </a:lnTo>
                  <a:lnTo>
                    <a:pt x="167" y="332"/>
                  </a:lnTo>
                  <a:lnTo>
                    <a:pt x="167" y="332"/>
                  </a:lnTo>
                  <a:lnTo>
                    <a:pt x="158" y="346"/>
                  </a:lnTo>
                  <a:lnTo>
                    <a:pt x="150" y="361"/>
                  </a:lnTo>
                  <a:lnTo>
                    <a:pt x="142" y="377"/>
                  </a:lnTo>
                  <a:lnTo>
                    <a:pt x="136" y="392"/>
                  </a:lnTo>
                  <a:lnTo>
                    <a:pt x="130" y="408"/>
                  </a:lnTo>
                  <a:lnTo>
                    <a:pt x="124" y="424"/>
                  </a:lnTo>
                  <a:lnTo>
                    <a:pt x="120" y="440"/>
                  </a:lnTo>
                  <a:lnTo>
                    <a:pt x="116" y="457"/>
                  </a:lnTo>
                  <a:lnTo>
                    <a:pt x="116" y="459"/>
                  </a:lnTo>
                  <a:lnTo>
                    <a:pt x="114" y="459"/>
                  </a:lnTo>
                  <a:lnTo>
                    <a:pt x="114" y="459"/>
                  </a:lnTo>
                  <a:lnTo>
                    <a:pt x="102" y="468"/>
                  </a:lnTo>
                  <a:lnTo>
                    <a:pt x="91" y="476"/>
                  </a:lnTo>
                  <a:lnTo>
                    <a:pt x="80" y="486"/>
                  </a:lnTo>
                  <a:lnTo>
                    <a:pt x="70" y="496"/>
                  </a:lnTo>
                  <a:lnTo>
                    <a:pt x="60" y="506"/>
                  </a:lnTo>
                  <a:lnTo>
                    <a:pt x="51" y="517"/>
                  </a:lnTo>
                  <a:lnTo>
                    <a:pt x="43" y="529"/>
                  </a:lnTo>
                  <a:lnTo>
                    <a:pt x="36" y="541"/>
                  </a:lnTo>
                  <a:lnTo>
                    <a:pt x="30" y="553"/>
                  </a:lnTo>
                  <a:lnTo>
                    <a:pt x="24" y="566"/>
                  </a:lnTo>
                  <a:lnTo>
                    <a:pt x="19" y="579"/>
                  </a:lnTo>
                  <a:lnTo>
                    <a:pt x="15" y="593"/>
                  </a:lnTo>
                  <a:lnTo>
                    <a:pt x="12" y="607"/>
                  </a:lnTo>
                  <a:lnTo>
                    <a:pt x="10" y="621"/>
                  </a:lnTo>
                  <a:lnTo>
                    <a:pt x="8" y="635"/>
                  </a:lnTo>
                  <a:lnTo>
                    <a:pt x="8" y="650"/>
                  </a:lnTo>
                  <a:lnTo>
                    <a:pt x="8" y="650"/>
                  </a:lnTo>
                  <a:lnTo>
                    <a:pt x="9" y="673"/>
                  </a:lnTo>
                  <a:lnTo>
                    <a:pt x="13" y="695"/>
                  </a:lnTo>
                  <a:lnTo>
                    <a:pt x="18" y="717"/>
                  </a:lnTo>
                  <a:lnTo>
                    <a:pt x="26" y="737"/>
                  </a:lnTo>
                  <a:lnTo>
                    <a:pt x="35" y="757"/>
                  </a:lnTo>
                  <a:lnTo>
                    <a:pt x="46" y="775"/>
                  </a:lnTo>
                  <a:lnTo>
                    <a:pt x="59" y="792"/>
                  </a:lnTo>
                  <a:lnTo>
                    <a:pt x="74" y="808"/>
                  </a:lnTo>
                  <a:lnTo>
                    <a:pt x="90" y="823"/>
                  </a:lnTo>
                  <a:lnTo>
                    <a:pt x="107" y="836"/>
                  </a:lnTo>
                  <a:lnTo>
                    <a:pt x="125" y="847"/>
                  </a:lnTo>
                  <a:lnTo>
                    <a:pt x="145" y="856"/>
                  </a:lnTo>
                  <a:lnTo>
                    <a:pt x="165" y="864"/>
                  </a:lnTo>
                  <a:lnTo>
                    <a:pt x="187" y="869"/>
                  </a:lnTo>
                  <a:lnTo>
                    <a:pt x="209" y="873"/>
                  </a:lnTo>
                  <a:lnTo>
                    <a:pt x="232" y="874"/>
                  </a:lnTo>
                  <a:lnTo>
                    <a:pt x="232" y="874"/>
                  </a:lnTo>
                  <a:lnTo>
                    <a:pt x="250" y="873"/>
                  </a:lnTo>
                  <a:lnTo>
                    <a:pt x="267" y="871"/>
                  </a:lnTo>
                  <a:lnTo>
                    <a:pt x="285" y="868"/>
                  </a:lnTo>
                  <a:lnTo>
                    <a:pt x="302" y="863"/>
                  </a:lnTo>
                  <a:lnTo>
                    <a:pt x="303" y="86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79" name="Freeform 60">
              <a:extLst>
                <a:ext uri="{FF2B5EF4-FFF2-40B4-BE49-F238E27FC236}">
                  <a16:creationId xmlns:a16="http://schemas.microsoft.com/office/drawing/2014/main" id="{D25A505B-81A5-4FEE-B659-8AF54DF4B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0" y="775"/>
              <a:ext cx="6" cy="17"/>
            </a:xfrm>
            <a:custGeom>
              <a:avLst/>
              <a:gdLst>
                <a:gd name="T0" fmla="*/ 6 w 6"/>
                <a:gd name="T1" fmla="*/ 14 h 17"/>
                <a:gd name="T2" fmla="*/ 6 w 6"/>
                <a:gd name="T3" fmla="*/ 14 h 17"/>
                <a:gd name="T4" fmla="*/ 6 w 6"/>
                <a:gd name="T5" fmla="*/ 6 h 17"/>
                <a:gd name="T6" fmla="*/ 6 w 6"/>
                <a:gd name="T7" fmla="*/ 6 h 17"/>
                <a:gd name="T8" fmla="*/ 6 w 6"/>
                <a:gd name="T9" fmla="*/ 4 h 17"/>
                <a:gd name="T10" fmla="*/ 6 w 6"/>
                <a:gd name="T11" fmla="*/ 4 h 17"/>
                <a:gd name="T12" fmla="*/ 3 w 6"/>
                <a:gd name="T13" fmla="*/ 1 h 17"/>
                <a:gd name="T14" fmla="*/ 1 w 6"/>
                <a:gd name="T15" fmla="*/ 0 h 17"/>
                <a:gd name="T16" fmla="*/ 0 w 6"/>
                <a:gd name="T17" fmla="*/ 2 h 17"/>
                <a:gd name="T18" fmla="*/ 0 w 6"/>
                <a:gd name="T19" fmla="*/ 2 h 17"/>
                <a:gd name="T20" fmla="*/ 0 w 6"/>
                <a:gd name="T21" fmla="*/ 8 h 17"/>
                <a:gd name="T22" fmla="*/ 0 w 6"/>
                <a:gd name="T23" fmla="*/ 14 h 17"/>
                <a:gd name="T24" fmla="*/ 0 w 6"/>
                <a:gd name="T25" fmla="*/ 14 h 17"/>
                <a:gd name="T26" fmla="*/ 1 w 6"/>
                <a:gd name="T27" fmla="*/ 16 h 17"/>
                <a:gd name="T28" fmla="*/ 1 w 6"/>
                <a:gd name="T29" fmla="*/ 16 h 17"/>
                <a:gd name="T30" fmla="*/ 1 w 6"/>
                <a:gd name="T31" fmla="*/ 16 h 17"/>
                <a:gd name="T32" fmla="*/ 3 w 6"/>
                <a:gd name="T33" fmla="*/ 17 h 17"/>
                <a:gd name="T34" fmla="*/ 4 w 6"/>
                <a:gd name="T35" fmla="*/ 17 h 17"/>
                <a:gd name="T36" fmla="*/ 6 w 6"/>
                <a:gd name="T37" fmla="*/ 16 h 17"/>
                <a:gd name="T38" fmla="*/ 6 w 6"/>
                <a:gd name="T39" fmla="*/ 14 h 17"/>
                <a:gd name="T40" fmla="*/ 6 w 6"/>
                <a:gd name="T41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" h="17">
                  <a:moveTo>
                    <a:pt x="6" y="14"/>
                  </a:moveTo>
                  <a:lnTo>
                    <a:pt x="6" y="1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0" name="Freeform 61">
              <a:extLst>
                <a:ext uri="{FF2B5EF4-FFF2-40B4-BE49-F238E27FC236}">
                  <a16:creationId xmlns:a16="http://schemas.microsoft.com/office/drawing/2014/main" id="{53ABD16C-DCD1-4315-9725-FE9FA6C6D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" y="779"/>
              <a:ext cx="7" cy="16"/>
            </a:xfrm>
            <a:custGeom>
              <a:avLst/>
              <a:gdLst>
                <a:gd name="T0" fmla="*/ 7 w 7"/>
                <a:gd name="T1" fmla="*/ 14 h 16"/>
                <a:gd name="T2" fmla="*/ 7 w 7"/>
                <a:gd name="T3" fmla="*/ 14 h 16"/>
                <a:gd name="T4" fmla="*/ 7 w 7"/>
                <a:gd name="T5" fmla="*/ 5 h 16"/>
                <a:gd name="T6" fmla="*/ 7 w 7"/>
                <a:gd name="T7" fmla="*/ 5 h 16"/>
                <a:gd name="T8" fmla="*/ 6 w 7"/>
                <a:gd name="T9" fmla="*/ 3 h 16"/>
                <a:gd name="T10" fmla="*/ 6 w 7"/>
                <a:gd name="T11" fmla="*/ 3 h 16"/>
                <a:gd name="T12" fmla="*/ 3 w 7"/>
                <a:gd name="T13" fmla="*/ 0 h 16"/>
                <a:gd name="T14" fmla="*/ 1 w 7"/>
                <a:gd name="T15" fmla="*/ 0 h 16"/>
                <a:gd name="T16" fmla="*/ 0 w 7"/>
                <a:gd name="T17" fmla="*/ 2 h 16"/>
                <a:gd name="T18" fmla="*/ 0 w 7"/>
                <a:gd name="T19" fmla="*/ 2 h 16"/>
                <a:gd name="T20" fmla="*/ 1 w 7"/>
                <a:gd name="T21" fmla="*/ 7 h 16"/>
                <a:gd name="T22" fmla="*/ 1 w 7"/>
                <a:gd name="T23" fmla="*/ 14 h 16"/>
                <a:gd name="T24" fmla="*/ 1 w 7"/>
                <a:gd name="T25" fmla="*/ 14 h 16"/>
                <a:gd name="T26" fmla="*/ 2 w 7"/>
                <a:gd name="T27" fmla="*/ 16 h 16"/>
                <a:gd name="T28" fmla="*/ 2 w 7"/>
                <a:gd name="T29" fmla="*/ 16 h 16"/>
                <a:gd name="T30" fmla="*/ 2 w 7"/>
                <a:gd name="T31" fmla="*/ 16 h 16"/>
                <a:gd name="T32" fmla="*/ 4 w 7"/>
                <a:gd name="T33" fmla="*/ 16 h 16"/>
                <a:gd name="T34" fmla="*/ 5 w 7"/>
                <a:gd name="T35" fmla="*/ 16 h 16"/>
                <a:gd name="T36" fmla="*/ 7 w 7"/>
                <a:gd name="T37" fmla="*/ 15 h 16"/>
                <a:gd name="T38" fmla="*/ 7 w 7"/>
                <a:gd name="T39" fmla="*/ 14 h 16"/>
                <a:gd name="T40" fmla="*/ 7 w 7"/>
                <a:gd name="T4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" h="16">
                  <a:moveTo>
                    <a:pt x="7" y="14"/>
                  </a:moveTo>
                  <a:lnTo>
                    <a:pt x="7" y="14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7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1" name="Freeform 62">
              <a:extLst>
                <a:ext uri="{FF2B5EF4-FFF2-40B4-BE49-F238E27FC236}">
                  <a16:creationId xmlns:a16="http://schemas.microsoft.com/office/drawing/2014/main" id="{E95852E5-7F55-4DE7-B40E-F9B89DB36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8" y="863"/>
              <a:ext cx="6" cy="17"/>
            </a:xfrm>
            <a:custGeom>
              <a:avLst/>
              <a:gdLst>
                <a:gd name="T0" fmla="*/ 5 w 6"/>
                <a:gd name="T1" fmla="*/ 1 h 17"/>
                <a:gd name="T2" fmla="*/ 5 w 6"/>
                <a:gd name="T3" fmla="*/ 1 h 17"/>
                <a:gd name="T4" fmla="*/ 4 w 6"/>
                <a:gd name="T5" fmla="*/ 0 h 17"/>
                <a:gd name="T6" fmla="*/ 3 w 6"/>
                <a:gd name="T7" fmla="*/ 1 h 17"/>
                <a:gd name="T8" fmla="*/ 2 w 6"/>
                <a:gd name="T9" fmla="*/ 4 h 17"/>
                <a:gd name="T10" fmla="*/ 2 w 6"/>
                <a:gd name="T11" fmla="*/ 4 h 17"/>
                <a:gd name="T12" fmla="*/ 0 w 6"/>
                <a:gd name="T13" fmla="*/ 11 h 17"/>
                <a:gd name="T14" fmla="*/ 0 w 6"/>
                <a:gd name="T15" fmla="*/ 14 h 17"/>
                <a:gd name="T16" fmla="*/ 1 w 6"/>
                <a:gd name="T17" fmla="*/ 16 h 17"/>
                <a:gd name="T18" fmla="*/ 1 w 6"/>
                <a:gd name="T19" fmla="*/ 16 h 17"/>
                <a:gd name="T20" fmla="*/ 3 w 6"/>
                <a:gd name="T21" fmla="*/ 17 h 17"/>
                <a:gd name="T22" fmla="*/ 5 w 6"/>
                <a:gd name="T23" fmla="*/ 17 h 17"/>
                <a:gd name="T24" fmla="*/ 6 w 6"/>
                <a:gd name="T25" fmla="*/ 13 h 17"/>
                <a:gd name="T26" fmla="*/ 6 w 6"/>
                <a:gd name="T27" fmla="*/ 13 h 17"/>
                <a:gd name="T28" fmla="*/ 6 w 6"/>
                <a:gd name="T29" fmla="*/ 9 h 17"/>
                <a:gd name="T30" fmla="*/ 6 w 6"/>
                <a:gd name="T31" fmla="*/ 5 h 17"/>
                <a:gd name="T32" fmla="*/ 5 w 6"/>
                <a:gd name="T33" fmla="*/ 1 h 17"/>
                <a:gd name="T34" fmla="*/ 5 w 6"/>
                <a:gd name="T3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17">
                  <a:moveTo>
                    <a:pt x="5" y="1"/>
                  </a:moveTo>
                  <a:lnTo>
                    <a:pt x="5" y="1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9"/>
                  </a:lnTo>
                  <a:lnTo>
                    <a:pt x="6" y="5"/>
                  </a:lnTo>
                  <a:lnTo>
                    <a:pt x="5" y="1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2" name="Freeform 63">
              <a:extLst>
                <a:ext uri="{FF2B5EF4-FFF2-40B4-BE49-F238E27FC236}">
                  <a16:creationId xmlns:a16="http://schemas.microsoft.com/office/drawing/2014/main" id="{E991638F-4C65-4FCC-AC4B-EED22052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" y="1880"/>
              <a:ext cx="416" cy="1076"/>
            </a:xfrm>
            <a:custGeom>
              <a:avLst/>
              <a:gdLst>
                <a:gd name="T0" fmla="*/ 0 w 416"/>
                <a:gd name="T1" fmla="*/ 210 h 1076"/>
                <a:gd name="T2" fmla="*/ 0 w 416"/>
                <a:gd name="T3" fmla="*/ 210 h 1076"/>
                <a:gd name="T4" fmla="*/ 6 w 416"/>
                <a:gd name="T5" fmla="*/ 214 h 1076"/>
                <a:gd name="T6" fmla="*/ 13 w 416"/>
                <a:gd name="T7" fmla="*/ 219 h 1076"/>
                <a:gd name="T8" fmla="*/ 21 w 416"/>
                <a:gd name="T9" fmla="*/ 227 h 1076"/>
                <a:gd name="T10" fmla="*/ 31 w 416"/>
                <a:gd name="T11" fmla="*/ 237 h 1076"/>
                <a:gd name="T12" fmla="*/ 43 w 416"/>
                <a:gd name="T13" fmla="*/ 249 h 1076"/>
                <a:gd name="T14" fmla="*/ 55 w 416"/>
                <a:gd name="T15" fmla="*/ 264 h 1076"/>
                <a:gd name="T16" fmla="*/ 67 w 416"/>
                <a:gd name="T17" fmla="*/ 282 h 1076"/>
                <a:gd name="T18" fmla="*/ 80 w 416"/>
                <a:gd name="T19" fmla="*/ 303 h 1076"/>
                <a:gd name="T20" fmla="*/ 92 w 416"/>
                <a:gd name="T21" fmla="*/ 326 h 1076"/>
                <a:gd name="T22" fmla="*/ 103 w 416"/>
                <a:gd name="T23" fmla="*/ 353 h 1076"/>
                <a:gd name="T24" fmla="*/ 108 w 416"/>
                <a:gd name="T25" fmla="*/ 368 h 1076"/>
                <a:gd name="T26" fmla="*/ 113 w 416"/>
                <a:gd name="T27" fmla="*/ 383 h 1076"/>
                <a:gd name="T28" fmla="*/ 117 w 416"/>
                <a:gd name="T29" fmla="*/ 400 h 1076"/>
                <a:gd name="T30" fmla="*/ 121 w 416"/>
                <a:gd name="T31" fmla="*/ 417 h 1076"/>
                <a:gd name="T32" fmla="*/ 124 w 416"/>
                <a:gd name="T33" fmla="*/ 435 h 1076"/>
                <a:gd name="T34" fmla="*/ 127 w 416"/>
                <a:gd name="T35" fmla="*/ 454 h 1076"/>
                <a:gd name="T36" fmla="*/ 130 w 416"/>
                <a:gd name="T37" fmla="*/ 474 h 1076"/>
                <a:gd name="T38" fmla="*/ 131 w 416"/>
                <a:gd name="T39" fmla="*/ 495 h 1076"/>
                <a:gd name="T40" fmla="*/ 132 w 416"/>
                <a:gd name="T41" fmla="*/ 517 h 1076"/>
                <a:gd name="T42" fmla="*/ 132 w 416"/>
                <a:gd name="T43" fmla="*/ 540 h 1076"/>
                <a:gd name="T44" fmla="*/ 132 w 416"/>
                <a:gd name="T45" fmla="*/ 540 h 1076"/>
                <a:gd name="T46" fmla="*/ 130 w 416"/>
                <a:gd name="T47" fmla="*/ 634 h 1076"/>
                <a:gd name="T48" fmla="*/ 127 w 416"/>
                <a:gd name="T49" fmla="*/ 729 h 1076"/>
                <a:gd name="T50" fmla="*/ 122 w 416"/>
                <a:gd name="T51" fmla="*/ 819 h 1076"/>
                <a:gd name="T52" fmla="*/ 117 w 416"/>
                <a:gd name="T53" fmla="*/ 901 h 1076"/>
                <a:gd name="T54" fmla="*/ 108 w 416"/>
                <a:gd name="T55" fmla="*/ 1027 h 1076"/>
                <a:gd name="T56" fmla="*/ 104 w 416"/>
                <a:gd name="T57" fmla="*/ 1076 h 1076"/>
                <a:gd name="T58" fmla="*/ 312 w 416"/>
                <a:gd name="T59" fmla="*/ 1072 h 1076"/>
                <a:gd name="T60" fmla="*/ 234 w 416"/>
                <a:gd name="T61" fmla="*/ 403 h 1076"/>
                <a:gd name="T62" fmla="*/ 416 w 416"/>
                <a:gd name="T63" fmla="*/ 193 h 1076"/>
                <a:gd name="T64" fmla="*/ 403 w 416"/>
                <a:gd name="T65" fmla="*/ 171 h 1076"/>
                <a:gd name="T66" fmla="*/ 220 w 416"/>
                <a:gd name="T67" fmla="*/ 317 h 1076"/>
                <a:gd name="T68" fmla="*/ 256 w 416"/>
                <a:gd name="T69" fmla="*/ 0 h 1076"/>
                <a:gd name="T70" fmla="*/ 208 w 416"/>
                <a:gd name="T71" fmla="*/ 0 h 1076"/>
                <a:gd name="T72" fmla="*/ 132 w 416"/>
                <a:gd name="T73" fmla="*/ 216 h 1076"/>
                <a:gd name="T74" fmla="*/ 0 w 416"/>
                <a:gd name="T75" fmla="*/ 150 h 1076"/>
                <a:gd name="T76" fmla="*/ 0 w 416"/>
                <a:gd name="T77" fmla="*/ 210 h 10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6" h="1076">
                  <a:moveTo>
                    <a:pt x="0" y="210"/>
                  </a:moveTo>
                  <a:lnTo>
                    <a:pt x="0" y="210"/>
                  </a:lnTo>
                  <a:lnTo>
                    <a:pt x="6" y="214"/>
                  </a:lnTo>
                  <a:lnTo>
                    <a:pt x="13" y="219"/>
                  </a:lnTo>
                  <a:lnTo>
                    <a:pt x="21" y="227"/>
                  </a:lnTo>
                  <a:lnTo>
                    <a:pt x="31" y="237"/>
                  </a:lnTo>
                  <a:lnTo>
                    <a:pt x="43" y="249"/>
                  </a:lnTo>
                  <a:lnTo>
                    <a:pt x="55" y="264"/>
                  </a:lnTo>
                  <a:lnTo>
                    <a:pt x="67" y="282"/>
                  </a:lnTo>
                  <a:lnTo>
                    <a:pt x="80" y="303"/>
                  </a:lnTo>
                  <a:lnTo>
                    <a:pt x="92" y="326"/>
                  </a:lnTo>
                  <a:lnTo>
                    <a:pt x="103" y="353"/>
                  </a:lnTo>
                  <a:lnTo>
                    <a:pt x="108" y="368"/>
                  </a:lnTo>
                  <a:lnTo>
                    <a:pt x="113" y="383"/>
                  </a:lnTo>
                  <a:lnTo>
                    <a:pt x="117" y="400"/>
                  </a:lnTo>
                  <a:lnTo>
                    <a:pt x="121" y="417"/>
                  </a:lnTo>
                  <a:lnTo>
                    <a:pt x="124" y="435"/>
                  </a:lnTo>
                  <a:lnTo>
                    <a:pt x="127" y="454"/>
                  </a:lnTo>
                  <a:lnTo>
                    <a:pt x="130" y="474"/>
                  </a:lnTo>
                  <a:lnTo>
                    <a:pt x="131" y="495"/>
                  </a:lnTo>
                  <a:lnTo>
                    <a:pt x="132" y="517"/>
                  </a:lnTo>
                  <a:lnTo>
                    <a:pt x="132" y="540"/>
                  </a:lnTo>
                  <a:lnTo>
                    <a:pt x="132" y="540"/>
                  </a:lnTo>
                  <a:lnTo>
                    <a:pt x="130" y="634"/>
                  </a:lnTo>
                  <a:lnTo>
                    <a:pt x="127" y="729"/>
                  </a:lnTo>
                  <a:lnTo>
                    <a:pt x="122" y="819"/>
                  </a:lnTo>
                  <a:lnTo>
                    <a:pt x="117" y="901"/>
                  </a:lnTo>
                  <a:lnTo>
                    <a:pt x="108" y="1027"/>
                  </a:lnTo>
                  <a:lnTo>
                    <a:pt x="104" y="1076"/>
                  </a:lnTo>
                  <a:lnTo>
                    <a:pt x="312" y="1072"/>
                  </a:lnTo>
                  <a:lnTo>
                    <a:pt x="234" y="403"/>
                  </a:lnTo>
                  <a:lnTo>
                    <a:pt x="416" y="193"/>
                  </a:lnTo>
                  <a:lnTo>
                    <a:pt x="403" y="171"/>
                  </a:lnTo>
                  <a:lnTo>
                    <a:pt x="220" y="317"/>
                  </a:lnTo>
                  <a:lnTo>
                    <a:pt x="256" y="0"/>
                  </a:lnTo>
                  <a:lnTo>
                    <a:pt x="208" y="0"/>
                  </a:lnTo>
                  <a:lnTo>
                    <a:pt x="132" y="216"/>
                  </a:lnTo>
                  <a:lnTo>
                    <a:pt x="0" y="150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3" name="Freeform 64">
              <a:extLst>
                <a:ext uri="{FF2B5EF4-FFF2-40B4-BE49-F238E27FC236}">
                  <a16:creationId xmlns:a16="http://schemas.microsoft.com/office/drawing/2014/main" id="{A86F5236-6430-4C1C-8270-EB4B128AA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0" y="1876"/>
              <a:ext cx="425" cy="1084"/>
            </a:xfrm>
            <a:custGeom>
              <a:avLst/>
              <a:gdLst>
                <a:gd name="T0" fmla="*/ 104 w 425"/>
                <a:gd name="T1" fmla="*/ 1080 h 1084"/>
                <a:gd name="T2" fmla="*/ 108 w 425"/>
                <a:gd name="T3" fmla="*/ 1029 h 1084"/>
                <a:gd name="T4" fmla="*/ 122 w 425"/>
                <a:gd name="T5" fmla="*/ 821 h 1084"/>
                <a:gd name="T6" fmla="*/ 130 w 425"/>
                <a:gd name="T7" fmla="*/ 637 h 1084"/>
                <a:gd name="T8" fmla="*/ 132 w 425"/>
                <a:gd name="T9" fmla="*/ 544 h 1084"/>
                <a:gd name="T10" fmla="*/ 131 w 425"/>
                <a:gd name="T11" fmla="*/ 498 h 1084"/>
                <a:gd name="T12" fmla="*/ 127 w 425"/>
                <a:gd name="T13" fmla="*/ 457 h 1084"/>
                <a:gd name="T14" fmla="*/ 120 w 425"/>
                <a:gd name="T15" fmla="*/ 419 h 1084"/>
                <a:gd name="T16" fmla="*/ 112 w 425"/>
                <a:gd name="T17" fmla="*/ 386 h 1084"/>
                <a:gd name="T18" fmla="*/ 102 w 425"/>
                <a:gd name="T19" fmla="*/ 356 h 1084"/>
                <a:gd name="T20" fmla="*/ 80 w 425"/>
                <a:gd name="T21" fmla="*/ 307 h 1084"/>
                <a:gd name="T22" fmla="*/ 68 w 425"/>
                <a:gd name="T23" fmla="*/ 288 h 1084"/>
                <a:gd name="T24" fmla="*/ 44 w 425"/>
                <a:gd name="T25" fmla="*/ 256 h 1084"/>
                <a:gd name="T26" fmla="*/ 23 w 425"/>
                <a:gd name="T27" fmla="*/ 234 h 1084"/>
                <a:gd name="T28" fmla="*/ 8 w 425"/>
                <a:gd name="T29" fmla="*/ 222 h 1084"/>
                <a:gd name="T30" fmla="*/ 0 w 425"/>
                <a:gd name="T31" fmla="*/ 217 h 1084"/>
                <a:gd name="T32" fmla="*/ 134 w 425"/>
                <a:gd name="T33" fmla="*/ 214 h 1084"/>
                <a:gd name="T34" fmla="*/ 264 w 425"/>
                <a:gd name="T35" fmla="*/ 0 h 1084"/>
                <a:gd name="T36" fmla="*/ 408 w 425"/>
                <a:gd name="T37" fmla="*/ 169 h 1084"/>
                <a:gd name="T38" fmla="*/ 243 w 425"/>
                <a:gd name="T39" fmla="*/ 409 h 1084"/>
                <a:gd name="T40" fmla="*/ 104 w 425"/>
                <a:gd name="T41" fmla="*/ 1084 h 1084"/>
                <a:gd name="T42" fmla="*/ 8 w 425"/>
                <a:gd name="T43" fmla="*/ 212 h 1084"/>
                <a:gd name="T44" fmla="*/ 33 w 425"/>
                <a:gd name="T45" fmla="*/ 233 h 1084"/>
                <a:gd name="T46" fmla="*/ 53 w 425"/>
                <a:gd name="T47" fmla="*/ 254 h 1084"/>
                <a:gd name="T48" fmla="*/ 75 w 425"/>
                <a:gd name="T49" fmla="*/ 284 h 1084"/>
                <a:gd name="T50" fmla="*/ 86 w 425"/>
                <a:gd name="T51" fmla="*/ 303 h 1084"/>
                <a:gd name="T52" fmla="*/ 109 w 425"/>
                <a:gd name="T53" fmla="*/ 353 h 1084"/>
                <a:gd name="T54" fmla="*/ 119 w 425"/>
                <a:gd name="T55" fmla="*/ 383 h 1084"/>
                <a:gd name="T56" fmla="*/ 128 w 425"/>
                <a:gd name="T57" fmla="*/ 417 h 1084"/>
                <a:gd name="T58" fmla="*/ 135 w 425"/>
                <a:gd name="T59" fmla="*/ 455 h 1084"/>
                <a:gd name="T60" fmla="*/ 139 w 425"/>
                <a:gd name="T61" fmla="*/ 498 h 1084"/>
                <a:gd name="T62" fmla="*/ 140 w 425"/>
                <a:gd name="T63" fmla="*/ 544 h 1084"/>
                <a:gd name="T64" fmla="*/ 138 w 425"/>
                <a:gd name="T65" fmla="*/ 631 h 1084"/>
                <a:gd name="T66" fmla="*/ 131 w 425"/>
                <a:gd name="T67" fmla="*/ 803 h 1084"/>
                <a:gd name="T68" fmla="*/ 118 w 425"/>
                <a:gd name="T69" fmla="*/ 1009 h 1084"/>
                <a:gd name="T70" fmla="*/ 312 w 425"/>
                <a:gd name="T71" fmla="*/ 1072 h 1084"/>
                <a:gd name="T72" fmla="*/ 235 w 425"/>
                <a:gd name="T73" fmla="*/ 405 h 1084"/>
                <a:gd name="T74" fmla="*/ 406 w 425"/>
                <a:gd name="T75" fmla="*/ 181 h 1084"/>
                <a:gd name="T76" fmla="*/ 255 w 425"/>
                <a:gd name="T77" fmla="*/ 8 h 1084"/>
                <a:gd name="T78" fmla="*/ 138 w 425"/>
                <a:gd name="T79" fmla="*/ 225 h 1084"/>
                <a:gd name="T80" fmla="*/ 8 w 425"/>
                <a:gd name="T81" fmla="*/ 212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1084">
                  <a:moveTo>
                    <a:pt x="104" y="1084"/>
                  </a:moveTo>
                  <a:lnTo>
                    <a:pt x="104" y="1080"/>
                  </a:lnTo>
                  <a:lnTo>
                    <a:pt x="104" y="1080"/>
                  </a:lnTo>
                  <a:lnTo>
                    <a:pt x="108" y="1029"/>
                  </a:lnTo>
                  <a:lnTo>
                    <a:pt x="117" y="903"/>
                  </a:lnTo>
                  <a:lnTo>
                    <a:pt x="122" y="821"/>
                  </a:lnTo>
                  <a:lnTo>
                    <a:pt x="127" y="731"/>
                  </a:lnTo>
                  <a:lnTo>
                    <a:pt x="130" y="637"/>
                  </a:lnTo>
                  <a:lnTo>
                    <a:pt x="132" y="544"/>
                  </a:lnTo>
                  <a:lnTo>
                    <a:pt x="132" y="544"/>
                  </a:lnTo>
                  <a:lnTo>
                    <a:pt x="132" y="521"/>
                  </a:lnTo>
                  <a:lnTo>
                    <a:pt x="131" y="498"/>
                  </a:lnTo>
                  <a:lnTo>
                    <a:pt x="129" y="477"/>
                  </a:lnTo>
                  <a:lnTo>
                    <a:pt x="127" y="457"/>
                  </a:lnTo>
                  <a:lnTo>
                    <a:pt x="124" y="438"/>
                  </a:lnTo>
                  <a:lnTo>
                    <a:pt x="120" y="419"/>
                  </a:lnTo>
                  <a:lnTo>
                    <a:pt x="116" y="402"/>
                  </a:lnTo>
                  <a:lnTo>
                    <a:pt x="112" y="386"/>
                  </a:lnTo>
                  <a:lnTo>
                    <a:pt x="107" y="370"/>
                  </a:lnTo>
                  <a:lnTo>
                    <a:pt x="102" y="356"/>
                  </a:lnTo>
                  <a:lnTo>
                    <a:pt x="91" y="330"/>
                  </a:lnTo>
                  <a:lnTo>
                    <a:pt x="80" y="307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56" y="271"/>
                  </a:lnTo>
                  <a:lnTo>
                    <a:pt x="44" y="256"/>
                  </a:lnTo>
                  <a:lnTo>
                    <a:pt x="33" y="244"/>
                  </a:lnTo>
                  <a:lnTo>
                    <a:pt x="23" y="234"/>
                  </a:lnTo>
                  <a:lnTo>
                    <a:pt x="15" y="227"/>
                  </a:lnTo>
                  <a:lnTo>
                    <a:pt x="8" y="222"/>
                  </a:lnTo>
                  <a:lnTo>
                    <a:pt x="2" y="218"/>
                  </a:lnTo>
                  <a:lnTo>
                    <a:pt x="0" y="217"/>
                  </a:lnTo>
                  <a:lnTo>
                    <a:pt x="0" y="147"/>
                  </a:lnTo>
                  <a:lnTo>
                    <a:pt x="134" y="214"/>
                  </a:lnTo>
                  <a:lnTo>
                    <a:pt x="209" y="0"/>
                  </a:lnTo>
                  <a:lnTo>
                    <a:pt x="264" y="0"/>
                  </a:lnTo>
                  <a:lnTo>
                    <a:pt x="229" y="311"/>
                  </a:lnTo>
                  <a:lnTo>
                    <a:pt x="408" y="169"/>
                  </a:lnTo>
                  <a:lnTo>
                    <a:pt x="425" y="197"/>
                  </a:lnTo>
                  <a:lnTo>
                    <a:pt x="243" y="409"/>
                  </a:lnTo>
                  <a:lnTo>
                    <a:pt x="320" y="1080"/>
                  </a:lnTo>
                  <a:lnTo>
                    <a:pt x="104" y="1084"/>
                  </a:lnTo>
                  <a:close/>
                  <a:moveTo>
                    <a:pt x="8" y="212"/>
                  </a:moveTo>
                  <a:lnTo>
                    <a:pt x="8" y="212"/>
                  </a:lnTo>
                  <a:lnTo>
                    <a:pt x="18" y="219"/>
                  </a:lnTo>
                  <a:lnTo>
                    <a:pt x="33" y="233"/>
                  </a:lnTo>
                  <a:lnTo>
                    <a:pt x="43" y="243"/>
                  </a:lnTo>
                  <a:lnTo>
                    <a:pt x="53" y="254"/>
                  </a:lnTo>
                  <a:lnTo>
                    <a:pt x="64" y="268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86" y="303"/>
                  </a:lnTo>
                  <a:lnTo>
                    <a:pt x="98" y="326"/>
                  </a:lnTo>
                  <a:lnTo>
                    <a:pt x="109" y="353"/>
                  </a:lnTo>
                  <a:lnTo>
                    <a:pt x="115" y="367"/>
                  </a:lnTo>
                  <a:lnTo>
                    <a:pt x="119" y="383"/>
                  </a:lnTo>
                  <a:lnTo>
                    <a:pt x="124" y="400"/>
                  </a:lnTo>
                  <a:lnTo>
                    <a:pt x="128" y="417"/>
                  </a:lnTo>
                  <a:lnTo>
                    <a:pt x="132" y="436"/>
                  </a:lnTo>
                  <a:lnTo>
                    <a:pt x="135" y="455"/>
                  </a:lnTo>
                  <a:lnTo>
                    <a:pt x="137" y="476"/>
                  </a:lnTo>
                  <a:lnTo>
                    <a:pt x="139" y="498"/>
                  </a:lnTo>
                  <a:lnTo>
                    <a:pt x="140" y="520"/>
                  </a:lnTo>
                  <a:lnTo>
                    <a:pt x="140" y="544"/>
                  </a:lnTo>
                  <a:lnTo>
                    <a:pt x="140" y="544"/>
                  </a:lnTo>
                  <a:lnTo>
                    <a:pt x="138" y="631"/>
                  </a:lnTo>
                  <a:lnTo>
                    <a:pt x="135" y="719"/>
                  </a:lnTo>
                  <a:lnTo>
                    <a:pt x="131" y="803"/>
                  </a:lnTo>
                  <a:lnTo>
                    <a:pt x="127" y="882"/>
                  </a:lnTo>
                  <a:lnTo>
                    <a:pt x="118" y="1009"/>
                  </a:lnTo>
                  <a:lnTo>
                    <a:pt x="112" y="1076"/>
                  </a:lnTo>
                  <a:lnTo>
                    <a:pt x="312" y="1072"/>
                  </a:lnTo>
                  <a:lnTo>
                    <a:pt x="234" y="406"/>
                  </a:lnTo>
                  <a:lnTo>
                    <a:pt x="235" y="405"/>
                  </a:lnTo>
                  <a:lnTo>
                    <a:pt x="415" y="196"/>
                  </a:lnTo>
                  <a:lnTo>
                    <a:pt x="406" y="181"/>
                  </a:lnTo>
                  <a:lnTo>
                    <a:pt x="219" y="330"/>
                  </a:lnTo>
                  <a:lnTo>
                    <a:pt x="255" y="8"/>
                  </a:lnTo>
                  <a:lnTo>
                    <a:pt x="214" y="8"/>
                  </a:lnTo>
                  <a:lnTo>
                    <a:pt x="138" y="225"/>
                  </a:lnTo>
                  <a:lnTo>
                    <a:pt x="8" y="160"/>
                  </a:lnTo>
                  <a:lnTo>
                    <a:pt x="8" y="2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4" name="Rectangle 65">
              <a:extLst>
                <a:ext uri="{FF2B5EF4-FFF2-40B4-BE49-F238E27FC236}">
                  <a16:creationId xmlns:a16="http://schemas.microsoft.com/office/drawing/2014/main" id="{3A637EA1-C9C9-4B2E-BAB8-7680E911AF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8" y="2384"/>
              <a:ext cx="1067" cy="8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5" name="Freeform 66">
              <a:extLst>
                <a:ext uri="{FF2B5EF4-FFF2-40B4-BE49-F238E27FC236}">
                  <a16:creationId xmlns:a16="http://schemas.microsoft.com/office/drawing/2014/main" id="{0F41612D-46DD-4964-B5CF-1EEA60DAF0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" y="2380"/>
              <a:ext cx="1075" cy="843"/>
            </a:xfrm>
            <a:custGeom>
              <a:avLst/>
              <a:gdLst>
                <a:gd name="T0" fmla="*/ 1075 w 1075"/>
                <a:gd name="T1" fmla="*/ 843 h 843"/>
                <a:gd name="T2" fmla="*/ 0 w 1075"/>
                <a:gd name="T3" fmla="*/ 843 h 843"/>
                <a:gd name="T4" fmla="*/ 0 w 1075"/>
                <a:gd name="T5" fmla="*/ 0 h 843"/>
                <a:gd name="T6" fmla="*/ 1075 w 1075"/>
                <a:gd name="T7" fmla="*/ 0 h 843"/>
                <a:gd name="T8" fmla="*/ 1075 w 1075"/>
                <a:gd name="T9" fmla="*/ 843 h 843"/>
                <a:gd name="T10" fmla="*/ 8 w 1075"/>
                <a:gd name="T11" fmla="*/ 835 h 843"/>
                <a:gd name="T12" fmla="*/ 1067 w 1075"/>
                <a:gd name="T13" fmla="*/ 835 h 843"/>
                <a:gd name="T14" fmla="*/ 1067 w 1075"/>
                <a:gd name="T15" fmla="*/ 8 h 843"/>
                <a:gd name="T16" fmla="*/ 8 w 1075"/>
                <a:gd name="T17" fmla="*/ 8 h 843"/>
                <a:gd name="T18" fmla="*/ 8 w 1075"/>
                <a:gd name="T19" fmla="*/ 835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5" h="843">
                  <a:moveTo>
                    <a:pt x="1075" y="843"/>
                  </a:moveTo>
                  <a:lnTo>
                    <a:pt x="0" y="843"/>
                  </a:lnTo>
                  <a:lnTo>
                    <a:pt x="0" y="0"/>
                  </a:lnTo>
                  <a:lnTo>
                    <a:pt x="1075" y="0"/>
                  </a:lnTo>
                  <a:lnTo>
                    <a:pt x="1075" y="843"/>
                  </a:lnTo>
                  <a:close/>
                  <a:moveTo>
                    <a:pt x="8" y="835"/>
                  </a:moveTo>
                  <a:lnTo>
                    <a:pt x="1067" y="835"/>
                  </a:lnTo>
                  <a:lnTo>
                    <a:pt x="1067" y="8"/>
                  </a:lnTo>
                  <a:lnTo>
                    <a:pt x="8" y="8"/>
                  </a:lnTo>
                  <a:lnTo>
                    <a:pt x="8" y="8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6" name="Rectangle 67">
              <a:extLst>
                <a:ext uri="{FF2B5EF4-FFF2-40B4-BE49-F238E27FC236}">
                  <a16:creationId xmlns:a16="http://schemas.microsoft.com/office/drawing/2014/main" id="{8D11F633-50DD-45EC-87C6-FC61D8CE55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8" y="2384"/>
              <a:ext cx="1067" cy="17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7" name="Freeform 68">
              <a:extLst>
                <a:ext uri="{FF2B5EF4-FFF2-40B4-BE49-F238E27FC236}">
                  <a16:creationId xmlns:a16="http://schemas.microsoft.com/office/drawing/2014/main" id="{FBEE53CF-A9D9-4D39-A442-4DE9E09A3E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" y="2380"/>
              <a:ext cx="1075" cy="181"/>
            </a:xfrm>
            <a:custGeom>
              <a:avLst/>
              <a:gdLst>
                <a:gd name="T0" fmla="*/ 1075 w 1075"/>
                <a:gd name="T1" fmla="*/ 181 h 181"/>
                <a:gd name="T2" fmla="*/ 0 w 1075"/>
                <a:gd name="T3" fmla="*/ 181 h 181"/>
                <a:gd name="T4" fmla="*/ 0 w 1075"/>
                <a:gd name="T5" fmla="*/ 0 h 181"/>
                <a:gd name="T6" fmla="*/ 1075 w 1075"/>
                <a:gd name="T7" fmla="*/ 0 h 181"/>
                <a:gd name="T8" fmla="*/ 1075 w 1075"/>
                <a:gd name="T9" fmla="*/ 181 h 181"/>
                <a:gd name="T10" fmla="*/ 8 w 1075"/>
                <a:gd name="T11" fmla="*/ 173 h 181"/>
                <a:gd name="T12" fmla="*/ 1067 w 1075"/>
                <a:gd name="T13" fmla="*/ 173 h 181"/>
                <a:gd name="T14" fmla="*/ 1067 w 1075"/>
                <a:gd name="T15" fmla="*/ 8 h 181"/>
                <a:gd name="T16" fmla="*/ 8 w 1075"/>
                <a:gd name="T17" fmla="*/ 8 h 181"/>
                <a:gd name="T18" fmla="*/ 8 w 1075"/>
                <a:gd name="T19" fmla="*/ 17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5" h="181">
                  <a:moveTo>
                    <a:pt x="1075" y="181"/>
                  </a:moveTo>
                  <a:lnTo>
                    <a:pt x="0" y="181"/>
                  </a:lnTo>
                  <a:lnTo>
                    <a:pt x="0" y="0"/>
                  </a:lnTo>
                  <a:lnTo>
                    <a:pt x="1075" y="0"/>
                  </a:lnTo>
                  <a:lnTo>
                    <a:pt x="1075" y="181"/>
                  </a:lnTo>
                  <a:close/>
                  <a:moveTo>
                    <a:pt x="8" y="173"/>
                  </a:moveTo>
                  <a:lnTo>
                    <a:pt x="1067" y="173"/>
                  </a:lnTo>
                  <a:lnTo>
                    <a:pt x="1067" y="8"/>
                  </a:lnTo>
                  <a:lnTo>
                    <a:pt x="8" y="8"/>
                  </a:lnTo>
                  <a:lnTo>
                    <a:pt x="8" y="1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8" name="Freeform 69">
              <a:extLst>
                <a:ext uri="{FF2B5EF4-FFF2-40B4-BE49-F238E27FC236}">
                  <a16:creationId xmlns:a16="http://schemas.microsoft.com/office/drawing/2014/main" id="{41EED132-3179-4548-BCDF-2575F9221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6" y="2438"/>
              <a:ext cx="58" cy="58"/>
            </a:xfrm>
            <a:custGeom>
              <a:avLst/>
              <a:gdLst>
                <a:gd name="T0" fmla="*/ 58 w 58"/>
                <a:gd name="T1" fmla="*/ 29 h 58"/>
                <a:gd name="T2" fmla="*/ 58 w 58"/>
                <a:gd name="T3" fmla="*/ 29 h 58"/>
                <a:gd name="T4" fmla="*/ 57 w 58"/>
                <a:gd name="T5" fmla="*/ 34 h 58"/>
                <a:gd name="T6" fmla="*/ 55 w 58"/>
                <a:gd name="T7" fmla="*/ 40 h 58"/>
                <a:gd name="T8" fmla="*/ 53 w 58"/>
                <a:gd name="T9" fmla="*/ 45 h 58"/>
                <a:gd name="T10" fmla="*/ 49 w 58"/>
                <a:gd name="T11" fmla="*/ 49 h 58"/>
                <a:gd name="T12" fmla="*/ 45 w 58"/>
                <a:gd name="T13" fmla="*/ 53 h 58"/>
                <a:gd name="T14" fmla="*/ 40 w 58"/>
                <a:gd name="T15" fmla="*/ 55 h 58"/>
                <a:gd name="T16" fmla="*/ 35 w 58"/>
                <a:gd name="T17" fmla="*/ 57 h 58"/>
                <a:gd name="T18" fmla="*/ 29 w 58"/>
                <a:gd name="T19" fmla="*/ 58 h 58"/>
                <a:gd name="T20" fmla="*/ 29 w 58"/>
                <a:gd name="T21" fmla="*/ 58 h 58"/>
                <a:gd name="T22" fmla="*/ 23 w 58"/>
                <a:gd name="T23" fmla="*/ 57 h 58"/>
                <a:gd name="T24" fmla="*/ 17 w 58"/>
                <a:gd name="T25" fmla="*/ 55 h 58"/>
                <a:gd name="T26" fmla="*/ 12 w 58"/>
                <a:gd name="T27" fmla="*/ 53 h 58"/>
                <a:gd name="T28" fmla="*/ 8 w 58"/>
                <a:gd name="T29" fmla="*/ 49 h 58"/>
                <a:gd name="T30" fmla="*/ 5 w 58"/>
                <a:gd name="T31" fmla="*/ 45 h 58"/>
                <a:gd name="T32" fmla="*/ 2 w 58"/>
                <a:gd name="T33" fmla="*/ 40 h 58"/>
                <a:gd name="T34" fmla="*/ 0 w 58"/>
                <a:gd name="T35" fmla="*/ 34 h 58"/>
                <a:gd name="T36" fmla="*/ 0 w 58"/>
                <a:gd name="T37" fmla="*/ 29 h 58"/>
                <a:gd name="T38" fmla="*/ 0 w 58"/>
                <a:gd name="T39" fmla="*/ 29 h 58"/>
                <a:gd name="T40" fmla="*/ 0 w 58"/>
                <a:gd name="T41" fmla="*/ 23 h 58"/>
                <a:gd name="T42" fmla="*/ 2 w 58"/>
                <a:gd name="T43" fmla="*/ 17 h 58"/>
                <a:gd name="T44" fmla="*/ 5 w 58"/>
                <a:gd name="T45" fmla="*/ 12 h 58"/>
                <a:gd name="T46" fmla="*/ 8 w 58"/>
                <a:gd name="T47" fmla="*/ 8 h 58"/>
                <a:gd name="T48" fmla="*/ 12 w 58"/>
                <a:gd name="T49" fmla="*/ 5 h 58"/>
                <a:gd name="T50" fmla="*/ 17 w 58"/>
                <a:gd name="T51" fmla="*/ 2 h 58"/>
                <a:gd name="T52" fmla="*/ 23 w 58"/>
                <a:gd name="T53" fmla="*/ 0 h 58"/>
                <a:gd name="T54" fmla="*/ 29 w 58"/>
                <a:gd name="T55" fmla="*/ 0 h 58"/>
                <a:gd name="T56" fmla="*/ 29 w 58"/>
                <a:gd name="T57" fmla="*/ 0 h 58"/>
                <a:gd name="T58" fmla="*/ 35 w 58"/>
                <a:gd name="T59" fmla="*/ 0 h 58"/>
                <a:gd name="T60" fmla="*/ 40 w 58"/>
                <a:gd name="T61" fmla="*/ 2 h 58"/>
                <a:gd name="T62" fmla="*/ 45 w 58"/>
                <a:gd name="T63" fmla="*/ 5 h 58"/>
                <a:gd name="T64" fmla="*/ 49 w 58"/>
                <a:gd name="T65" fmla="*/ 8 h 58"/>
                <a:gd name="T66" fmla="*/ 53 w 58"/>
                <a:gd name="T67" fmla="*/ 12 h 58"/>
                <a:gd name="T68" fmla="*/ 55 w 58"/>
                <a:gd name="T69" fmla="*/ 17 h 58"/>
                <a:gd name="T70" fmla="*/ 57 w 58"/>
                <a:gd name="T71" fmla="*/ 23 h 58"/>
                <a:gd name="T72" fmla="*/ 58 w 58"/>
                <a:gd name="T73" fmla="*/ 29 h 58"/>
                <a:gd name="T74" fmla="*/ 58 w 58"/>
                <a:gd name="T7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8" h="58">
                  <a:moveTo>
                    <a:pt x="58" y="29"/>
                  </a:moveTo>
                  <a:lnTo>
                    <a:pt x="58" y="29"/>
                  </a:lnTo>
                  <a:lnTo>
                    <a:pt x="57" y="34"/>
                  </a:lnTo>
                  <a:lnTo>
                    <a:pt x="55" y="40"/>
                  </a:lnTo>
                  <a:lnTo>
                    <a:pt x="53" y="45"/>
                  </a:lnTo>
                  <a:lnTo>
                    <a:pt x="49" y="49"/>
                  </a:lnTo>
                  <a:lnTo>
                    <a:pt x="45" y="53"/>
                  </a:lnTo>
                  <a:lnTo>
                    <a:pt x="40" y="55"/>
                  </a:lnTo>
                  <a:lnTo>
                    <a:pt x="35" y="57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3" y="57"/>
                  </a:lnTo>
                  <a:lnTo>
                    <a:pt x="17" y="55"/>
                  </a:lnTo>
                  <a:lnTo>
                    <a:pt x="12" y="53"/>
                  </a:lnTo>
                  <a:lnTo>
                    <a:pt x="8" y="49"/>
                  </a:lnTo>
                  <a:lnTo>
                    <a:pt x="5" y="45"/>
                  </a:lnTo>
                  <a:lnTo>
                    <a:pt x="2" y="40"/>
                  </a:lnTo>
                  <a:lnTo>
                    <a:pt x="0" y="34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40" y="2"/>
                  </a:lnTo>
                  <a:lnTo>
                    <a:pt x="45" y="5"/>
                  </a:lnTo>
                  <a:lnTo>
                    <a:pt x="49" y="8"/>
                  </a:lnTo>
                  <a:lnTo>
                    <a:pt x="53" y="12"/>
                  </a:lnTo>
                  <a:lnTo>
                    <a:pt x="55" y="17"/>
                  </a:lnTo>
                  <a:lnTo>
                    <a:pt x="57" y="23"/>
                  </a:lnTo>
                  <a:lnTo>
                    <a:pt x="58" y="29"/>
                  </a:lnTo>
                  <a:lnTo>
                    <a:pt x="58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89" name="Freeform 70">
              <a:extLst>
                <a:ext uri="{FF2B5EF4-FFF2-40B4-BE49-F238E27FC236}">
                  <a16:creationId xmlns:a16="http://schemas.microsoft.com/office/drawing/2014/main" id="{ABB9BAFE-C916-4606-9CF2-F59FAC5BC0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2" y="2434"/>
              <a:ext cx="66" cy="66"/>
            </a:xfrm>
            <a:custGeom>
              <a:avLst/>
              <a:gdLst>
                <a:gd name="T0" fmla="*/ 33 w 66"/>
                <a:gd name="T1" fmla="*/ 66 h 66"/>
                <a:gd name="T2" fmla="*/ 20 w 66"/>
                <a:gd name="T3" fmla="*/ 63 h 66"/>
                <a:gd name="T4" fmla="*/ 9 w 66"/>
                <a:gd name="T5" fmla="*/ 56 h 66"/>
                <a:gd name="T6" fmla="*/ 2 w 66"/>
                <a:gd name="T7" fmla="*/ 45 h 66"/>
                <a:gd name="T8" fmla="*/ 0 w 66"/>
                <a:gd name="T9" fmla="*/ 33 h 66"/>
                <a:gd name="T10" fmla="*/ 0 w 66"/>
                <a:gd name="T11" fmla="*/ 26 h 66"/>
                <a:gd name="T12" fmla="*/ 5 w 66"/>
                <a:gd name="T13" fmla="*/ 14 h 66"/>
                <a:gd name="T14" fmla="*/ 14 w 66"/>
                <a:gd name="T15" fmla="*/ 5 h 66"/>
                <a:gd name="T16" fmla="*/ 26 w 66"/>
                <a:gd name="T17" fmla="*/ 0 h 66"/>
                <a:gd name="T18" fmla="*/ 33 w 66"/>
                <a:gd name="T19" fmla="*/ 0 h 66"/>
                <a:gd name="T20" fmla="*/ 46 w 66"/>
                <a:gd name="T21" fmla="*/ 2 h 66"/>
                <a:gd name="T22" fmla="*/ 56 w 66"/>
                <a:gd name="T23" fmla="*/ 9 h 66"/>
                <a:gd name="T24" fmla="*/ 63 w 66"/>
                <a:gd name="T25" fmla="*/ 20 h 66"/>
                <a:gd name="T26" fmla="*/ 66 w 66"/>
                <a:gd name="T27" fmla="*/ 33 h 66"/>
                <a:gd name="T28" fmla="*/ 65 w 66"/>
                <a:gd name="T29" fmla="*/ 39 h 66"/>
                <a:gd name="T30" fmla="*/ 60 w 66"/>
                <a:gd name="T31" fmla="*/ 51 h 66"/>
                <a:gd name="T32" fmla="*/ 51 w 66"/>
                <a:gd name="T33" fmla="*/ 60 h 66"/>
                <a:gd name="T34" fmla="*/ 39 w 66"/>
                <a:gd name="T35" fmla="*/ 65 h 66"/>
                <a:gd name="T36" fmla="*/ 33 w 66"/>
                <a:gd name="T37" fmla="*/ 66 h 66"/>
                <a:gd name="T38" fmla="*/ 33 w 66"/>
                <a:gd name="T39" fmla="*/ 8 h 66"/>
                <a:gd name="T40" fmla="*/ 23 w 66"/>
                <a:gd name="T41" fmla="*/ 10 h 66"/>
                <a:gd name="T42" fmla="*/ 15 w 66"/>
                <a:gd name="T43" fmla="*/ 15 h 66"/>
                <a:gd name="T44" fmla="*/ 10 w 66"/>
                <a:gd name="T45" fmla="*/ 23 h 66"/>
                <a:gd name="T46" fmla="*/ 8 w 66"/>
                <a:gd name="T47" fmla="*/ 33 h 66"/>
                <a:gd name="T48" fmla="*/ 8 w 66"/>
                <a:gd name="T49" fmla="*/ 38 h 66"/>
                <a:gd name="T50" fmla="*/ 12 w 66"/>
                <a:gd name="T51" fmla="*/ 47 h 66"/>
                <a:gd name="T52" fmla="*/ 19 w 66"/>
                <a:gd name="T53" fmla="*/ 53 h 66"/>
                <a:gd name="T54" fmla="*/ 28 w 66"/>
                <a:gd name="T55" fmla="*/ 57 h 66"/>
                <a:gd name="T56" fmla="*/ 33 w 66"/>
                <a:gd name="T57" fmla="*/ 58 h 66"/>
                <a:gd name="T58" fmla="*/ 42 w 66"/>
                <a:gd name="T59" fmla="*/ 56 h 66"/>
                <a:gd name="T60" fmla="*/ 50 w 66"/>
                <a:gd name="T61" fmla="*/ 50 h 66"/>
                <a:gd name="T62" fmla="*/ 56 w 66"/>
                <a:gd name="T63" fmla="*/ 42 h 66"/>
                <a:gd name="T64" fmla="*/ 58 w 66"/>
                <a:gd name="T65" fmla="*/ 33 h 66"/>
                <a:gd name="T66" fmla="*/ 57 w 66"/>
                <a:gd name="T67" fmla="*/ 28 h 66"/>
                <a:gd name="T68" fmla="*/ 53 w 66"/>
                <a:gd name="T69" fmla="*/ 19 h 66"/>
                <a:gd name="T70" fmla="*/ 47 w 66"/>
                <a:gd name="T71" fmla="*/ 12 h 66"/>
                <a:gd name="T72" fmla="*/ 38 w 66"/>
                <a:gd name="T73" fmla="*/ 8 h 66"/>
                <a:gd name="T74" fmla="*/ 33 w 66"/>
                <a:gd name="T75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lnTo>
                    <a:pt x="26" y="65"/>
                  </a:lnTo>
                  <a:lnTo>
                    <a:pt x="20" y="63"/>
                  </a:lnTo>
                  <a:lnTo>
                    <a:pt x="14" y="60"/>
                  </a:lnTo>
                  <a:lnTo>
                    <a:pt x="9" y="56"/>
                  </a:lnTo>
                  <a:lnTo>
                    <a:pt x="5" y="51"/>
                  </a:lnTo>
                  <a:lnTo>
                    <a:pt x="2" y="45"/>
                  </a:lnTo>
                  <a:lnTo>
                    <a:pt x="0" y="39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0"/>
                  </a:lnTo>
                  <a:lnTo>
                    <a:pt x="46" y="2"/>
                  </a:lnTo>
                  <a:lnTo>
                    <a:pt x="51" y="5"/>
                  </a:lnTo>
                  <a:lnTo>
                    <a:pt x="56" y="9"/>
                  </a:lnTo>
                  <a:lnTo>
                    <a:pt x="60" y="14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5" y="39"/>
                  </a:lnTo>
                  <a:lnTo>
                    <a:pt x="63" y="45"/>
                  </a:lnTo>
                  <a:lnTo>
                    <a:pt x="60" y="51"/>
                  </a:lnTo>
                  <a:lnTo>
                    <a:pt x="56" y="56"/>
                  </a:lnTo>
                  <a:lnTo>
                    <a:pt x="51" y="60"/>
                  </a:lnTo>
                  <a:lnTo>
                    <a:pt x="46" y="63"/>
                  </a:lnTo>
                  <a:lnTo>
                    <a:pt x="39" y="65"/>
                  </a:lnTo>
                  <a:lnTo>
                    <a:pt x="33" y="66"/>
                  </a:lnTo>
                  <a:lnTo>
                    <a:pt x="33" y="66"/>
                  </a:lnTo>
                  <a:close/>
                  <a:moveTo>
                    <a:pt x="33" y="8"/>
                  </a:moveTo>
                  <a:lnTo>
                    <a:pt x="33" y="8"/>
                  </a:lnTo>
                  <a:lnTo>
                    <a:pt x="28" y="8"/>
                  </a:lnTo>
                  <a:lnTo>
                    <a:pt x="23" y="10"/>
                  </a:lnTo>
                  <a:lnTo>
                    <a:pt x="19" y="12"/>
                  </a:lnTo>
                  <a:lnTo>
                    <a:pt x="15" y="15"/>
                  </a:lnTo>
                  <a:lnTo>
                    <a:pt x="12" y="19"/>
                  </a:lnTo>
                  <a:lnTo>
                    <a:pt x="10" y="23"/>
                  </a:lnTo>
                  <a:lnTo>
                    <a:pt x="8" y="28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8"/>
                  </a:lnTo>
                  <a:lnTo>
                    <a:pt x="10" y="42"/>
                  </a:lnTo>
                  <a:lnTo>
                    <a:pt x="12" y="47"/>
                  </a:lnTo>
                  <a:lnTo>
                    <a:pt x="15" y="50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28" y="57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8" y="57"/>
                  </a:lnTo>
                  <a:lnTo>
                    <a:pt x="42" y="56"/>
                  </a:lnTo>
                  <a:lnTo>
                    <a:pt x="47" y="53"/>
                  </a:lnTo>
                  <a:lnTo>
                    <a:pt x="50" y="50"/>
                  </a:lnTo>
                  <a:lnTo>
                    <a:pt x="53" y="47"/>
                  </a:lnTo>
                  <a:lnTo>
                    <a:pt x="56" y="42"/>
                  </a:lnTo>
                  <a:lnTo>
                    <a:pt x="57" y="38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7" y="28"/>
                  </a:lnTo>
                  <a:lnTo>
                    <a:pt x="56" y="23"/>
                  </a:lnTo>
                  <a:lnTo>
                    <a:pt x="53" y="19"/>
                  </a:lnTo>
                  <a:lnTo>
                    <a:pt x="50" y="15"/>
                  </a:lnTo>
                  <a:lnTo>
                    <a:pt x="47" y="12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3" y="8"/>
                  </a:lnTo>
                  <a:lnTo>
                    <a:pt x="33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0" name="Freeform 71">
              <a:extLst>
                <a:ext uri="{FF2B5EF4-FFF2-40B4-BE49-F238E27FC236}">
                  <a16:creationId xmlns:a16="http://schemas.microsoft.com/office/drawing/2014/main" id="{26C24493-E821-452C-B04F-F429DC187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" y="2438"/>
              <a:ext cx="58" cy="58"/>
            </a:xfrm>
            <a:custGeom>
              <a:avLst/>
              <a:gdLst>
                <a:gd name="T0" fmla="*/ 58 w 58"/>
                <a:gd name="T1" fmla="*/ 29 h 58"/>
                <a:gd name="T2" fmla="*/ 58 w 58"/>
                <a:gd name="T3" fmla="*/ 29 h 58"/>
                <a:gd name="T4" fmla="*/ 57 w 58"/>
                <a:gd name="T5" fmla="*/ 34 h 58"/>
                <a:gd name="T6" fmla="*/ 56 w 58"/>
                <a:gd name="T7" fmla="*/ 40 h 58"/>
                <a:gd name="T8" fmla="*/ 53 w 58"/>
                <a:gd name="T9" fmla="*/ 45 h 58"/>
                <a:gd name="T10" fmla="*/ 49 w 58"/>
                <a:gd name="T11" fmla="*/ 49 h 58"/>
                <a:gd name="T12" fmla="*/ 45 w 58"/>
                <a:gd name="T13" fmla="*/ 53 h 58"/>
                <a:gd name="T14" fmla="*/ 40 w 58"/>
                <a:gd name="T15" fmla="*/ 55 h 58"/>
                <a:gd name="T16" fmla="*/ 35 w 58"/>
                <a:gd name="T17" fmla="*/ 57 h 58"/>
                <a:gd name="T18" fmla="*/ 29 w 58"/>
                <a:gd name="T19" fmla="*/ 58 h 58"/>
                <a:gd name="T20" fmla="*/ 29 w 58"/>
                <a:gd name="T21" fmla="*/ 58 h 58"/>
                <a:gd name="T22" fmla="*/ 23 w 58"/>
                <a:gd name="T23" fmla="*/ 57 h 58"/>
                <a:gd name="T24" fmla="*/ 18 w 58"/>
                <a:gd name="T25" fmla="*/ 55 h 58"/>
                <a:gd name="T26" fmla="*/ 13 w 58"/>
                <a:gd name="T27" fmla="*/ 53 h 58"/>
                <a:gd name="T28" fmla="*/ 8 w 58"/>
                <a:gd name="T29" fmla="*/ 49 h 58"/>
                <a:gd name="T30" fmla="*/ 5 w 58"/>
                <a:gd name="T31" fmla="*/ 45 h 58"/>
                <a:gd name="T32" fmla="*/ 2 w 58"/>
                <a:gd name="T33" fmla="*/ 40 h 58"/>
                <a:gd name="T34" fmla="*/ 1 w 58"/>
                <a:gd name="T35" fmla="*/ 34 h 58"/>
                <a:gd name="T36" fmla="*/ 0 w 58"/>
                <a:gd name="T37" fmla="*/ 29 h 58"/>
                <a:gd name="T38" fmla="*/ 0 w 58"/>
                <a:gd name="T39" fmla="*/ 29 h 58"/>
                <a:gd name="T40" fmla="*/ 1 w 58"/>
                <a:gd name="T41" fmla="*/ 23 h 58"/>
                <a:gd name="T42" fmla="*/ 2 w 58"/>
                <a:gd name="T43" fmla="*/ 17 h 58"/>
                <a:gd name="T44" fmla="*/ 5 w 58"/>
                <a:gd name="T45" fmla="*/ 12 h 58"/>
                <a:gd name="T46" fmla="*/ 8 w 58"/>
                <a:gd name="T47" fmla="*/ 8 h 58"/>
                <a:gd name="T48" fmla="*/ 13 w 58"/>
                <a:gd name="T49" fmla="*/ 5 h 58"/>
                <a:gd name="T50" fmla="*/ 18 w 58"/>
                <a:gd name="T51" fmla="*/ 2 h 58"/>
                <a:gd name="T52" fmla="*/ 23 w 58"/>
                <a:gd name="T53" fmla="*/ 0 h 58"/>
                <a:gd name="T54" fmla="*/ 29 w 58"/>
                <a:gd name="T55" fmla="*/ 0 h 58"/>
                <a:gd name="T56" fmla="*/ 29 w 58"/>
                <a:gd name="T57" fmla="*/ 0 h 58"/>
                <a:gd name="T58" fmla="*/ 35 w 58"/>
                <a:gd name="T59" fmla="*/ 0 h 58"/>
                <a:gd name="T60" fmla="*/ 40 w 58"/>
                <a:gd name="T61" fmla="*/ 2 h 58"/>
                <a:gd name="T62" fmla="*/ 45 w 58"/>
                <a:gd name="T63" fmla="*/ 5 h 58"/>
                <a:gd name="T64" fmla="*/ 49 w 58"/>
                <a:gd name="T65" fmla="*/ 8 h 58"/>
                <a:gd name="T66" fmla="*/ 53 w 58"/>
                <a:gd name="T67" fmla="*/ 12 h 58"/>
                <a:gd name="T68" fmla="*/ 56 w 58"/>
                <a:gd name="T69" fmla="*/ 17 h 58"/>
                <a:gd name="T70" fmla="*/ 57 w 58"/>
                <a:gd name="T71" fmla="*/ 23 h 58"/>
                <a:gd name="T72" fmla="*/ 58 w 58"/>
                <a:gd name="T73" fmla="*/ 29 h 58"/>
                <a:gd name="T74" fmla="*/ 58 w 58"/>
                <a:gd name="T7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8" h="58">
                  <a:moveTo>
                    <a:pt x="58" y="29"/>
                  </a:moveTo>
                  <a:lnTo>
                    <a:pt x="58" y="29"/>
                  </a:lnTo>
                  <a:lnTo>
                    <a:pt x="57" y="34"/>
                  </a:lnTo>
                  <a:lnTo>
                    <a:pt x="56" y="40"/>
                  </a:lnTo>
                  <a:lnTo>
                    <a:pt x="53" y="45"/>
                  </a:lnTo>
                  <a:lnTo>
                    <a:pt x="49" y="49"/>
                  </a:lnTo>
                  <a:lnTo>
                    <a:pt x="45" y="53"/>
                  </a:lnTo>
                  <a:lnTo>
                    <a:pt x="40" y="55"/>
                  </a:lnTo>
                  <a:lnTo>
                    <a:pt x="35" y="57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3" y="57"/>
                  </a:lnTo>
                  <a:lnTo>
                    <a:pt x="18" y="55"/>
                  </a:lnTo>
                  <a:lnTo>
                    <a:pt x="13" y="53"/>
                  </a:lnTo>
                  <a:lnTo>
                    <a:pt x="8" y="49"/>
                  </a:lnTo>
                  <a:lnTo>
                    <a:pt x="5" y="45"/>
                  </a:lnTo>
                  <a:lnTo>
                    <a:pt x="2" y="40"/>
                  </a:lnTo>
                  <a:lnTo>
                    <a:pt x="1" y="34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23"/>
                  </a:lnTo>
                  <a:lnTo>
                    <a:pt x="2" y="17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8" y="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40" y="2"/>
                  </a:lnTo>
                  <a:lnTo>
                    <a:pt x="45" y="5"/>
                  </a:lnTo>
                  <a:lnTo>
                    <a:pt x="49" y="8"/>
                  </a:lnTo>
                  <a:lnTo>
                    <a:pt x="53" y="12"/>
                  </a:lnTo>
                  <a:lnTo>
                    <a:pt x="56" y="17"/>
                  </a:lnTo>
                  <a:lnTo>
                    <a:pt x="57" y="23"/>
                  </a:lnTo>
                  <a:lnTo>
                    <a:pt x="58" y="29"/>
                  </a:lnTo>
                  <a:lnTo>
                    <a:pt x="58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1" name="Freeform 72">
              <a:extLst>
                <a:ext uri="{FF2B5EF4-FFF2-40B4-BE49-F238E27FC236}">
                  <a16:creationId xmlns:a16="http://schemas.microsoft.com/office/drawing/2014/main" id="{AC98D17F-5B4A-4EBA-BF31-36A23A467A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7" y="2434"/>
              <a:ext cx="66" cy="66"/>
            </a:xfrm>
            <a:custGeom>
              <a:avLst/>
              <a:gdLst>
                <a:gd name="T0" fmla="*/ 33 w 66"/>
                <a:gd name="T1" fmla="*/ 66 h 66"/>
                <a:gd name="T2" fmla="*/ 20 w 66"/>
                <a:gd name="T3" fmla="*/ 63 h 66"/>
                <a:gd name="T4" fmla="*/ 10 w 66"/>
                <a:gd name="T5" fmla="*/ 56 h 66"/>
                <a:gd name="T6" fmla="*/ 3 w 66"/>
                <a:gd name="T7" fmla="*/ 45 h 66"/>
                <a:gd name="T8" fmla="*/ 0 w 66"/>
                <a:gd name="T9" fmla="*/ 33 h 66"/>
                <a:gd name="T10" fmla="*/ 1 w 66"/>
                <a:gd name="T11" fmla="*/ 26 h 66"/>
                <a:gd name="T12" fmla="*/ 6 w 66"/>
                <a:gd name="T13" fmla="*/ 14 h 66"/>
                <a:gd name="T14" fmla="*/ 14 w 66"/>
                <a:gd name="T15" fmla="*/ 5 h 66"/>
                <a:gd name="T16" fmla="*/ 26 w 66"/>
                <a:gd name="T17" fmla="*/ 0 h 66"/>
                <a:gd name="T18" fmla="*/ 33 w 66"/>
                <a:gd name="T19" fmla="*/ 0 h 66"/>
                <a:gd name="T20" fmla="*/ 46 w 66"/>
                <a:gd name="T21" fmla="*/ 2 h 66"/>
                <a:gd name="T22" fmla="*/ 56 w 66"/>
                <a:gd name="T23" fmla="*/ 9 h 66"/>
                <a:gd name="T24" fmla="*/ 63 w 66"/>
                <a:gd name="T25" fmla="*/ 20 h 66"/>
                <a:gd name="T26" fmla="*/ 66 w 66"/>
                <a:gd name="T27" fmla="*/ 33 h 66"/>
                <a:gd name="T28" fmla="*/ 65 w 66"/>
                <a:gd name="T29" fmla="*/ 39 h 66"/>
                <a:gd name="T30" fmla="*/ 60 w 66"/>
                <a:gd name="T31" fmla="*/ 51 h 66"/>
                <a:gd name="T32" fmla="*/ 51 w 66"/>
                <a:gd name="T33" fmla="*/ 60 h 66"/>
                <a:gd name="T34" fmla="*/ 40 w 66"/>
                <a:gd name="T35" fmla="*/ 65 h 66"/>
                <a:gd name="T36" fmla="*/ 33 w 66"/>
                <a:gd name="T37" fmla="*/ 66 h 66"/>
                <a:gd name="T38" fmla="*/ 33 w 66"/>
                <a:gd name="T39" fmla="*/ 8 h 66"/>
                <a:gd name="T40" fmla="*/ 23 w 66"/>
                <a:gd name="T41" fmla="*/ 10 h 66"/>
                <a:gd name="T42" fmla="*/ 15 w 66"/>
                <a:gd name="T43" fmla="*/ 15 h 66"/>
                <a:gd name="T44" fmla="*/ 10 w 66"/>
                <a:gd name="T45" fmla="*/ 23 h 66"/>
                <a:gd name="T46" fmla="*/ 8 w 66"/>
                <a:gd name="T47" fmla="*/ 33 h 66"/>
                <a:gd name="T48" fmla="*/ 8 w 66"/>
                <a:gd name="T49" fmla="*/ 38 h 66"/>
                <a:gd name="T50" fmla="*/ 12 w 66"/>
                <a:gd name="T51" fmla="*/ 47 h 66"/>
                <a:gd name="T52" fmla="*/ 19 w 66"/>
                <a:gd name="T53" fmla="*/ 53 h 66"/>
                <a:gd name="T54" fmla="*/ 28 w 66"/>
                <a:gd name="T55" fmla="*/ 57 h 66"/>
                <a:gd name="T56" fmla="*/ 33 w 66"/>
                <a:gd name="T57" fmla="*/ 58 h 66"/>
                <a:gd name="T58" fmla="*/ 43 w 66"/>
                <a:gd name="T59" fmla="*/ 56 h 66"/>
                <a:gd name="T60" fmla="*/ 51 w 66"/>
                <a:gd name="T61" fmla="*/ 50 h 66"/>
                <a:gd name="T62" fmla="*/ 56 w 66"/>
                <a:gd name="T63" fmla="*/ 42 h 66"/>
                <a:gd name="T64" fmla="*/ 58 w 66"/>
                <a:gd name="T65" fmla="*/ 33 h 66"/>
                <a:gd name="T66" fmla="*/ 57 w 66"/>
                <a:gd name="T67" fmla="*/ 28 h 66"/>
                <a:gd name="T68" fmla="*/ 54 w 66"/>
                <a:gd name="T69" fmla="*/ 19 h 66"/>
                <a:gd name="T70" fmla="*/ 47 w 66"/>
                <a:gd name="T71" fmla="*/ 12 h 66"/>
                <a:gd name="T72" fmla="*/ 38 w 66"/>
                <a:gd name="T73" fmla="*/ 8 h 66"/>
                <a:gd name="T74" fmla="*/ 33 w 66"/>
                <a:gd name="T75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lnTo>
                    <a:pt x="26" y="65"/>
                  </a:lnTo>
                  <a:lnTo>
                    <a:pt x="20" y="63"/>
                  </a:lnTo>
                  <a:lnTo>
                    <a:pt x="14" y="60"/>
                  </a:lnTo>
                  <a:lnTo>
                    <a:pt x="10" y="56"/>
                  </a:lnTo>
                  <a:lnTo>
                    <a:pt x="6" y="51"/>
                  </a:lnTo>
                  <a:lnTo>
                    <a:pt x="3" y="45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4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1" y="5"/>
                  </a:lnTo>
                  <a:lnTo>
                    <a:pt x="56" y="9"/>
                  </a:lnTo>
                  <a:lnTo>
                    <a:pt x="60" y="14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5" y="39"/>
                  </a:lnTo>
                  <a:lnTo>
                    <a:pt x="63" y="45"/>
                  </a:lnTo>
                  <a:lnTo>
                    <a:pt x="60" y="51"/>
                  </a:lnTo>
                  <a:lnTo>
                    <a:pt x="56" y="56"/>
                  </a:lnTo>
                  <a:lnTo>
                    <a:pt x="51" y="60"/>
                  </a:lnTo>
                  <a:lnTo>
                    <a:pt x="46" y="63"/>
                  </a:lnTo>
                  <a:lnTo>
                    <a:pt x="40" y="65"/>
                  </a:lnTo>
                  <a:lnTo>
                    <a:pt x="33" y="66"/>
                  </a:lnTo>
                  <a:lnTo>
                    <a:pt x="33" y="66"/>
                  </a:lnTo>
                  <a:close/>
                  <a:moveTo>
                    <a:pt x="33" y="8"/>
                  </a:moveTo>
                  <a:lnTo>
                    <a:pt x="33" y="8"/>
                  </a:lnTo>
                  <a:lnTo>
                    <a:pt x="28" y="8"/>
                  </a:lnTo>
                  <a:lnTo>
                    <a:pt x="23" y="10"/>
                  </a:lnTo>
                  <a:lnTo>
                    <a:pt x="19" y="12"/>
                  </a:lnTo>
                  <a:lnTo>
                    <a:pt x="15" y="15"/>
                  </a:lnTo>
                  <a:lnTo>
                    <a:pt x="12" y="19"/>
                  </a:lnTo>
                  <a:lnTo>
                    <a:pt x="10" y="23"/>
                  </a:lnTo>
                  <a:lnTo>
                    <a:pt x="8" y="28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8"/>
                  </a:lnTo>
                  <a:lnTo>
                    <a:pt x="10" y="42"/>
                  </a:lnTo>
                  <a:lnTo>
                    <a:pt x="12" y="47"/>
                  </a:lnTo>
                  <a:lnTo>
                    <a:pt x="15" y="50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28" y="57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8" y="57"/>
                  </a:lnTo>
                  <a:lnTo>
                    <a:pt x="43" y="56"/>
                  </a:lnTo>
                  <a:lnTo>
                    <a:pt x="47" y="53"/>
                  </a:lnTo>
                  <a:lnTo>
                    <a:pt x="51" y="50"/>
                  </a:lnTo>
                  <a:lnTo>
                    <a:pt x="54" y="47"/>
                  </a:lnTo>
                  <a:lnTo>
                    <a:pt x="56" y="42"/>
                  </a:lnTo>
                  <a:lnTo>
                    <a:pt x="57" y="38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7" y="28"/>
                  </a:lnTo>
                  <a:lnTo>
                    <a:pt x="56" y="23"/>
                  </a:lnTo>
                  <a:lnTo>
                    <a:pt x="54" y="19"/>
                  </a:lnTo>
                  <a:lnTo>
                    <a:pt x="51" y="15"/>
                  </a:lnTo>
                  <a:lnTo>
                    <a:pt x="47" y="12"/>
                  </a:lnTo>
                  <a:lnTo>
                    <a:pt x="43" y="10"/>
                  </a:lnTo>
                  <a:lnTo>
                    <a:pt x="38" y="8"/>
                  </a:lnTo>
                  <a:lnTo>
                    <a:pt x="33" y="8"/>
                  </a:lnTo>
                  <a:lnTo>
                    <a:pt x="33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2" name="Freeform 73">
              <a:extLst>
                <a:ext uri="{FF2B5EF4-FFF2-40B4-BE49-F238E27FC236}">
                  <a16:creationId xmlns:a16="http://schemas.microsoft.com/office/drawing/2014/main" id="{9797924D-2B06-427E-BE4A-B8A8D8D02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6" y="2438"/>
              <a:ext cx="58" cy="58"/>
            </a:xfrm>
            <a:custGeom>
              <a:avLst/>
              <a:gdLst>
                <a:gd name="T0" fmla="*/ 58 w 58"/>
                <a:gd name="T1" fmla="*/ 29 h 58"/>
                <a:gd name="T2" fmla="*/ 58 w 58"/>
                <a:gd name="T3" fmla="*/ 29 h 58"/>
                <a:gd name="T4" fmla="*/ 57 w 58"/>
                <a:gd name="T5" fmla="*/ 34 h 58"/>
                <a:gd name="T6" fmla="*/ 56 w 58"/>
                <a:gd name="T7" fmla="*/ 40 h 58"/>
                <a:gd name="T8" fmla="*/ 53 w 58"/>
                <a:gd name="T9" fmla="*/ 45 h 58"/>
                <a:gd name="T10" fmla="*/ 50 w 58"/>
                <a:gd name="T11" fmla="*/ 49 h 58"/>
                <a:gd name="T12" fmla="*/ 45 w 58"/>
                <a:gd name="T13" fmla="*/ 53 h 58"/>
                <a:gd name="T14" fmla="*/ 40 w 58"/>
                <a:gd name="T15" fmla="*/ 55 h 58"/>
                <a:gd name="T16" fmla="*/ 35 w 58"/>
                <a:gd name="T17" fmla="*/ 57 h 58"/>
                <a:gd name="T18" fmla="*/ 29 w 58"/>
                <a:gd name="T19" fmla="*/ 58 h 58"/>
                <a:gd name="T20" fmla="*/ 29 w 58"/>
                <a:gd name="T21" fmla="*/ 58 h 58"/>
                <a:gd name="T22" fmla="*/ 23 w 58"/>
                <a:gd name="T23" fmla="*/ 57 h 58"/>
                <a:gd name="T24" fmla="*/ 18 w 58"/>
                <a:gd name="T25" fmla="*/ 55 h 58"/>
                <a:gd name="T26" fmla="*/ 13 w 58"/>
                <a:gd name="T27" fmla="*/ 53 h 58"/>
                <a:gd name="T28" fmla="*/ 9 w 58"/>
                <a:gd name="T29" fmla="*/ 49 h 58"/>
                <a:gd name="T30" fmla="*/ 5 w 58"/>
                <a:gd name="T31" fmla="*/ 45 h 58"/>
                <a:gd name="T32" fmla="*/ 2 w 58"/>
                <a:gd name="T33" fmla="*/ 40 h 58"/>
                <a:gd name="T34" fmla="*/ 1 w 58"/>
                <a:gd name="T35" fmla="*/ 34 h 58"/>
                <a:gd name="T36" fmla="*/ 0 w 58"/>
                <a:gd name="T37" fmla="*/ 29 h 58"/>
                <a:gd name="T38" fmla="*/ 0 w 58"/>
                <a:gd name="T39" fmla="*/ 29 h 58"/>
                <a:gd name="T40" fmla="*/ 1 w 58"/>
                <a:gd name="T41" fmla="*/ 23 h 58"/>
                <a:gd name="T42" fmla="*/ 2 w 58"/>
                <a:gd name="T43" fmla="*/ 17 h 58"/>
                <a:gd name="T44" fmla="*/ 5 w 58"/>
                <a:gd name="T45" fmla="*/ 12 h 58"/>
                <a:gd name="T46" fmla="*/ 9 w 58"/>
                <a:gd name="T47" fmla="*/ 8 h 58"/>
                <a:gd name="T48" fmla="*/ 13 w 58"/>
                <a:gd name="T49" fmla="*/ 5 h 58"/>
                <a:gd name="T50" fmla="*/ 18 w 58"/>
                <a:gd name="T51" fmla="*/ 2 h 58"/>
                <a:gd name="T52" fmla="*/ 23 w 58"/>
                <a:gd name="T53" fmla="*/ 0 h 58"/>
                <a:gd name="T54" fmla="*/ 29 w 58"/>
                <a:gd name="T55" fmla="*/ 0 h 58"/>
                <a:gd name="T56" fmla="*/ 29 w 58"/>
                <a:gd name="T57" fmla="*/ 0 h 58"/>
                <a:gd name="T58" fmla="*/ 35 w 58"/>
                <a:gd name="T59" fmla="*/ 0 h 58"/>
                <a:gd name="T60" fmla="*/ 40 w 58"/>
                <a:gd name="T61" fmla="*/ 2 h 58"/>
                <a:gd name="T62" fmla="*/ 45 w 58"/>
                <a:gd name="T63" fmla="*/ 5 h 58"/>
                <a:gd name="T64" fmla="*/ 50 w 58"/>
                <a:gd name="T65" fmla="*/ 8 h 58"/>
                <a:gd name="T66" fmla="*/ 53 w 58"/>
                <a:gd name="T67" fmla="*/ 12 h 58"/>
                <a:gd name="T68" fmla="*/ 56 w 58"/>
                <a:gd name="T69" fmla="*/ 17 h 58"/>
                <a:gd name="T70" fmla="*/ 57 w 58"/>
                <a:gd name="T71" fmla="*/ 23 h 58"/>
                <a:gd name="T72" fmla="*/ 58 w 58"/>
                <a:gd name="T73" fmla="*/ 29 h 58"/>
                <a:gd name="T74" fmla="*/ 58 w 58"/>
                <a:gd name="T7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8" h="58">
                  <a:moveTo>
                    <a:pt x="58" y="29"/>
                  </a:moveTo>
                  <a:lnTo>
                    <a:pt x="58" y="29"/>
                  </a:lnTo>
                  <a:lnTo>
                    <a:pt x="57" y="34"/>
                  </a:lnTo>
                  <a:lnTo>
                    <a:pt x="56" y="40"/>
                  </a:lnTo>
                  <a:lnTo>
                    <a:pt x="53" y="45"/>
                  </a:lnTo>
                  <a:lnTo>
                    <a:pt x="50" y="49"/>
                  </a:lnTo>
                  <a:lnTo>
                    <a:pt x="45" y="53"/>
                  </a:lnTo>
                  <a:lnTo>
                    <a:pt x="40" y="55"/>
                  </a:lnTo>
                  <a:lnTo>
                    <a:pt x="35" y="57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3" y="57"/>
                  </a:lnTo>
                  <a:lnTo>
                    <a:pt x="18" y="55"/>
                  </a:lnTo>
                  <a:lnTo>
                    <a:pt x="13" y="53"/>
                  </a:lnTo>
                  <a:lnTo>
                    <a:pt x="9" y="49"/>
                  </a:lnTo>
                  <a:lnTo>
                    <a:pt x="5" y="45"/>
                  </a:lnTo>
                  <a:lnTo>
                    <a:pt x="2" y="40"/>
                  </a:lnTo>
                  <a:lnTo>
                    <a:pt x="1" y="34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23"/>
                  </a:lnTo>
                  <a:lnTo>
                    <a:pt x="2" y="17"/>
                  </a:lnTo>
                  <a:lnTo>
                    <a:pt x="5" y="12"/>
                  </a:lnTo>
                  <a:lnTo>
                    <a:pt x="9" y="8"/>
                  </a:lnTo>
                  <a:lnTo>
                    <a:pt x="13" y="5"/>
                  </a:lnTo>
                  <a:lnTo>
                    <a:pt x="18" y="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40" y="2"/>
                  </a:lnTo>
                  <a:lnTo>
                    <a:pt x="45" y="5"/>
                  </a:lnTo>
                  <a:lnTo>
                    <a:pt x="50" y="8"/>
                  </a:lnTo>
                  <a:lnTo>
                    <a:pt x="53" y="12"/>
                  </a:lnTo>
                  <a:lnTo>
                    <a:pt x="56" y="17"/>
                  </a:lnTo>
                  <a:lnTo>
                    <a:pt x="57" y="23"/>
                  </a:lnTo>
                  <a:lnTo>
                    <a:pt x="58" y="29"/>
                  </a:lnTo>
                  <a:lnTo>
                    <a:pt x="58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3" name="Freeform 74">
              <a:extLst>
                <a:ext uri="{FF2B5EF4-FFF2-40B4-BE49-F238E27FC236}">
                  <a16:creationId xmlns:a16="http://schemas.microsoft.com/office/drawing/2014/main" id="{1A08DC18-8EEC-4DC7-8920-737004A9C4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2" y="2434"/>
              <a:ext cx="66" cy="66"/>
            </a:xfrm>
            <a:custGeom>
              <a:avLst/>
              <a:gdLst>
                <a:gd name="T0" fmla="*/ 33 w 66"/>
                <a:gd name="T1" fmla="*/ 66 h 66"/>
                <a:gd name="T2" fmla="*/ 20 w 66"/>
                <a:gd name="T3" fmla="*/ 63 h 66"/>
                <a:gd name="T4" fmla="*/ 10 w 66"/>
                <a:gd name="T5" fmla="*/ 56 h 66"/>
                <a:gd name="T6" fmla="*/ 3 w 66"/>
                <a:gd name="T7" fmla="*/ 45 h 66"/>
                <a:gd name="T8" fmla="*/ 0 w 66"/>
                <a:gd name="T9" fmla="*/ 33 h 66"/>
                <a:gd name="T10" fmla="*/ 1 w 66"/>
                <a:gd name="T11" fmla="*/ 26 h 66"/>
                <a:gd name="T12" fmla="*/ 6 w 66"/>
                <a:gd name="T13" fmla="*/ 14 h 66"/>
                <a:gd name="T14" fmla="*/ 15 w 66"/>
                <a:gd name="T15" fmla="*/ 5 h 66"/>
                <a:gd name="T16" fmla="*/ 26 w 66"/>
                <a:gd name="T17" fmla="*/ 0 h 66"/>
                <a:gd name="T18" fmla="*/ 33 w 66"/>
                <a:gd name="T19" fmla="*/ 0 h 66"/>
                <a:gd name="T20" fmla="*/ 46 w 66"/>
                <a:gd name="T21" fmla="*/ 2 h 66"/>
                <a:gd name="T22" fmla="*/ 56 w 66"/>
                <a:gd name="T23" fmla="*/ 9 h 66"/>
                <a:gd name="T24" fmla="*/ 63 w 66"/>
                <a:gd name="T25" fmla="*/ 20 h 66"/>
                <a:gd name="T26" fmla="*/ 66 w 66"/>
                <a:gd name="T27" fmla="*/ 33 h 66"/>
                <a:gd name="T28" fmla="*/ 65 w 66"/>
                <a:gd name="T29" fmla="*/ 39 h 66"/>
                <a:gd name="T30" fmla="*/ 60 w 66"/>
                <a:gd name="T31" fmla="*/ 51 h 66"/>
                <a:gd name="T32" fmla="*/ 52 w 66"/>
                <a:gd name="T33" fmla="*/ 60 h 66"/>
                <a:gd name="T34" fmla="*/ 40 w 66"/>
                <a:gd name="T35" fmla="*/ 65 h 66"/>
                <a:gd name="T36" fmla="*/ 33 w 66"/>
                <a:gd name="T37" fmla="*/ 66 h 66"/>
                <a:gd name="T38" fmla="*/ 33 w 66"/>
                <a:gd name="T39" fmla="*/ 8 h 66"/>
                <a:gd name="T40" fmla="*/ 23 w 66"/>
                <a:gd name="T41" fmla="*/ 10 h 66"/>
                <a:gd name="T42" fmla="*/ 15 w 66"/>
                <a:gd name="T43" fmla="*/ 15 h 66"/>
                <a:gd name="T44" fmla="*/ 10 w 66"/>
                <a:gd name="T45" fmla="*/ 23 h 66"/>
                <a:gd name="T46" fmla="*/ 8 w 66"/>
                <a:gd name="T47" fmla="*/ 33 h 66"/>
                <a:gd name="T48" fmla="*/ 9 w 66"/>
                <a:gd name="T49" fmla="*/ 38 h 66"/>
                <a:gd name="T50" fmla="*/ 12 w 66"/>
                <a:gd name="T51" fmla="*/ 47 h 66"/>
                <a:gd name="T52" fmla="*/ 19 w 66"/>
                <a:gd name="T53" fmla="*/ 53 h 66"/>
                <a:gd name="T54" fmla="*/ 28 w 66"/>
                <a:gd name="T55" fmla="*/ 57 h 66"/>
                <a:gd name="T56" fmla="*/ 33 w 66"/>
                <a:gd name="T57" fmla="*/ 58 h 66"/>
                <a:gd name="T58" fmla="*/ 43 w 66"/>
                <a:gd name="T59" fmla="*/ 56 h 66"/>
                <a:gd name="T60" fmla="*/ 51 w 66"/>
                <a:gd name="T61" fmla="*/ 50 h 66"/>
                <a:gd name="T62" fmla="*/ 56 w 66"/>
                <a:gd name="T63" fmla="*/ 42 h 66"/>
                <a:gd name="T64" fmla="*/ 58 w 66"/>
                <a:gd name="T65" fmla="*/ 33 h 66"/>
                <a:gd name="T66" fmla="*/ 58 w 66"/>
                <a:gd name="T67" fmla="*/ 28 h 66"/>
                <a:gd name="T68" fmla="*/ 54 w 66"/>
                <a:gd name="T69" fmla="*/ 19 h 66"/>
                <a:gd name="T70" fmla="*/ 47 w 66"/>
                <a:gd name="T71" fmla="*/ 12 h 66"/>
                <a:gd name="T72" fmla="*/ 38 w 66"/>
                <a:gd name="T73" fmla="*/ 8 h 66"/>
                <a:gd name="T74" fmla="*/ 33 w 66"/>
                <a:gd name="T75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lnTo>
                    <a:pt x="26" y="65"/>
                  </a:lnTo>
                  <a:lnTo>
                    <a:pt x="20" y="63"/>
                  </a:lnTo>
                  <a:lnTo>
                    <a:pt x="15" y="60"/>
                  </a:lnTo>
                  <a:lnTo>
                    <a:pt x="10" y="56"/>
                  </a:lnTo>
                  <a:lnTo>
                    <a:pt x="6" y="51"/>
                  </a:lnTo>
                  <a:lnTo>
                    <a:pt x="3" y="45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6" y="9"/>
                  </a:lnTo>
                  <a:lnTo>
                    <a:pt x="60" y="14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5" y="39"/>
                  </a:lnTo>
                  <a:lnTo>
                    <a:pt x="63" y="45"/>
                  </a:lnTo>
                  <a:lnTo>
                    <a:pt x="60" y="51"/>
                  </a:lnTo>
                  <a:lnTo>
                    <a:pt x="56" y="56"/>
                  </a:lnTo>
                  <a:lnTo>
                    <a:pt x="52" y="60"/>
                  </a:lnTo>
                  <a:lnTo>
                    <a:pt x="46" y="63"/>
                  </a:lnTo>
                  <a:lnTo>
                    <a:pt x="40" y="65"/>
                  </a:lnTo>
                  <a:lnTo>
                    <a:pt x="33" y="66"/>
                  </a:lnTo>
                  <a:lnTo>
                    <a:pt x="33" y="66"/>
                  </a:lnTo>
                  <a:close/>
                  <a:moveTo>
                    <a:pt x="33" y="8"/>
                  </a:moveTo>
                  <a:lnTo>
                    <a:pt x="33" y="8"/>
                  </a:lnTo>
                  <a:lnTo>
                    <a:pt x="28" y="8"/>
                  </a:lnTo>
                  <a:lnTo>
                    <a:pt x="23" y="10"/>
                  </a:lnTo>
                  <a:lnTo>
                    <a:pt x="19" y="12"/>
                  </a:lnTo>
                  <a:lnTo>
                    <a:pt x="15" y="15"/>
                  </a:lnTo>
                  <a:lnTo>
                    <a:pt x="12" y="19"/>
                  </a:lnTo>
                  <a:lnTo>
                    <a:pt x="10" y="23"/>
                  </a:lnTo>
                  <a:lnTo>
                    <a:pt x="9" y="28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9" y="38"/>
                  </a:lnTo>
                  <a:lnTo>
                    <a:pt x="10" y="42"/>
                  </a:lnTo>
                  <a:lnTo>
                    <a:pt x="12" y="47"/>
                  </a:lnTo>
                  <a:lnTo>
                    <a:pt x="15" y="50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28" y="57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8" y="57"/>
                  </a:lnTo>
                  <a:lnTo>
                    <a:pt x="43" y="56"/>
                  </a:lnTo>
                  <a:lnTo>
                    <a:pt x="47" y="53"/>
                  </a:lnTo>
                  <a:lnTo>
                    <a:pt x="51" y="50"/>
                  </a:lnTo>
                  <a:lnTo>
                    <a:pt x="54" y="47"/>
                  </a:lnTo>
                  <a:lnTo>
                    <a:pt x="56" y="42"/>
                  </a:lnTo>
                  <a:lnTo>
                    <a:pt x="58" y="38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28"/>
                  </a:lnTo>
                  <a:lnTo>
                    <a:pt x="56" y="23"/>
                  </a:lnTo>
                  <a:lnTo>
                    <a:pt x="54" y="19"/>
                  </a:lnTo>
                  <a:lnTo>
                    <a:pt x="51" y="15"/>
                  </a:lnTo>
                  <a:lnTo>
                    <a:pt x="47" y="12"/>
                  </a:lnTo>
                  <a:lnTo>
                    <a:pt x="43" y="10"/>
                  </a:lnTo>
                  <a:lnTo>
                    <a:pt x="38" y="8"/>
                  </a:lnTo>
                  <a:lnTo>
                    <a:pt x="33" y="8"/>
                  </a:lnTo>
                  <a:lnTo>
                    <a:pt x="33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4" name="Rectangle 75">
              <a:extLst>
                <a:ext uri="{FF2B5EF4-FFF2-40B4-BE49-F238E27FC236}">
                  <a16:creationId xmlns:a16="http://schemas.microsoft.com/office/drawing/2014/main" id="{E8447F70-52F6-4538-BED1-83A165EE8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3" y="2639"/>
              <a:ext cx="273" cy="470"/>
            </a:xfrm>
            <a:prstGeom prst="rect">
              <a:avLst/>
            </a:pr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5" name="Rectangle 76">
              <a:extLst>
                <a:ext uri="{FF2B5EF4-FFF2-40B4-BE49-F238E27FC236}">
                  <a16:creationId xmlns:a16="http://schemas.microsoft.com/office/drawing/2014/main" id="{870E9191-21BC-4EC4-A895-45236D025E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643"/>
              <a:ext cx="250" cy="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6" name="Freeform 77">
              <a:extLst>
                <a:ext uri="{FF2B5EF4-FFF2-40B4-BE49-F238E27FC236}">
                  <a16:creationId xmlns:a16="http://schemas.microsoft.com/office/drawing/2014/main" id="{CBBC8BD5-8D52-44BF-AAEF-A363349DB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3" y="2639"/>
              <a:ext cx="258" cy="61"/>
            </a:xfrm>
            <a:custGeom>
              <a:avLst/>
              <a:gdLst>
                <a:gd name="T0" fmla="*/ 258 w 258"/>
                <a:gd name="T1" fmla="*/ 61 h 61"/>
                <a:gd name="T2" fmla="*/ 0 w 258"/>
                <a:gd name="T3" fmla="*/ 61 h 61"/>
                <a:gd name="T4" fmla="*/ 0 w 258"/>
                <a:gd name="T5" fmla="*/ 0 h 61"/>
                <a:gd name="T6" fmla="*/ 258 w 258"/>
                <a:gd name="T7" fmla="*/ 0 h 61"/>
                <a:gd name="T8" fmla="*/ 258 w 258"/>
                <a:gd name="T9" fmla="*/ 61 h 61"/>
                <a:gd name="T10" fmla="*/ 8 w 258"/>
                <a:gd name="T11" fmla="*/ 53 h 61"/>
                <a:gd name="T12" fmla="*/ 250 w 258"/>
                <a:gd name="T13" fmla="*/ 53 h 61"/>
                <a:gd name="T14" fmla="*/ 250 w 258"/>
                <a:gd name="T15" fmla="*/ 8 h 61"/>
                <a:gd name="T16" fmla="*/ 8 w 258"/>
                <a:gd name="T17" fmla="*/ 8 h 61"/>
                <a:gd name="T18" fmla="*/ 8 w 258"/>
                <a:gd name="T19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61">
                  <a:moveTo>
                    <a:pt x="258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61"/>
                  </a:lnTo>
                  <a:close/>
                  <a:moveTo>
                    <a:pt x="8" y="53"/>
                  </a:moveTo>
                  <a:lnTo>
                    <a:pt x="250" y="53"/>
                  </a:lnTo>
                  <a:lnTo>
                    <a:pt x="250" y="8"/>
                  </a:lnTo>
                  <a:lnTo>
                    <a:pt x="8" y="8"/>
                  </a:lnTo>
                  <a:lnTo>
                    <a:pt x="8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7" name="Rectangle 78">
              <a:extLst>
                <a:ext uri="{FF2B5EF4-FFF2-40B4-BE49-F238E27FC236}">
                  <a16:creationId xmlns:a16="http://schemas.microsoft.com/office/drawing/2014/main" id="{63C7124B-B60E-45B7-BB34-FE30EE28EE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718"/>
              <a:ext cx="250" cy="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8" name="Freeform 79">
              <a:extLst>
                <a:ext uri="{FF2B5EF4-FFF2-40B4-BE49-F238E27FC236}">
                  <a16:creationId xmlns:a16="http://schemas.microsoft.com/office/drawing/2014/main" id="{089594C6-5A40-4D68-867E-C742A8DB2B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3" y="2714"/>
              <a:ext cx="258" cy="61"/>
            </a:xfrm>
            <a:custGeom>
              <a:avLst/>
              <a:gdLst>
                <a:gd name="T0" fmla="*/ 258 w 258"/>
                <a:gd name="T1" fmla="*/ 61 h 61"/>
                <a:gd name="T2" fmla="*/ 0 w 258"/>
                <a:gd name="T3" fmla="*/ 61 h 61"/>
                <a:gd name="T4" fmla="*/ 0 w 258"/>
                <a:gd name="T5" fmla="*/ 0 h 61"/>
                <a:gd name="T6" fmla="*/ 258 w 258"/>
                <a:gd name="T7" fmla="*/ 0 h 61"/>
                <a:gd name="T8" fmla="*/ 258 w 258"/>
                <a:gd name="T9" fmla="*/ 61 h 61"/>
                <a:gd name="T10" fmla="*/ 8 w 258"/>
                <a:gd name="T11" fmla="*/ 53 h 61"/>
                <a:gd name="T12" fmla="*/ 250 w 258"/>
                <a:gd name="T13" fmla="*/ 53 h 61"/>
                <a:gd name="T14" fmla="*/ 250 w 258"/>
                <a:gd name="T15" fmla="*/ 8 h 61"/>
                <a:gd name="T16" fmla="*/ 8 w 258"/>
                <a:gd name="T17" fmla="*/ 8 h 61"/>
                <a:gd name="T18" fmla="*/ 8 w 258"/>
                <a:gd name="T19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61">
                  <a:moveTo>
                    <a:pt x="258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61"/>
                  </a:lnTo>
                  <a:close/>
                  <a:moveTo>
                    <a:pt x="8" y="53"/>
                  </a:moveTo>
                  <a:lnTo>
                    <a:pt x="250" y="53"/>
                  </a:lnTo>
                  <a:lnTo>
                    <a:pt x="250" y="8"/>
                  </a:lnTo>
                  <a:lnTo>
                    <a:pt x="8" y="8"/>
                  </a:lnTo>
                  <a:lnTo>
                    <a:pt x="8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99" name="Rectangle 80">
              <a:extLst>
                <a:ext uri="{FF2B5EF4-FFF2-40B4-BE49-F238E27FC236}">
                  <a16:creationId xmlns:a16="http://schemas.microsoft.com/office/drawing/2014/main" id="{DEEB3A47-B30E-47F8-BBC6-8F54028B6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794"/>
              <a:ext cx="250" cy="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0" name="Freeform 81">
              <a:extLst>
                <a:ext uri="{FF2B5EF4-FFF2-40B4-BE49-F238E27FC236}">
                  <a16:creationId xmlns:a16="http://schemas.microsoft.com/office/drawing/2014/main" id="{3C96630F-2732-4477-B4E1-0A88C640EE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3" y="2790"/>
              <a:ext cx="258" cy="61"/>
            </a:xfrm>
            <a:custGeom>
              <a:avLst/>
              <a:gdLst>
                <a:gd name="T0" fmla="*/ 258 w 258"/>
                <a:gd name="T1" fmla="*/ 61 h 61"/>
                <a:gd name="T2" fmla="*/ 0 w 258"/>
                <a:gd name="T3" fmla="*/ 61 h 61"/>
                <a:gd name="T4" fmla="*/ 0 w 258"/>
                <a:gd name="T5" fmla="*/ 0 h 61"/>
                <a:gd name="T6" fmla="*/ 258 w 258"/>
                <a:gd name="T7" fmla="*/ 0 h 61"/>
                <a:gd name="T8" fmla="*/ 258 w 258"/>
                <a:gd name="T9" fmla="*/ 61 h 61"/>
                <a:gd name="T10" fmla="*/ 8 w 258"/>
                <a:gd name="T11" fmla="*/ 53 h 61"/>
                <a:gd name="T12" fmla="*/ 250 w 258"/>
                <a:gd name="T13" fmla="*/ 53 h 61"/>
                <a:gd name="T14" fmla="*/ 250 w 258"/>
                <a:gd name="T15" fmla="*/ 8 h 61"/>
                <a:gd name="T16" fmla="*/ 8 w 258"/>
                <a:gd name="T17" fmla="*/ 8 h 61"/>
                <a:gd name="T18" fmla="*/ 8 w 258"/>
                <a:gd name="T19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61">
                  <a:moveTo>
                    <a:pt x="258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61"/>
                  </a:lnTo>
                  <a:close/>
                  <a:moveTo>
                    <a:pt x="8" y="53"/>
                  </a:moveTo>
                  <a:lnTo>
                    <a:pt x="250" y="53"/>
                  </a:lnTo>
                  <a:lnTo>
                    <a:pt x="250" y="8"/>
                  </a:lnTo>
                  <a:lnTo>
                    <a:pt x="8" y="8"/>
                  </a:lnTo>
                  <a:lnTo>
                    <a:pt x="8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1" name="Freeform 82">
              <a:extLst>
                <a:ext uri="{FF2B5EF4-FFF2-40B4-BE49-F238E27FC236}">
                  <a16:creationId xmlns:a16="http://schemas.microsoft.com/office/drawing/2014/main" id="{4F90D403-70FD-4724-B385-211077554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" y="2637"/>
              <a:ext cx="210" cy="210"/>
            </a:xfrm>
            <a:custGeom>
              <a:avLst/>
              <a:gdLst>
                <a:gd name="T0" fmla="*/ 210 w 210"/>
                <a:gd name="T1" fmla="*/ 105 h 210"/>
                <a:gd name="T2" fmla="*/ 208 w 210"/>
                <a:gd name="T3" fmla="*/ 126 h 210"/>
                <a:gd name="T4" fmla="*/ 202 w 210"/>
                <a:gd name="T5" fmla="*/ 146 h 210"/>
                <a:gd name="T6" fmla="*/ 192 w 210"/>
                <a:gd name="T7" fmla="*/ 164 h 210"/>
                <a:gd name="T8" fmla="*/ 179 w 210"/>
                <a:gd name="T9" fmla="*/ 179 h 210"/>
                <a:gd name="T10" fmla="*/ 164 w 210"/>
                <a:gd name="T11" fmla="*/ 192 h 210"/>
                <a:gd name="T12" fmla="*/ 146 w 210"/>
                <a:gd name="T13" fmla="*/ 202 h 210"/>
                <a:gd name="T14" fmla="*/ 126 w 210"/>
                <a:gd name="T15" fmla="*/ 208 h 210"/>
                <a:gd name="T16" fmla="*/ 105 w 210"/>
                <a:gd name="T17" fmla="*/ 210 h 210"/>
                <a:gd name="T18" fmla="*/ 94 w 210"/>
                <a:gd name="T19" fmla="*/ 210 h 210"/>
                <a:gd name="T20" fmla="*/ 74 w 210"/>
                <a:gd name="T21" fmla="*/ 205 h 210"/>
                <a:gd name="T22" fmla="*/ 55 w 210"/>
                <a:gd name="T23" fmla="*/ 198 h 210"/>
                <a:gd name="T24" fmla="*/ 38 w 210"/>
                <a:gd name="T25" fmla="*/ 186 h 210"/>
                <a:gd name="T26" fmla="*/ 24 w 210"/>
                <a:gd name="T27" fmla="*/ 172 h 210"/>
                <a:gd name="T28" fmla="*/ 13 w 210"/>
                <a:gd name="T29" fmla="*/ 155 h 210"/>
                <a:gd name="T30" fmla="*/ 5 w 210"/>
                <a:gd name="T31" fmla="*/ 136 h 210"/>
                <a:gd name="T32" fmla="*/ 0 w 210"/>
                <a:gd name="T33" fmla="*/ 116 h 210"/>
                <a:gd name="T34" fmla="*/ 0 w 210"/>
                <a:gd name="T35" fmla="*/ 105 h 210"/>
                <a:gd name="T36" fmla="*/ 2 w 210"/>
                <a:gd name="T37" fmla="*/ 84 h 210"/>
                <a:gd name="T38" fmla="*/ 8 w 210"/>
                <a:gd name="T39" fmla="*/ 64 h 210"/>
                <a:gd name="T40" fmla="*/ 18 w 210"/>
                <a:gd name="T41" fmla="*/ 47 h 210"/>
                <a:gd name="T42" fmla="*/ 31 w 210"/>
                <a:gd name="T43" fmla="*/ 31 h 210"/>
                <a:gd name="T44" fmla="*/ 46 w 210"/>
                <a:gd name="T45" fmla="*/ 18 h 210"/>
                <a:gd name="T46" fmla="*/ 64 w 210"/>
                <a:gd name="T47" fmla="*/ 9 h 210"/>
                <a:gd name="T48" fmla="*/ 84 w 210"/>
                <a:gd name="T49" fmla="*/ 2 h 210"/>
                <a:gd name="T50" fmla="*/ 105 w 210"/>
                <a:gd name="T51" fmla="*/ 0 h 210"/>
                <a:gd name="T52" fmla="*/ 116 w 210"/>
                <a:gd name="T53" fmla="*/ 1 h 210"/>
                <a:gd name="T54" fmla="*/ 136 w 210"/>
                <a:gd name="T55" fmla="*/ 5 h 210"/>
                <a:gd name="T56" fmla="*/ 155 w 210"/>
                <a:gd name="T57" fmla="*/ 13 h 210"/>
                <a:gd name="T58" fmla="*/ 172 w 210"/>
                <a:gd name="T59" fmla="*/ 24 h 210"/>
                <a:gd name="T60" fmla="*/ 186 w 210"/>
                <a:gd name="T61" fmla="*/ 38 h 210"/>
                <a:gd name="T62" fmla="*/ 197 w 210"/>
                <a:gd name="T63" fmla="*/ 55 h 210"/>
                <a:gd name="T64" fmla="*/ 205 w 210"/>
                <a:gd name="T65" fmla="*/ 74 h 210"/>
                <a:gd name="T66" fmla="*/ 209 w 210"/>
                <a:gd name="T67" fmla="*/ 94 h 210"/>
                <a:gd name="T68" fmla="*/ 210 w 210"/>
                <a:gd name="T69" fmla="*/ 10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0" h="210">
                  <a:moveTo>
                    <a:pt x="210" y="105"/>
                  </a:moveTo>
                  <a:lnTo>
                    <a:pt x="210" y="105"/>
                  </a:lnTo>
                  <a:lnTo>
                    <a:pt x="209" y="116"/>
                  </a:lnTo>
                  <a:lnTo>
                    <a:pt x="208" y="126"/>
                  </a:lnTo>
                  <a:lnTo>
                    <a:pt x="205" y="136"/>
                  </a:lnTo>
                  <a:lnTo>
                    <a:pt x="202" y="146"/>
                  </a:lnTo>
                  <a:lnTo>
                    <a:pt x="197" y="155"/>
                  </a:lnTo>
                  <a:lnTo>
                    <a:pt x="192" y="164"/>
                  </a:lnTo>
                  <a:lnTo>
                    <a:pt x="186" y="172"/>
                  </a:lnTo>
                  <a:lnTo>
                    <a:pt x="179" y="179"/>
                  </a:lnTo>
                  <a:lnTo>
                    <a:pt x="172" y="186"/>
                  </a:lnTo>
                  <a:lnTo>
                    <a:pt x="164" y="192"/>
                  </a:lnTo>
                  <a:lnTo>
                    <a:pt x="155" y="198"/>
                  </a:lnTo>
                  <a:lnTo>
                    <a:pt x="146" y="202"/>
                  </a:lnTo>
                  <a:lnTo>
                    <a:pt x="136" y="205"/>
                  </a:lnTo>
                  <a:lnTo>
                    <a:pt x="126" y="208"/>
                  </a:lnTo>
                  <a:lnTo>
                    <a:pt x="116" y="210"/>
                  </a:lnTo>
                  <a:lnTo>
                    <a:pt x="105" y="210"/>
                  </a:lnTo>
                  <a:lnTo>
                    <a:pt x="105" y="210"/>
                  </a:lnTo>
                  <a:lnTo>
                    <a:pt x="94" y="210"/>
                  </a:lnTo>
                  <a:lnTo>
                    <a:pt x="84" y="208"/>
                  </a:lnTo>
                  <a:lnTo>
                    <a:pt x="74" y="205"/>
                  </a:lnTo>
                  <a:lnTo>
                    <a:pt x="64" y="202"/>
                  </a:lnTo>
                  <a:lnTo>
                    <a:pt x="55" y="198"/>
                  </a:lnTo>
                  <a:lnTo>
                    <a:pt x="46" y="192"/>
                  </a:lnTo>
                  <a:lnTo>
                    <a:pt x="38" y="186"/>
                  </a:lnTo>
                  <a:lnTo>
                    <a:pt x="31" y="179"/>
                  </a:lnTo>
                  <a:lnTo>
                    <a:pt x="24" y="172"/>
                  </a:lnTo>
                  <a:lnTo>
                    <a:pt x="18" y="164"/>
                  </a:lnTo>
                  <a:lnTo>
                    <a:pt x="13" y="155"/>
                  </a:lnTo>
                  <a:lnTo>
                    <a:pt x="8" y="146"/>
                  </a:lnTo>
                  <a:lnTo>
                    <a:pt x="5" y="136"/>
                  </a:lnTo>
                  <a:lnTo>
                    <a:pt x="2" y="126"/>
                  </a:lnTo>
                  <a:lnTo>
                    <a:pt x="0" y="116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94"/>
                  </a:lnTo>
                  <a:lnTo>
                    <a:pt x="2" y="84"/>
                  </a:lnTo>
                  <a:lnTo>
                    <a:pt x="5" y="74"/>
                  </a:lnTo>
                  <a:lnTo>
                    <a:pt x="8" y="64"/>
                  </a:lnTo>
                  <a:lnTo>
                    <a:pt x="13" y="55"/>
                  </a:lnTo>
                  <a:lnTo>
                    <a:pt x="18" y="47"/>
                  </a:lnTo>
                  <a:lnTo>
                    <a:pt x="24" y="38"/>
                  </a:lnTo>
                  <a:lnTo>
                    <a:pt x="31" y="31"/>
                  </a:lnTo>
                  <a:lnTo>
                    <a:pt x="38" y="24"/>
                  </a:lnTo>
                  <a:lnTo>
                    <a:pt x="46" y="18"/>
                  </a:lnTo>
                  <a:lnTo>
                    <a:pt x="55" y="13"/>
                  </a:lnTo>
                  <a:lnTo>
                    <a:pt x="64" y="9"/>
                  </a:lnTo>
                  <a:lnTo>
                    <a:pt x="74" y="5"/>
                  </a:lnTo>
                  <a:lnTo>
                    <a:pt x="84" y="2"/>
                  </a:lnTo>
                  <a:lnTo>
                    <a:pt x="94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16" y="1"/>
                  </a:lnTo>
                  <a:lnTo>
                    <a:pt x="126" y="2"/>
                  </a:lnTo>
                  <a:lnTo>
                    <a:pt x="136" y="5"/>
                  </a:lnTo>
                  <a:lnTo>
                    <a:pt x="146" y="9"/>
                  </a:lnTo>
                  <a:lnTo>
                    <a:pt x="155" y="13"/>
                  </a:lnTo>
                  <a:lnTo>
                    <a:pt x="164" y="18"/>
                  </a:lnTo>
                  <a:lnTo>
                    <a:pt x="172" y="24"/>
                  </a:lnTo>
                  <a:lnTo>
                    <a:pt x="179" y="31"/>
                  </a:lnTo>
                  <a:lnTo>
                    <a:pt x="186" y="38"/>
                  </a:lnTo>
                  <a:lnTo>
                    <a:pt x="192" y="47"/>
                  </a:lnTo>
                  <a:lnTo>
                    <a:pt x="197" y="55"/>
                  </a:lnTo>
                  <a:lnTo>
                    <a:pt x="202" y="64"/>
                  </a:lnTo>
                  <a:lnTo>
                    <a:pt x="205" y="74"/>
                  </a:lnTo>
                  <a:lnTo>
                    <a:pt x="208" y="84"/>
                  </a:lnTo>
                  <a:lnTo>
                    <a:pt x="209" y="94"/>
                  </a:lnTo>
                  <a:lnTo>
                    <a:pt x="210" y="105"/>
                  </a:lnTo>
                  <a:lnTo>
                    <a:pt x="210" y="10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2" name="Freeform 83">
              <a:extLst>
                <a:ext uri="{FF2B5EF4-FFF2-40B4-BE49-F238E27FC236}">
                  <a16:creationId xmlns:a16="http://schemas.microsoft.com/office/drawing/2014/main" id="{A3C6F20F-AF19-4216-BA00-8B4321DCB1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5" y="2633"/>
              <a:ext cx="218" cy="218"/>
            </a:xfrm>
            <a:custGeom>
              <a:avLst/>
              <a:gdLst>
                <a:gd name="T0" fmla="*/ 98 w 218"/>
                <a:gd name="T1" fmla="*/ 218 h 218"/>
                <a:gd name="T2" fmla="*/ 67 w 218"/>
                <a:gd name="T3" fmla="*/ 210 h 218"/>
                <a:gd name="T4" fmla="*/ 40 w 218"/>
                <a:gd name="T5" fmla="*/ 193 h 218"/>
                <a:gd name="T6" fmla="*/ 19 w 218"/>
                <a:gd name="T7" fmla="*/ 170 h 218"/>
                <a:gd name="T8" fmla="*/ 5 w 218"/>
                <a:gd name="T9" fmla="*/ 142 h 218"/>
                <a:gd name="T10" fmla="*/ 0 w 218"/>
                <a:gd name="T11" fmla="*/ 109 h 218"/>
                <a:gd name="T12" fmla="*/ 2 w 218"/>
                <a:gd name="T13" fmla="*/ 87 h 218"/>
                <a:gd name="T14" fmla="*/ 13 w 218"/>
                <a:gd name="T15" fmla="*/ 57 h 218"/>
                <a:gd name="T16" fmla="*/ 32 w 218"/>
                <a:gd name="T17" fmla="*/ 32 h 218"/>
                <a:gd name="T18" fmla="*/ 57 w 218"/>
                <a:gd name="T19" fmla="*/ 13 h 218"/>
                <a:gd name="T20" fmla="*/ 87 w 218"/>
                <a:gd name="T21" fmla="*/ 2 h 218"/>
                <a:gd name="T22" fmla="*/ 109 w 218"/>
                <a:gd name="T23" fmla="*/ 0 h 218"/>
                <a:gd name="T24" fmla="*/ 141 w 218"/>
                <a:gd name="T25" fmla="*/ 5 h 218"/>
                <a:gd name="T26" fmla="*/ 170 w 218"/>
                <a:gd name="T27" fmla="*/ 19 h 218"/>
                <a:gd name="T28" fmla="*/ 193 w 218"/>
                <a:gd name="T29" fmla="*/ 40 h 218"/>
                <a:gd name="T30" fmla="*/ 209 w 218"/>
                <a:gd name="T31" fmla="*/ 67 h 218"/>
                <a:gd name="T32" fmla="*/ 217 w 218"/>
                <a:gd name="T33" fmla="*/ 98 h 218"/>
                <a:gd name="T34" fmla="*/ 217 w 218"/>
                <a:gd name="T35" fmla="*/ 120 h 218"/>
                <a:gd name="T36" fmla="*/ 209 w 218"/>
                <a:gd name="T37" fmla="*/ 152 h 218"/>
                <a:gd name="T38" fmla="*/ 193 w 218"/>
                <a:gd name="T39" fmla="*/ 178 h 218"/>
                <a:gd name="T40" fmla="*/ 170 w 218"/>
                <a:gd name="T41" fmla="*/ 200 h 218"/>
                <a:gd name="T42" fmla="*/ 141 w 218"/>
                <a:gd name="T43" fmla="*/ 213 h 218"/>
                <a:gd name="T44" fmla="*/ 109 w 218"/>
                <a:gd name="T45" fmla="*/ 218 h 218"/>
                <a:gd name="T46" fmla="*/ 109 w 218"/>
                <a:gd name="T47" fmla="*/ 8 h 218"/>
                <a:gd name="T48" fmla="*/ 79 w 218"/>
                <a:gd name="T49" fmla="*/ 13 h 218"/>
                <a:gd name="T50" fmla="*/ 52 w 218"/>
                <a:gd name="T51" fmla="*/ 26 h 218"/>
                <a:gd name="T52" fmla="*/ 31 w 218"/>
                <a:gd name="T53" fmla="*/ 45 h 218"/>
                <a:gd name="T54" fmla="*/ 16 w 218"/>
                <a:gd name="T55" fmla="*/ 70 h 218"/>
                <a:gd name="T56" fmla="*/ 8 w 218"/>
                <a:gd name="T57" fmla="*/ 99 h 218"/>
                <a:gd name="T58" fmla="*/ 8 w 218"/>
                <a:gd name="T59" fmla="*/ 120 h 218"/>
                <a:gd name="T60" fmla="*/ 16 w 218"/>
                <a:gd name="T61" fmla="*/ 148 h 218"/>
                <a:gd name="T62" fmla="*/ 31 w 218"/>
                <a:gd name="T63" fmla="*/ 173 h 218"/>
                <a:gd name="T64" fmla="*/ 52 w 218"/>
                <a:gd name="T65" fmla="*/ 193 h 218"/>
                <a:gd name="T66" fmla="*/ 79 w 218"/>
                <a:gd name="T67" fmla="*/ 206 h 218"/>
                <a:gd name="T68" fmla="*/ 109 w 218"/>
                <a:gd name="T69" fmla="*/ 210 h 218"/>
                <a:gd name="T70" fmla="*/ 129 w 218"/>
                <a:gd name="T71" fmla="*/ 208 h 218"/>
                <a:gd name="T72" fmla="*/ 157 w 218"/>
                <a:gd name="T73" fmla="*/ 198 h 218"/>
                <a:gd name="T74" fmla="*/ 180 w 218"/>
                <a:gd name="T75" fmla="*/ 181 h 218"/>
                <a:gd name="T76" fmla="*/ 198 w 218"/>
                <a:gd name="T77" fmla="*/ 157 h 218"/>
                <a:gd name="T78" fmla="*/ 208 w 218"/>
                <a:gd name="T79" fmla="*/ 130 h 218"/>
                <a:gd name="T80" fmla="*/ 210 w 218"/>
                <a:gd name="T81" fmla="*/ 109 h 218"/>
                <a:gd name="T82" fmla="*/ 205 w 218"/>
                <a:gd name="T83" fmla="*/ 79 h 218"/>
                <a:gd name="T84" fmla="*/ 193 w 218"/>
                <a:gd name="T85" fmla="*/ 53 h 218"/>
                <a:gd name="T86" fmla="*/ 173 w 218"/>
                <a:gd name="T87" fmla="*/ 31 h 218"/>
                <a:gd name="T88" fmla="*/ 148 w 218"/>
                <a:gd name="T89" fmla="*/ 16 h 218"/>
                <a:gd name="T90" fmla="*/ 119 w 218"/>
                <a:gd name="T91" fmla="*/ 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8" h="218">
                  <a:moveTo>
                    <a:pt x="109" y="218"/>
                  </a:moveTo>
                  <a:lnTo>
                    <a:pt x="109" y="218"/>
                  </a:lnTo>
                  <a:lnTo>
                    <a:pt x="98" y="218"/>
                  </a:lnTo>
                  <a:lnTo>
                    <a:pt x="87" y="216"/>
                  </a:lnTo>
                  <a:lnTo>
                    <a:pt x="77" y="213"/>
                  </a:lnTo>
                  <a:lnTo>
                    <a:pt x="67" y="210"/>
                  </a:lnTo>
                  <a:lnTo>
                    <a:pt x="57" y="205"/>
                  </a:lnTo>
                  <a:lnTo>
                    <a:pt x="48" y="200"/>
                  </a:lnTo>
                  <a:lnTo>
                    <a:pt x="40" y="193"/>
                  </a:lnTo>
                  <a:lnTo>
                    <a:pt x="32" y="186"/>
                  </a:lnTo>
                  <a:lnTo>
                    <a:pt x="25" y="178"/>
                  </a:lnTo>
                  <a:lnTo>
                    <a:pt x="19" y="170"/>
                  </a:lnTo>
                  <a:lnTo>
                    <a:pt x="13" y="161"/>
                  </a:lnTo>
                  <a:lnTo>
                    <a:pt x="9" y="152"/>
                  </a:lnTo>
                  <a:lnTo>
                    <a:pt x="5" y="142"/>
                  </a:lnTo>
                  <a:lnTo>
                    <a:pt x="2" y="131"/>
                  </a:lnTo>
                  <a:lnTo>
                    <a:pt x="0" y="120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98"/>
                  </a:lnTo>
                  <a:lnTo>
                    <a:pt x="2" y="87"/>
                  </a:lnTo>
                  <a:lnTo>
                    <a:pt x="5" y="77"/>
                  </a:lnTo>
                  <a:lnTo>
                    <a:pt x="9" y="67"/>
                  </a:lnTo>
                  <a:lnTo>
                    <a:pt x="13" y="57"/>
                  </a:lnTo>
                  <a:lnTo>
                    <a:pt x="19" y="48"/>
                  </a:lnTo>
                  <a:lnTo>
                    <a:pt x="25" y="40"/>
                  </a:lnTo>
                  <a:lnTo>
                    <a:pt x="32" y="32"/>
                  </a:lnTo>
                  <a:lnTo>
                    <a:pt x="40" y="25"/>
                  </a:lnTo>
                  <a:lnTo>
                    <a:pt x="48" y="19"/>
                  </a:lnTo>
                  <a:lnTo>
                    <a:pt x="57" y="13"/>
                  </a:lnTo>
                  <a:lnTo>
                    <a:pt x="67" y="9"/>
                  </a:lnTo>
                  <a:lnTo>
                    <a:pt x="77" y="5"/>
                  </a:lnTo>
                  <a:lnTo>
                    <a:pt x="87" y="2"/>
                  </a:lnTo>
                  <a:lnTo>
                    <a:pt x="98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0" y="1"/>
                  </a:lnTo>
                  <a:lnTo>
                    <a:pt x="131" y="2"/>
                  </a:lnTo>
                  <a:lnTo>
                    <a:pt x="141" y="5"/>
                  </a:lnTo>
                  <a:lnTo>
                    <a:pt x="151" y="9"/>
                  </a:lnTo>
                  <a:lnTo>
                    <a:pt x="161" y="13"/>
                  </a:lnTo>
                  <a:lnTo>
                    <a:pt x="170" y="19"/>
                  </a:lnTo>
                  <a:lnTo>
                    <a:pt x="178" y="25"/>
                  </a:lnTo>
                  <a:lnTo>
                    <a:pt x="186" y="32"/>
                  </a:lnTo>
                  <a:lnTo>
                    <a:pt x="193" y="40"/>
                  </a:lnTo>
                  <a:lnTo>
                    <a:pt x="199" y="48"/>
                  </a:lnTo>
                  <a:lnTo>
                    <a:pt x="205" y="57"/>
                  </a:lnTo>
                  <a:lnTo>
                    <a:pt x="209" y="67"/>
                  </a:lnTo>
                  <a:lnTo>
                    <a:pt x="213" y="77"/>
                  </a:lnTo>
                  <a:lnTo>
                    <a:pt x="216" y="87"/>
                  </a:lnTo>
                  <a:lnTo>
                    <a:pt x="217" y="98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17" y="120"/>
                  </a:lnTo>
                  <a:lnTo>
                    <a:pt x="216" y="131"/>
                  </a:lnTo>
                  <a:lnTo>
                    <a:pt x="213" y="142"/>
                  </a:lnTo>
                  <a:lnTo>
                    <a:pt x="209" y="152"/>
                  </a:lnTo>
                  <a:lnTo>
                    <a:pt x="205" y="161"/>
                  </a:lnTo>
                  <a:lnTo>
                    <a:pt x="199" y="170"/>
                  </a:lnTo>
                  <a:lnTo>
                    <a:pt x="193" y="178"/>
                  </a:lnTo>
                  <a:lnTo>
                    <a:pt x="186" y="186"/>
                  </a:lnTo>
                  <a:lnTo>
                    <a:pt x="178" y="193"/>
                  </a:lnTo>
                  <a:lnTo>
                    <a:pt x="170" y="200"/>
                  </a:lnTo>
                  <a:lnTo>
                    <a:pt x="161" y="205"/>
                  </a:lnTo>
                  <a:lnTo>
                    <a:pt x="151" y="210"/>
                  </a:lnTo>
                  <a:lnTo>
                    <a:pt x="141" y="213"/>
                  </a:lnTo>
                  <a:lnTo>
                    <a:pt x="131" y="216"/>
                  </a:lnTo>
                  <a:lnTo>
                    <a:pt x="120" y="218"/>
                  </a:lnTo>
                  <a:lnTo>
                    <a:pt x="109" y="218"/>
                  </a:lnTo>
                  <a:lnTo>
                    <a:pt x="109" y="218"/>
                  </a:lnTo>
                  <a:close/>
                  <a:moveTo>
                    <a:pt x="109" y="8"/>
                  </a:moveTo>
                  <a:lnTo>
                    <a:pt x="109" y="8"/>
                  </a:lnTo>
                  <a:lnTo>
                    <a:pt x="99" y="9"/>
                  </a:lnTo>
                  <a:lnTo>
                    <a:pt x="89" y="10"/>
                  </a:lnTo>
                  <a:lnTo>
                    <a:pt x="79" y="13"/>
                  </a:lnTo>
                  <a:lnTo>
                    <a:pt x="70" y="16"/>
                  </a:lnTo>
                  <a:lnTo>
                    <a:pt x="61" y="20"/>
                  </a:lnTo>
                  <a:lnTo>
                    <a:pt x="52" y="26"/>
                  </a:lnTo>
                  <a:lnTo>
                    <a:pt x="45" y="31"/>
                  </a:lnTo>
                  <a:lnTo>
                    <a:pt x="38" y="38"/>
                  </a:lnTo>
                  <a:lnTo>
                    <a:pt x="31" y="45"/>
                  </a:lnTo>
                  <a:lnTo>
                    <a:pt x="25" y="53"/>
                  </a:lnTo>
                  <a:lnTo>
                    <a:pt x="20" y="61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10" y="89"/>
                  </a:lnTo>
                  <a:lnTo>
                    <a:pt x="8" y="9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20"/>
                  </a:lnTo>
                  <a:lnTo>
                    <a:pt x="10" y="130"/>
                  </a:lnTo>
                  <a:lnTo>
                    <a:pt x="12" y="139"/>
                  </a:lnTo>
                  <a:lnTo>
                    <a:pt x="16" y="148"/>
                  </a:lnTo>
                  <a:lnTo>
                    <a:pt x="20" y="157"/>
                  </a:lnTo>
                  <a:lnTo>
                    <a:pt x="25" y="166"/>
                  </a:lnTo>
                  <a:lnTo>
                    <a:pt x="31" y="173"/>
                  </a:lnTo>
                  <a:lnTo>
                    <a:pt x="38" y="181"/>
                  </a:lnTo>
                  <a:lnTo>
                    <a:pt x="45" y="187"/>
                  </a:lnTo>
                  <a:lnTo>
                    <a:pt x="52" y="193"/>
                  </a:lnTo>
                  <a:lnTo>
                    <a:pt x="61" y="198"/>
                  </a:lnTo>
                  <a:lnTo>
                    <a:pt x="70" y="202"/>
                  </a:lnTo>
                  <a:lnTo>
                    <a:pt x="79" y="206"/>
                  </a:lnTo>
                  <a:lnTo>
                    <a:pt x="89" y="208"/>
                  </a:lnTo>
                  <a:lnTo>
                    <a:pt x="99" y="210"/>
                  </a:lnTo>
                  <a:lnTo>
                    <a:pt x="109" y="210"/>
                  </a:lnTo>
                  <a:lnTo>
                    <a:pt x="109" y="210"/>
                  </a:lnTo>
                  <a:lnTo>
                    <a:pt x="119" y="210"/>
                  </a:lnTo>
                  <a:lnTo>
                    <a:pt x="129" y="208"/>
                  </a:lnTo>
                  <a:lnTo>
                    <a:pt x="139" y="206"/>
                  </a:lnTo>
                  <a:lnTo>
                    <a:pt x="148" y="202"/>
                  </a:lnTo>
                  <a:lnTo>
                    <a:pt x="157" y="198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0" y="181"/>
                  </a:lnTo>
                  <a:lnTo>
                    <a:pt x="187" y="173"/>
                  </a:lnTo>
                  <a:lnTo>
                    <a:pt x="193" y="166"/>
                  </a:lnTo>
                  <a:lnTo>
                    <a:pt x="198" y="157"/>
                  </a:lnTo>
                  <a:lnTo>
                    <a:pt x="202" y="148"/>
                  </a:lnTo>
                  <a:lnTo>
                    <a:pt x="205" y="139"/>
                  </a:lnTo>
                  <a:lnTo>
                    <a:pt x="208" y="130"/>
                  </a:lnTo>
                  <a:lnTo>
                    <a:pt x="209" y="120"/>
                  </a:lnTo>
                  <a:lnTo>
                    <a:pt x="210" y="109"/>
                  </a:lnTo>
                  <a:lnTo>
                    <a:pt x="210" y="109"/>
                  </a:lnTo>
                  <a:lnTo>
                    <a:pt x="209" y="99"/>
                  </a:lnTo>
                  <a:lnTo>
                    <a:pt x="208" y="89"/>
                  </a:lnTo>
                  <a:lnTo>
                    <a:pt x="205" y="79"/>
                  </a:lnTo>
                  <a:lnTo>
                    <a:pt x="202" y="70"/>
                  </a:lnTo>
                  <a:lnTo>
                    <a:pt x="198" y="61"/>
                  </a:lnTo>
                  <a:lnTo>
                    <a:pt x="193" y="53"/>
                  </a:lnTo>
                  <a:lnTo>
                    <a:pt x="187" y="45"/>
                  </a:lnTo>
                  <a:lnTo>
                    <a:pt x="180" y="38"/>
                  </a:lnTo>
                  <a:lnTo>
                    <a:pt x="173" y="31"/>
                  </a:lnTo>
                  <a:lnTo>
                    <a:pt x="165" y="26"/>
                  </a:lnTo>
                  <a:lnTo>
                    <a:pt x="157" y="20"/>
                  </a:lnTo>
                  <a:lnTo>
                    <a:pt x="148" y="16"/>
                  </a:lnTo>
                  <a:lnTo>
                    <a:pt x="139" y="13"/>
                  </a:lnTo>
                  <a:lnTo>
                    <a:pt x="129" y="10"/>
                  </a:lnTo>
                  <a:lnTo>
                    <a:pt x="119" y="9"/>
                  </a:lnTo>
                  <a:lnTo>
                    <a:pt x="109" y="8"/>
                  </a:lnTo>
                  <a:lnTo>
                    <a:pt x="10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3" name="Rectangle 84">
              <a:extLst>
                <a:ext uri="{FF2B5EF4-FFF2-40B4-BE49-F238E27FC236}">
                  <a16:creationId xmlns:a16="http://schemas.microsoft.com/office/drawing/2014/main" id="{619EF9A3-AE91-434A-B3BB-00FE04075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0" y="3062"/>
              <a:ext cx="440" cy="51"/>
            </a:xfrm>
            <a:prstGeom prst="rect">
              <a:avLst/>
            </a:pr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4" name="Freeform 85">
              <a:extLst>
                <a:ext uri="{FF2B5EF4-FFF2-40B4-BE49-F238E27FC236}">
                  <a16:creationId xmlns:a16="http://schemas.microsoft.com/office/drawing/2014/main" id="{3097D6F3-1024-473A-A04C-D76386C5AF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6" y="3058"/>
              <a:ext cx="448" cy="59"/>
            </a:xfrm>
            <a:custGeom>
              <a:avLst/>
              <a:gdLst>
                <a:gd name="T0" fmla="*/ 448 w 448"/>
                <a:gd name="T1" fmla="*/ 59 h 59"/>
                <a:gd name="T2" fmla="*/ 0 w 448"/>
                <a:gd name="T3" fmla="*/ 59 h 59"/>
                <a:gd name="T4" fmla="*/ 0 w 448"/>
                <a:gd name="T5" fmla="*/ 0 h 59"/>
                <a:gd name="T6" fmla="*/ 448 w 448"/>
                <a:gd name="T7" fmla="*/ 0 h 59"/>
                <a:gd name="T8" fmla="*/ 448 w 448"/>
                <a:gd name="T9" fmla="*/ 59 h 59"/>
                <a:gd name="T10" fmla="*/ 8 w 448"/>
                <a:gd name="T11" fmla="*/ 51 h 59"/>
                <a:gd name="T12" fmla="*/ 440 w 448"/>
                <a:gd name="T13" fmla="*/ 51 h 59"/>
                <a:gd name="T14" fmla="*/ 440 w 448"/>
                <a:gd name="T15" fmla="*/ 8 h 59"/>
                <a:gd name="T16" fmla="*/ 8 w 448"/>
                <a:gd name="T17" fmla="*/ 8 h 59"/>
                <a:gd name="T18" fmla="*/ 8 w 448"/>
                <a:gd name="T19" fmla="*/ 5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8" h="59">
                  <a:moveTo>
                    <a:pt x="448" y="59"/>
                  </a:moveTo>
                  <a:lnTo>
                    <a:pt x="0" y="59"/>
                  </a:lnTo>
                  <a:lnTo>
                    <a:pt x="0" y="0"/>
                  </a:lnTo>
                  <a:lnTo>
                    <a:pt x="448" y="0"/>
                  </a:lnTo>
                  <a:lnTo>
                    <a:pt x="448" y="59"/>
                  </a:lnTo>
                  <a:close/>
                  <a:moveTo>
                    <a:pt x="8" y="51"/>
                  </a:moveTo>
                  <a:lnTo>
                    <a:pt x="440" y="51"/>
                  </a:lnTo>
                  <a:lnTo>
                    <a:pt x="440" y="8"/>
                  </a:lnTo>
                  <a:lnTo>
                    <a:pt x="8" y="8"/>
                  </a:lnTo>
                  <a:lnTo>
                    <a:pt x="8" y="5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5" name="Rectangle 86">
              <a:extLst>
                <a:ext uri="{FF2B5EF4-FFF2-40B4-BE49-F238E27FC236}">
                  <a16:creationId xmlns:a16="http://schemas.microsoft.com/office/drawing/2014/main" id="{3989313F-8043-4948-83AA-8D38FC3DE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5" y="2404"/>
              <a:ext cx="951" cy="60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6" name="Freeform 87">
              <a:extLst>
                <a:ext uri="{FF2B5EF4-FFF2-40B4-BE49-F238E27FC236}">
                  <a16:creationId xmlns:a16="http://schemas.microsoft.com/office/drawing/2014/main" id="{57C39F73-67DC-4256-8BBD-556CF6CBA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1" y="2400"/>
              <a:ext cx="959" cy="614"/>
            </a:xfrm>
            <a:custGeom>
              <a:avLst/>
              <a:gdLst>
                <a:gd name="T0" fmla="*/ 959 w 959"/>
                <a:gd name="T1" fmla="*/ 614 h 614"/>
                <a:gd name="T2" fmla="*/ 0 w 959"/>
                <a:gd name="T3" fmla="*/ 614 h 614"/>
                <a:gd name="T4" fmla="*/ 0 w 959"/>
                <a:gd name="T5" fmla="*/ 0 h 614"/>
                <a:gd name="T6" fmla="*/ 959 w 959"/>
                <a:gd name="T7" fmla="*/ 0 h 614"/>
                <a:gd name="T8" fmla="*/ 959 w 959"/>
                <a:gd name="T9" fmla="*/ 614 h 614"/>
                <a:gd name="T10" fmla="*/ 8 w 959"/>
                <a:gd name="T11" fmla="*/ 606 h 614"/>
                <a:gd name="T12" fmla="*/ 951 w 959"/>
                <a:gd name="T13" fmla="*/ 606 h 614"/>
                <a:gd name="T14" fmla="*/ 951 w 959"/>
                <a:gd name="T15" fmla="*/ 8 h 614"/>
                <a:gd name="T16" fmla="*/ 8 w 959"/>
                <a:gd name="T17" fmla="*/ 8 h 614"/>
                <a:gd name="T18" fmla="*/ 8 w 959"/>
                <a:gd name="T19" fmla="*/ 606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9" h="614">
                  <a:moveTo>
                    <a:pt x="959" y="614"/>
                  </a:moveTo>
                  <a:lnTo>
                    <a:pt x="0" y="614"/>
                  </a:lnTo>
                  <a:lnTo>
                    <a:pt x="0" y="0"/>
                  </a:lnTo>
                  <a:lnTo>
                    <a:pt x="959" y="0"/>
                  </a:lnTo>
                  <a:lnTo>
                    <a:pt x="959" y="614"/>
                  </a:lnTo>
                  <a:close/>
                  <a:moveTo>
                    <a:pt x="8" y="606"/>
                  </a:moveTo>
                  <a:lnTo>
                    <a:pt x="951" y="606"/>
                  </a:lnTo>
                  <a:lnTo>
                    <a:pt x="951" y="8"/>
                  </a:lnTo>
                  <a:lnTo>
                    <a:pt x="8" y="8"/>
                  </a:lnTo>
                  <a:lnTo>
                    <a:pt x="8" y="60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7" name="Rectangle 88">
              <a:extLst>
                <a:ext uri="{FF2B5EF4-FFF2-40B4-BE49-F238E27FC236}">
                  <a16:creationId xmlns:a16="http://schemas.microsoft.com/office/drawing/2014/main" id="{0C5C27C3-9B4E-4E1F-A64D-5896F8AF3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" y="3379"/>
              <a:ext cx="259" cy="6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8" name="Freeform 89">
              <a:extLst>
                <a:ext uri="{FF2B5EF4-FFF2-40B4-BE49-F238E27FC236}">
                  <a16:creationId xmlns:a16="http://schemas.microsoft.com/office/drawing/2014/main" id="{302A887A-2EE7-4751-9884-4FB4D5DD9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8" y="3375"/>
              <a:ext cx="267" cy="629"/>
            </a:xfrm>
            <a:custGeom>
              <a:avLst/>
              <a:gdLst>
                <a:gd name="T0" fmla="*/ 267 w 267"/>
                <a:gd name="T1" fmla="*/ 629 h 629"/>
                <a:gd name="T2" fmla="*/ 0 w 267"/>
                <a:gd name="T3" fmla="*/ 629 h 629"/>
                <a:gd name="T4" fmla="*/ 0 w 267"/>
                <a:gd name="T5" fmla="*/ 0 h 629"/>
                <a:gd name="T6" fmla="*/ 267 w 267"/>
                <a:gd name="T7" fmla="*/ 0 h 629"/>
                <a:gd name="T8" fmla="*/ 267 w 267"/>
                <a:gd name="T9" fmla="*/ 629 h 629"/>
                <a:gd name="T10" fmla="*/ 8 w 267"/>
                <a:gd name="T11" fmla="*/ 621 h 629"/>
                <a:gd name="T12" fmla="*/ 259 w 267"/>
                <a:gd name="T13" fmla="*/ 621 h 629"/>
                <a:gd name="T14" fmla="*/ 259 w 267"/>
                <a:gd name="T15" fmla="*/ 8 h 629"/>
                <a:gd name="T16" fmla="*/ 8 w 267"/>
                <a:gd name="T17" fmla="*/ 8 h 629"/>
                <a:gd name="T18" fmla="*/ 8 w 267"/>
                <a:gd name="T19" fmla="*/ 62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" h="629">
                  <a:moveTo>
                    <a:pt x="267" y="629"/>
                  </a:moveTo>
                  <a:lnTo>
                    <a:pt x="0" y="629"/>
                  </a:lnTo>
                  <a:lnTo>
                    <a:pt x="0" y="0"/>
                  </a:lnTo>
                  <a:lnTo>
                    <a:pt x="267" y="0"/>
                  </a:lnTo>
                  <a:lnTo>
                    <a:pt x="267" y="629"/>
                  </a:lnTo>
                  <a:close/>
                  <a:moveTo>
                    <a:pt x="8" y="621"/>
                  </a:moveTo>
                  <a:lnTo>
                    <a:pt x="259" y="621"/>
                  </a:lnTo>
                  <a:lnTo>
                    <a:pt x="259" y="8"/>
                  </a:lnTo>
                  <a:lnTo>
                    <a:pt x="8" y="8"/>
                  </a:lnTo>
                  <a:lnTo>
                    <a:pt x="8" y="6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09" name="Freeform 90">
              <a:extLst>
                <a:ext uri="{FF2B5EF4-FFF2-40B4-BE49-F238E27FC236}">
                  <a16:creationId xmlns:a16="http://schemas.microsoft.com/office/drawing/2014/main" id="{524564EB-6A50-4795-B3AC-880DE950D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6" y="3063"/>
              <a:ext cx="259" cy="441"/>
            </a:xfrm>
            <a:custGeom>
              <a:avLst/>
              <a:gdLst>
                <a:gd name="T0" fmla="*/ 199 w 259"/>
                <a:gd name="T1" fmla="*/ 441 h 441"/>
                <a:gd name="T2" fmla="*/ 59 w 259"/>
                <a:gd name="T3" fmla="*/ 441 h 441"/>
                <a:gd name="T4" fmla="*/ 59 w 259"/>
                <a:gd name="T5" fmla="*/ 441 h 441"/>
                <a:gd name="T6" fmla="*/ 53 w 259"/>
                <a:gd name="T7" fmla="*/ 441 h 441"/>
                <a:gd name="T8" fmla="*/ 47 w 259"/>
                <a:gd name="T9" fmla="*/ 440 h 441"/>
                <a:gd name="T10" fmla="*/ 36 w 259"/>
                <a:gd name="T11" fmla="*/ 436 h 441"/>
                <a:gd name="T12" fmla="*/ 26 w 259"/>
                <a:gd name="T13" fmla="*/ 431 h 441"/>
                <a:gd name="T14" fmla="*/ 17 w 259"/>
                <a:gd name="T15" fmla="*/ 424 h 441"/>
                <a:gd name="T16" fmla="*/ 10 w 259"/>
                <a:gd name="T17" fmla="*/ 415 h 441"/>
                <a:gd name="T18" fmla="*/ 4 w 259"/>
                <a:gd name="T19" fmla="*/ 405 h 441"/>
                <a:gd name="T20" fmla="*/ 1 w 259"/>
                <a:gd name="T21" fmla="*/ 393 h 441"/>
                <a:gd name="T22" fmla="*/ 0 w 259"/>
                <a:gd name="T23" fmla="*/ 388 h 441"/>
                <a:gd name="T24" fmla="*/ 0 w 259"/>
                <a:gd name="T25" fmla="*/ 381 h 441"/>
                <a:gd name="T26" fmla="*/ 0 w 259"/>
                <a:gd name="T27" fmla="*/ 59 h 441"/>
                <a:gd name="T28" fmla="*/ 0 w 259"/>
                <a:gd name="T29" fmla="*/ 59 h 441"/>
                <a:gd name="T30" fmla="*/ 0 w 259"/>
                <a:gd name="T31" fmla="*/ 53 h 441"/>
                <a:gd name="T32" fmla="*/ 1 w 259"/>
                <a:gd name="T33" fmla="*/ 47 h 441"/>
                <a:gd name="T34" fmla="*/ 4 w 259"/>
                <a:gd name="T35" fmla="*/ 36 h 441"/>
                <a:gd name="T36" fmla="*/ 10 w 259"/>
                <a:gd name="T37" fmla="*/ 26 h 441"/>
                <a:gd name="T38" fmla="*/ 17 w 259"/>
                <a:gd name="T39" fmla="*/ 17 h 441"/>
                <a:gd name="T40" fmla="*/ 26 w 259"/>
                <a:gd name="T41" fmla="*/ 10 h 441"/>
                <a:gd name="T42" fmla="*/ 36 w 259"/>
                <a:gd name="T43" fmla="*/ 4 h 441"/>
                <a:gd name="T44" fmla="*/ 47 w 259"/>
                <a:gd name="T45" fmla="*/ 1 h 441"/>
                <a:gd name="T46" fmla="*/ 53 w 259"/>
                <a:gd name="T47" fmla="*/ 0 h 441"/>
                <a:gd name="T48" fmla="*/ 59 w 259"/>
                <a:gd name="T49" fmla="*/ 0 h 441"/>
                <a:gd name="T50" fmla="*/ 199 w 259"/>
                <a:gd name="T51" fmla="*/ 0 h 441"/>
                <a:gd name="T52" fmla="*/ 199 w 259"/>
                <a:gd name="T53" fmla="*/ 0 h 441"/>
                <a:gd name="T54" fmla="*/ 205 w 259"/>
                <a:gd name="T55" fmla="*/ 0 h 441"/>
                <a:gd name="T56" fmla="*/ 211 w 259"/>
                <a:gd name="T57" fmla="*/ 1 h 441"/>
                <a:gd name="T58" fmla="*/ 223 w 259"/>
                <a:gd name="T59" fmla="*/ 4 h 441"/>
                <a:gd name="T60" fmla="*/ 233 w 259"/>
                <a:gd name="T61" fmla="*/ 10 h 441"/>
                <a:gd name="T62" fmla="*/ 242 w 259"/>
                <a:gd name="T63" fmla="*/ 17 h 441"/>
                <a:gd name="T64" fmla="*/ 249 w 259"/>
                <a:gd name="T65" fmla="*/ 26 h 441"/>
                <a:gd name="T66" fmla="*/ 254 w 259"/>
                <a:gd name="T67" fmla="*/ 36 h 441"/>
                <a:gd name="T68" fmla="*/ 258 w 259"/>
                <a:gd name="T69" fmla="*/ 47 h 441"/>
                <a:gd name="T70" fmla="*/ 259 w 259"/>
                <a:gd name="T71" fmla="*/ 53 h 441"/>
                <a:gd name="T72" fmla="*/ 259 w 259"/>
                <a:gd name="T73" fmla="*/ 59 h 441"/>
                <a:gd name="T74" fmla="*/ 259 w 259"/>
                <a:gd name="T75" fmla="*/ 381 h 441"/>
                <a:gd name="T76" fmla="*/ 259 w 259"/>
                <a:gd name="T77" fmla="*/ 381 h 441"/>
                <a:gd name="T78" fmla="*/ 259 w 259"/>
                <a:gd name="T79" fmla="*/ 388 h 441"/>
                <a:gd name="T80" fmla="*/ 258 w 259"/>
                <a:gd name="T81" fmla="*/ 393 h 441"/>
                <a:gd name="T82" fmla="*/ 254 w 259"/>
                <a:gd name="T83" fmla="*/ 405 h 441"/>
                <a:gd name="T84" fmla="*/ 249 w 259"/>
                <a:gd name="T85" fmla="*/ 415 h 441"/>
                <a:gd name="T86" fmla="*/ 242 w 259"/>
                <a:gd name="T87" fmla="*/ 424 h 441"/>
                <a:gd name="T88" fmla="*/ 233 w 259"/>
                <a:gd name="T89" fmla="*/ 431 h 441"/>
                <a:gd name="T90" fmla="*/ 223 w 259"/>
                <a:gd name="T91" fmla="*/ 436 h 441"/>
                <a:gd name="T92" fmla="*/ 211 w 259"/>
                <a:gd name="T93" fmla="*/ 440 h 441"/>
                <a:gd name="T94" fmla="*/ 205 w 259"/>
                <a:gd name="T95" fmla="*/ 441 h 441"/>
                <a:gd name="T96" fmla="*/ 199 w 259"/>
                <a:gd name="T97" fmla="*/ 441 h 441"/>
                <a:gd name="T98" fmla="*/ 199 w 259"/>
                <a:gd name="T99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9" h="441">
                  <a:moveTo>
                    <a:pt x="199" y="441"/>
                  </a:moveTo>
                  <a:lnTo>
                    <a:pt x="59" y="441"/>
                  </a:lnTo>
                  <a:lnTo>
                    <a:pt x="59" y="441"/>
                  </a:lnTo>
                  <a:lnTo>
                    <a:pt x="53" y="441"/>
                  </a:lnTo>
                  <a:lnTo>
                    <a:pt x="47" y="440"/>
                  </a:lnTo>
                  <a:lnTo>
                    <a:pt x="36" y="436"/>
                  </a:lnTo>
                  <a:lnTo>
                    <a:pt x="26" y="431"/>
                  </a:lnTo>
                  <a:lnTo>
                    <a:pt x="17" y="424"/>
                  </a:lnTo>
                  <a:lnTo>
                    <a:pt x="10" y="415"/>
                  </a:lnTo>
                  <a:lnTo>
                    <a:pt x="4" y="405"/>
                  </a:lnTo>
                  <a:lnTo>
                    <a:pt x="1" y="393"/>
                  </a:lnTo>
                  <a:lnTo>
                    <a:pt x="0" y="388"/>
                  </a:lnTo>
                  <a:lnTo>
                    <a:pt x="0" y="38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3"/>
                  </a:ln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6" y="10"/>
                  </a:lnTo>
                  <a:lnTo>
                    <a:pt x="36" y="4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9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05" y="0"/>
                  </a:lnTo>
                  <a:lnTo>
                    <a:pt x="211" y="1"/>
                  </a:lnTo>
                  <a:lnTo>
                    <a:pt x="223" y="4"/>
                  </a:lnTo>
                  <a:lnTo>
                    <a:pt x="233" y="10"/>
                  </a:lnTo>
                  <a:lnTo>
                    <a:pt x="242" y="17"/>
                  </a:lnTo>
                  <a:lnTo>
                    <a:pt x="249" y="26"/>
                  </a:lnTo>
                  <a:lnTo>
                    <a:pt x="254" y="36"/>
                  </a:lnTo>
                  <a:lnTo>
                    <a:pt x="258" y="47"/>
                  </a:lnTo>
                  <a:lnTo>
                    <a:pt x="259" y="53"/>
                  </a:lnTo>
                  <a:lnTo>
                    <a:pt x="259" y="59"/>
                  </a:lnTo>
                  <a:lnTo>
                    <a:pt x="259" y="381"/>
                  </a:lnTo>
                  <a:lnTo>
                    <a:pt x="259" y="381"/>
                  </a:lnTo>
                  <a:lnTo>
                    <a:pt x="259" y="388"/>
                  </a:lnTo>
                  <a:lnTo>
                    <a:pt x="258" y="393"/>
                  </a:lnTo>
                  <a:lnTo>
                    <a:pt x="254" y="405"/>
                  </a:lnTo>
                  <a:lnTo>
                    <a:pt x="249" y="415"/>
                  </a:lnTo>
                  <a:lnTo>
                    <a:pt x="242" y="424"/>
                  </a:lnTo>
                  <a:lnTo>
                    <a:pt x="233" y="431"/>
                  </a:lnTo>
                  <a:lnTo>
                    <a:pt x="223" y="436"/>
                  </a:lnTo>
                  <a:lnTo>
                    <a:pt x="211" y="440"/>
                  </a:lnTo>
                  <a:lnTo>
                    <a:pt x="205" y="441"/>
                  </a:lnTo>
                  <a:lnTo>
                    <a:pt x="199" y="441"/>
                  </a:lnTo>
                  <a:lnTo>
                    <a:pt x="199" y="4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0" name="Freeform 91">
              <a:extLst>
                <a:ext uri="{FF2B5EF4-FFF2-40B4-BE49-F238E27FC236}">
                  <a16:creationId xmlns:a16="http://schemas.microsoft.com/office/drawing/2014/main" id="{BD0144B8-B3E0-4483-B49D-683109A52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" y="3059"/>
              <a:ext cx="267" cy="449"/>
            </a:xfrm>
            <a:custGeom>
              <a:avLst/>
              <a:gdLst>
                <a:gd name="T0" fmla="*/ 63 w 267"/>
                <a:gd name="T1" fmla="*/ 449 h 449"/>
                <a:gd name="T2" fmla="*/ 57 w 267"/>
                <a:gd name="T3" fmla="*/ 449 h 449"/>
                <a:gd name="T4" fmla="*/ 45 w 267"/>
                <a:gd name="T5" fmla="*/ 446 h 449"/>
                <a:gd name="T6" fmla="*/ 33 w 267"/>
                <a:gd name="T7" fmla="*/ 441 h 449"/>
                <a:gd name="T8" fmla="*/ 18 w 267"/>
                <a:gd name="T9" fmla="*/ 430 h 449"/>
                <a:gd name="T10" fmla="*/ 8 w 267"/>
                <a:gd name="T11" fmla="*/ 416 h 449"/>
                <a:gd name="T12" fmla="*/ 3 w 267"/>
                <a:gd name="T13" fmla="*/ 404 h 449"/>
                <a:gd name="T14" fmla="*/ 0 w 267"/>
                <a:gd name="T15" fmla="*/ 392 h 449"/>
                <a:gd name="T16" fmla="*/ 0 w 267"/>
                <a:gd name="T17" fmla="*/ 63 h 449"/>
                <a:gd name="T18" fmla="*/ 0 w 267"/>
                <a:gd name="T19" fmla="*/ 57 h 449"/>
                <a:gd name="T20" fmla="*/ 3 w 267"/>
                <a:gd name="T21" fmla="*/ 44 h 449"/>
                <a:gd name="T22" fmla="*/ 8 w 267"/>
                <a:gd name="T23" fmla="*/ 33 h 449"/>
                <a:gd name="T24" fmla="*/ 18 w 267"/>
                <a:gd name="T25" fmla="*/ 18 h 449"/>
                <a:gd name="T26" fmla="*/ 33 w 267"/>
                <a:gd name="T27" fmla="*/ 7 h 449"/>
                <a:gd name="T28" fmla="*/ 45 w 267"/>
                <a:gd name="T29" fmla="*/ 3 h 449"/>
                <a:gd name="T30" fmla="*/ 57 w 267"/>
                <a:gd name="T31" fmla="*/ 0 h 449"/>
                <a:gd name="T32" fmla="*/ 203 w 267"/>
                <a:gd name="T33" fmla="*/ 0 h 449"/>
                <a:gd name="T34" fmla="*/ 210 w 267"/>
                <a:gd name="T35" fmla="*/ 0 h 449"/>
                <a:gd name="T36" fmla="*/ 222 w 267"/>
                <a:gd name="T37" fmla="*/ 3 h 449"/>
                <a:gd name="T38" fmla="*/ 234 w 267"/>
                <a:gd name="T39" fmla="*/ 7 h 449"/>
                <a:gd name="T40" fmla="*/ 248 w 267"/>
                <a:gd name="T41" fmla="*/ 18 h 449"/>
                <a:gd name="T42" fmla="*/ 259 w 267"/>
                <a:gd name="T43" fmla="*/ 33 h 449"/>
                <a:gd name="T44" fmla="*/ 264 w 267"/>
                <a:gd name="T45" fmla="*/ 44 h 449"/>
                <a:gd name="T46" fmla="*/ 267 w 267"/>
                <a:gd name="T47" fmla="*/ 57 h 449"/>
                <a:gd name="T48" fmla="*/ 267 w 267"/>
                <a:gd name="T49" fmla="*/ 385 h 449"/>
                <a:gd name="T50" fmla="*/ 267 w 267"/>
                <a:gd name="T51" fmla="*/ 392 h 449"/>
                <a:gd name="T52" fmla="*/ 264 w 267"/>
                <a:gd name="T53" fmla="*/ 404 h 449"/>
                <a:gd name="T54" fmla="*/ 259 w 267"/>
                <a:gd name="T55" fmla="*/ 416 h 449"/>
                <a:gd name="T56" fmla="*/ 248 w 267"/>
                <a:gd name="T57" fmla="*/ 430 h 449"/>
                <a:gd name="T58" fmla="*/ 234 w 267"/>
                <a:gd name="T59" fmla="*/ 441 h 449"/>
                <a:gd name="T60" fmla="*/ 222 w 267"/>
                <a:gd name="T61" fmla="*/ 446 h 449"/>
                <a:gd name="T62" fmla="*/ 210 w 267"/>
                <a:gd name="T63" fmla="*/ 449 h 449"/>
                <a:gd name="T64" fmla="*/ 203 w 267"/>
                <a:gd name="T65" fmla="*/ 449 h 449"/>
                <a:gd name="T66" fmla="*/ 63 w 267"/>
                <a:gd name="T67" fmla="*/ 8 h 449"/>
                <a:gd name="T68" fmla="*/ 42 w 267"/>
                <a:gd name="T69" fmla="*/ 12 h 449"/>
                <a:gd name="T70" fmla="*/ 24 w 267"/>
                <a:gd name="T71" fmla="*/ 24 h 449"/>
                <a:gd name="T72" fmla="*/ 12 w 267"/>
                <a:gd name="T73" fmla="*/ 42 h 449"/>
                <a:gd name="T74" fmla="*/ 8 w 267"/>
                <a:gd name="T75" fmla="*/ 63 h 449"/>
                <a:gd name="T76" fmla="*/ 8 w 267"/>
                <a:gd name="T77" fmla="*/ 385 h 449"/>
                <a:gd name="T78" fmla="*/ 12 w 267"/>
                <a:gd name="T79" fmla="*/ 407 h 449"/>
                <a:gd name="T80" fmla="*/ 24 w 267"/>
                <a:gd name="T81" fmla="*/ 425 h 449"/>
                <a:gd name="T82" fmla="*/ 42 w 267"/>
                <a:gd name="T83" fmla="*/ 437 h 449"/>
                <a:gd name="T84" fmla="*/ 63 w 267"/>
                <a:gd name="T85" fmla="*/ 441 h 449"/>
                <a:gd name="T86" fmla="*/ 203 w 267"/>
                <a:gd name="T87" fmla="*/ 441 h 449"/>
                <a:gd name="T88" fmla="*/ 225 w 267"/>
                <a:gd name="T89" fmla="*/ 437 h 449"/>
                <a:gd name="T90" fmla="*/ 243 w 267"/>
                <a:gd name="T91" fmla="*/ 425 h 449"/>
                <a:gd name="T92" fmla="*/ 255 w 267"/>
                <a:gd name="T93" fmla="*/ 407 h 449"/>
                <a:gd name="T94" fmla="*/ 259 w 267"/>
                <a:gd name="T95" fmla="*/ 385 h 449"/>
                <a:gd name="T96" fmla="*/ 259 w 267"/>
                <a:gd name="T97" fmla="*/ 63 h 449"/>
                <a:gd name="T98" fmla="*/ 255 w 267"/>
                <a:gd name="T99" fmla="*/ 42 h 449"/>
                <a:gd name="T100" fmla="*/ 243 w 267"/>
                <a:gd name="T101" fmla="*/ 24 h 449"/>
                <a:gd name="T102" fmla="*/ 225 w 267"/>
                <a:gd name="T103" fmla="*/ 12 h 449"/>
                <a:gd name="T104" fmla="*/ 203 w 267"/>
                <a:gd name="T105" fmla="*/ 8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7" h="449">
                  <a:moveTo>
                    <a:pt x="203" y="449"/>
                  </a:moveTo>
                  <a:lnTo>
                    <a:pt x="63" y="449"/>
                  </a:lnTo>
                  <a:lnTo>
                    <a:pt x="63" y="449"/>
                  </a:lnTo>
                  <a:lnTo>
                    <a:pt x="57" y="449"/>
                  </a:lnTo>
                  <a:lnTo>
                    <a:pt x="51" y="448"/>
                  </a:lnTo>
                  <a:lnTo>
                    <a:pt x="45" y="446"/>
                  </a:lnTo>
                  <a:lnTo>
                    <a:pt x="39" y="444"/>
                  </a:lnTo>
                  <a:lnTo>
                    <a:pt x="33" y="441"/>
                  </a:lnTo>
                  <a:lnTo>
                    <a:pt x="28" y="438"/>
                  </a:lnTo>
                  <a:lnTo>
                    <a:pt x="18" y="430"/>
                  </a:lnTo>
                  <a:lnTo>
                    <a:pt x="11" y="421"/>
                  </a:lnTo>
                  <a:lnTo>
                    <a:pt x="8" y="416"/>
                  </a:lnTo>
                  <a:lnTo>
                    <a:pt x="5" y="410"/>
                  </a:lnTo>
                  <a:lnTo>
                    <a:pt x="3" y="404"/>
                  </a:lnTo>
                  <a:lnTo>
                    <a:pt x="1" y="398"/>
                  </a:lnTo>
                  <a:lnTo>
                    <a:pt x="0" y="392"/>
                  </a:lnTo>
                  <a:lnTo>
                    <a:pt x="0" y="38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1" y="51"/>
                  </a:lnTo>
                  <a:lnTo>
                    <a:pt x="3" y="44"/>
                  </a:lnTo>
                  <a:lnTo>
                    <a:pt x="5" y="39"/>
                  </a:lnTo>
                  <a:lnTo>
                    <a:pt x="8" y="33"/>
                  </a:lnTo>
                  <a:lnTo>
                    <a:pt x="11" y="28"/>
                  </a:lnTo>
                  <a:lnTo>
                    <a:pt x="18" y="18"/>
                  </a:lnTo>
                  <a:lnTo>
                    <a:pt x="28" y="11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3"/>
                  </a:lnTo>
                  <a:lnTo>
                    <a:pt x="51" y="1"/>
                  </a:lnTo>
                  <a:lnTo>
                    <a:pt x="57" y="0"/>
                  </a:lnTo>
                  <a:lnTo>
                    <a:pt x="63" y="0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10" y="0"/>
                  </a:lnTo>
                  <a:lnTo>
                    <a:pt x="216" y="1"/>
                  </a:lnTo>
                  <a:lnTo>
                    <a:pt x="222" y="3"/>
                  </a:lnTo>
                  <a:lnTo>
                    <a:pt x="228" y="5"/>
                  </a:lnTo>
                  <a:lnTo>
                    <a:pt x="234" y="7"/>
                  </a:lnTo>
                  <a:lnTo>
                    <a:pt x="239" y="11"/>
                  </a:lnTo>
                  <a:lnTo>
                    <a:pt x="248" y="18"/>
                  </a:lnTo>
                  <a:lnTo>
                    <a:pt x="256" y="28"/>
                  </a:lnTo>
                  <a:lnTo>
                    <a:pt x="259" y="33"/>
                  </a:lnTo>
                  <a:lnTo>
                    <a:pt x="262" y="39"/>
                  </a:lnTo>
                  <a:lnTo>
                    <a:pt x="264" y="44"/>
                  </a:lnTo>
                  <a:lnTo>
                    <a:pt x="266" y="51"/>
                  </a:lnTo>
                  <a:lnTo>
                    <a:pt x="267" y="57"/>
                  </a:lnTo>
                  <a:lnTo>
                    <a:pt x="267" y="63"/>
                  </a:lnTo>
                  <a:lnTo>
                    <a:pt x="267" y="385"/>
                  </a:lnTo>
                  <a:lnTo>
                    <a:pt x="267" y="385"/>
                  </a:lnTo>
                  <a:lnTo>
                    <a:pt x="267" y="392"/>
                  </a:lnTo>
                  <a:lnTo>
                    <a:pt x="266" y="398"/>
                  </a:lnTo>
                  <a:lnTo>
                    <a:pt x="264" y="404"/>
                  </a:lnTo>
                  <a:lnTo>
                    <a:pt x="262" y="410"/>
                  </a:lnTo>
                  <a:lnTo>
                    <a:pt x="259" y="416"/>
                  </a:lnTo>
                  <a:lnTo>
                    <a:pt x="256" y="421"/>
                  </a:lnTo>
                  <a:lnTo>
                    <a:pt x="248" y="430"/>
                  </a:lnTo>
                  <a:lnTo>
                    <a:pt x="239" y="438"/>
                  </a:lnTo>
                  <a:lnTo>
                    <a:pt x="234" y="441"/>
                  </a:lnTo>
                  <a:lnTo>
                    <a:pt x="228" y="444"/>
                  </a:lnTo>
                  <a:lnTo>
                    <a:pt x="222" y="446"/>
                  </a:lnTo>
                  <a:lnTo>
                    <a:pt x="216" y="448"/>
                  </a:lnTo>
                  <a:lnTo>
                    <a:pt x="210" y="449"/>
                  </a:lnTo>
                  <a:lnTo>
                    <a:pt x="203" y="449"/>
                  </a:lnTo>
                  <a:lnTo>
                    <a:pt x="203" y="449"/>
                  </a:lnTo>
                  <a:close/>
                  <a:moveTo>
                    <a:pt x="63" y="8"/>
                  </a:moveTo>
                  <a:lnTo>
                    <a:pt x="63" y="8"/>
                  </a:lnTo>
                  <a:lnTo>
                    <a:pt x="52" y="9"/>
                  </a:lnTo>
                  <a:lnTo>
                    <a:pt x="42" y="12"/>
                  </a:lnTo>
                  <a:lnTo>
                    <a:pt x="32" y="17"/>
                  </a:lnTo>
                  <a:lnTo>
                    <a:pt x="24" y="24"/>
                  </a:lnTo>
                  <a:lnTo>
                    <a:pt x="17" y="32"/>
                  </a:lnTo>
                  <a:lnTo>
                    <a:pt x="12" y="42"/>
                  </a:lnTo>
                  <a:lnTo>
                    <a:pt x="9" y="52"/>
                  </a:lnTo>
                  <a:lnTo>
                    <a:pt x="8" y="63"/>
                  </a:lnTo>
                  <a:lnTo>
                    <a:pt x="8" y="385"/>
                  </a:lnTo>
                  <a:lnTo>
                    <a:pt x="8" y="385"/>
                  </a:lnTo>
                  <a:lnTo>
                    <a:pt x="9" y="397"/>
                  </a:lnTo>
                  <a:lnTo>
                    <a:pt x="12" y="407"/>
                  </a:lnTo>
                  <a:lnTo>
                    <a:pt x="17" y="416"/>
                  </a:lnTo>
                  <a:lnTo>
                    <a:pt x="24" y="425"/>
                  </a:lnTo>
                  <a:lnTo>
                    <a:pt x="32" y="431"/>
                  </a:lnTo>
                  <a:lnTo>
                    <a:pt x="42" y="437"/>
                  </a:lnTo>
                  <a:lnTo>
                    <a:pt x="52" y="440"/>
                  </a:lnTo>
                  <a:lnTo>
                    <a:pt x="63" y="441"/>
                  </a:lnTo>
                  <a:lnTo>
                    <a:pt x="203" y="441"/>
                  </a:lnTo>
                  <a:lnTo>
                    <a:pt x="203" y="441"/>
                  </a:lnTo>
                  <a:lnTo>
                    <a:pt x="215" y="440"/>
                  </a:lnTo>
                  <a:lnTo>
                    <a:pt x="225" y="437"/>
                  </a:lnTo>
                  <a:lnTo>
                    <a:pt x="234" y="431"/>
                  </a:lnTo>
                  <a:lnTo>
                    <a:pt x="243" y="425"/>
                  </a:lnTo>
                  <a:lnTo>
                    <a:pt x="249" y="416"/>
                  </a:lnTo>
                  <a:lnTo>
                    <a:pt x="255" y="407"/>
                  </a:lnTo>
                  <a:lnTo>
                    <a:pt x="258" y="397"/>
                  </a:lnTo>
                  <a:lnTo>
                    <a:pt x="259" y="385"/>
                  </a:lnTo>
                  <a:lnTo>
                    <a:pt x="259" y="63"/>
                  </a:lnTo>
                  <a:lnTo>
                    <a:pt x="259" y="63"/>
                  </a:lnTo>
                  <a:lnTo>
                    <a:pt x="258" y="52"/>
                  </a:lnTo>
                  <a:lnTo>
                    <a:pt x="255" y="42"/>
                  </a:lnTo>
                  <a:lnTo>
                    <a:pt x="249" y="32"/>
                  </a:lnTo>
                  <a:lnTo>
                    <a:pt x="243" y="24"/>
                  </a:lnTo>
                  <a:lnTo>
                    <a:pt x="234" y="17"/>
                  </a:lnTo>
                  <a:lnTo>
                    <a:pt x="225" y="12"/>
                  </a:lnTo>
                  <a:lnTo>
                    <a:pt x="215" y="9"/>
                  </a:lnTo>
                  <a:lnTo>
                    <a:pt x="203" y="8"/>
                  </a:lnTo>
                  <a:lnTo>
                    <a:pt x="63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1" name="Rectangle 92">
              <a:extLst>
                <a:ext uri="{FF2B5EF4-FFF2-40B4-BE49-F238E27FC236}">
                  <a16:creationId xmlns:a16="http://schemas.microsoft.com/office/drawing/2014/main" id="{A595681E-75D1-4C7A-A6AC-1D3EA65D91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" y="3379"/>
              <a:ext cx="259" cy="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2" name="Freeform 93">
              <a:extLst>
                <a:ext uri="{FF2B5EF4-FFF2-40B4-BE49-F238E27FC236}">
                  <a16:creationId xmlns:a16="http://schemas.microsoft.com/office/drawing/2014/main" id="{25AFE2F1-CFB8-485C-A145-3BA486290F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8" y="3375"/>
              <a:ext cx="267" cy="77"/>
            </a:xfrm>
            <a:custGeom>
              <a:avLst/>
              <a:gdLst>
                <a:gd name="T0" fmla="*/ 267 w 267"/>
                <a:gd name="T1" fmla="*/ 77 h 77"/>
                <a:gd name="T2" fmla="*/ 0 w 267"/>
                <a:gd name="T3" fmla="*/ 77 h 77"/>
                <a:gd name="T4" fmla="*/ 0 w 267"/>
                <a:gd name="T5" fmla="*/ 0 h 77"/>
                <a:gd name="T6" fmla="*/ 267 w 267"/>
                <a:gd name="T7" fmla="*/ 0 h 77"/>
                <a:gd name="T8" fmla="*/ 267 w 267"/>
                <a:gd name="T9" fmla="*/ 77 h 77"/>
                <a:gd name="T10" fmla="*/ 8 w 267"/>
                <a:gd name="T11" fmla="*/ 69 h 77"/>
                <a:gd name="T12" fmla="*/ 259 w 267"/>
                <a:gd name="T13" fmla="*/ 69 h 77"/>
                <a:gd name="T14" fmla="*/ 259 w 267"/>
                <a:gd name="T15" fmla="*/ 8 h 77"/>
                <a:gd name="T16" fmla="*/ 8 w 267"/>
                <a:gd name="T17" fmla="*/ 8 h 77"/>
                <a:gd name="T18" fmla="*/ 8 w 267"/>
                <a:gd name="T19" fmla="*/ 6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" h="77">
                  <a:moveTo>
                    <a:pt x="267" y="77"/>
                  </a:moveTo>
                  <a:lnTo>
                    <a:pt x="0" y="77"/>
                  </a:lnTo>
                  <a:lnTo>
                    <a:pt x="0" y="0"/>
                  </a:lnTo>
                  <a:lnTo>
                    <a:pt x="267" y="0"/>
                  </a:lnTo>
                  <a:lnTo>
                    <a:pt x="267" y="77"/>
                  </a:lnTo>
                  <a:close/>
                  <a:moveTo>
                    <a:pt x="8" y="69"/>
                  </a:moveTo>
                  <a:lnTo>
                    <a:pt x="259" y="69"/>
                  </a:lnTo>
                  <a:lnTo>
                    <a:pt x="259" y="8"/>
                  </a:lnTo>
                  <a:lnTo>
                    <a:pt x="8" y="8"/>
                  </a:lnTo>
                  <a:lnTo>
                    <a:pt x="8" y="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3" name="Freeform 94">
              <a:extLst>
                <a:ext uri="{FF2B5EF4-FFF2-40B4-BE49-F238E27FC236}">
                  <a16:creationId xmlns:a16="http://schemas.microsoft.com/office/drawing/2014/main" id="{6EFA897F-8E13-4D11-9DF9-F960B343F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9" y="3863"/>
              <a:ext cx="45" cy="45"/>
            </a:xfrm>
            <a:custGeom>
              <a:avLst/>
              <a:gdLst>
                <a:gd name="T0" fmla="*/ 45 w 45"/>
                <a:gd name="T1" fmla="*/ 22 h 45"/>
                <a:gd name="T2" fmla="*/ 45 w 45"/>
                <a:gd name="T3" fmla="*/ 22 h 45"/>
                <a:gd name="T4" fmla="*/ 44 w 45"/>
                <a:gd name="T5" fmla="*/ 27 h 45"/>
                <a:gd name="T6" fmla="*/ 43 w 45"/>
                <a:gd name="T7" fmla="*/ 31 h 45"/>
                <a:gd name="T8" fmla="*/ 41 w 45"/>
                <a:gd name="T9" fmla="*/ 35 h 45"/>
                <a:gd name="T10" fmla="*/ 38 w 45"/>
                <a:gd name="T11" fmla="*/ 38 h 45"/>
                <a:gd name="T12" fmla="*/ 35 w 45"/>
                <a:gd name="T13" fmla="*/ 41 h 45"/>
                <a:gd name="T14" fmla="*/ 31 w 45"/>
                <a:gd name="T15" fmla="*/ 43 h 45"/>
                <a:gd name="T16" fmla="*/ 27 w 45"/>
                <a:gd name="T17" fmla="*/ 44 h 45"/>
                <a:gd name="T18" fmla="*/ 22 w 45"/>
                <a:gd name="T19" fmla="*/ 45 h 45"/>
                <a:gd name="T20" fmla="*/ 22 w 45"/>
                <a:gd name="T21" fmla="*/ 45 h 45"/>
                <a:gd name="T22" fmla="*/ 18 w 45"/>
                <a:gd name="T23" fmla="*/ 44 h 45"/>
                <a:gd name="T24" fmla="*/ 14 w 45"/>
                <a:gd name="T25" fmla="*/ 43 h 45"/>
                <a:gd name="T26" fmla="*/ 10 w 45"/>
                <a:gd name="T27" fmla="*/ 41 h 45"/>
                <a:gd name="T28" fmla="*/ 7 w 45"/>
                <a:gd name="T29" fmla="*/ 38 h 45"/>
                <a:gd name="T30" fmla="*/ 4 w 45"/>
                <a:gd name="T31" fmla="*/ 35 h 45"/>
                <a:gd name="T32" fmla="*/ 2 w 45"/>
                <a:gd name="T33" fmla="*/ 31 h 45"/>
                <a:gd name="T34" fmla="*/ 1 w 45"/>
                <a:gd name="T35" fmla="*/ 27 h 45"/>
                <a:gd name="T36" fmla="*/ 0 w 45"/>
                <a:gd name="T37" fmla="*/ 22 h 45"/>
                <a:gd name="T38" fmla="*/ 0 w 45"/>
                <a:gd name="T39" fmla="*/ 22 h 45"/>
                <a:gd name="T40" fmla="*/ 1 w 45"/>
                <a:gd name="T41" fmla="*/ 18 h 45"/>
                <a:gd name="T42" fmla="*/ 2 w 45"/>
                <a:gd name="T43" fmla="*/ 14 h 45"/>
                <a:gd name="T44" fmla="*/ 4 w 45"/>
                <a:gd name="T45" fmla="*/ 10 h 45"/>
                <a:gd name="T46" fmla="*/ 7 w 45"/>
                <a:gd name="T47" fmla="*/ 6 h 45"/>
                <a:gd name="T48" fmla="*/ 10 w 45"/>
                <a:gd name="T49" fmla="*/ 4 h 45"/>
                <a:gd name="T50" fmla="*/ 14 w 45"/>
                <a:gd name="T51" fmla="*/ 2 h 45"/>
                <a:gd name="T52" fmla="*/ 18 w 45"/>
                <a:gd name="T53" fmla="*/ 0 h 45"/>
                <a:gd name="T54" fmla="*/ 22 w 45"/>
                <a:gd name="T55" fmla="*/ 0 h 45"/>
                <a:gd name="T56" fmla="*/ 22 w 45"/>
                <a:gd name="T57" fmla="*/ 0 h 45"/>
                <a:gd name="T58" fmla="*/ 27 w 45"/>
                <a:gd name="T59" fmla="*/ 0 h 45"/>
                <a:gd name="T60" fmla="*/ 31 w 45"/>
                <a:gd name="T61" fmla="*/ 2 h 45"/>
                <a:gd name="T62" fmla="*/ 35 w 45"/>
                <a:gd name="T63" fmla="*/ 4 h 45"/>
                <a:gd name="T64" fmla="*/ 38 w 45"/>
                <a:gd name="T65" fmla="*/ 6 h 45"/>
                <a:gd name="T66" fmla="*/ 41 w 45"/>
                <a:gd name="T67" fmla="*/ 10 h 45"/>
                <a:gd name="T68" fmla="*/ 43 w 45"/>
                <a:gd name="T69" fmla="*/ 14 h 45"/>
                <a:gd name="T70" fmla="*/ 44 w 45"/>
                <a:gd name="T71" fmla="*/ 18 h 45"/>
                <a:gd name="T72" fmla="*/ 45 w 45"/>
                <a:gd name="T73" fmla="*/ 22 h 45"/>
                <a:gd name="T74" fmla="*/ 45 w 45"/>
                <a:gd name="T7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45">
                  <a:moveTo>
                    <a:pt x="45" y="22"/>
                  </a:moveTo>
                  <a:lnTo>
                    <a:pt x="45" y="22"/>
                  </a:lnTo>
                  <a:lnTo>
                    <a:pt x="44" y="27"/>
                  </a:lnTo>
                  <a:lnTo>
                    <a:pt x="43" y="31"/>
                  </a:lnTo>
                  <a:lnTo>
                    <a:pt x="41" y="35"/>
                  </a:lnTo>
                  <a:lnTo>
                    <a:pt x="38" y="38"/>
                  </a:lnTo>
                  <a:lnTo>
                    <a:pt x="35" y="41"/>
                  </a:lnTo>
                  <a:lnTo>
                    <a:pt x="31" y="43"/>
                  </a:lnTo>
                  <a:lnTo>
                    <a:pt x="27" y="44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18" y="44"/>
                  </a:lnTo>
                  <a:lnTo>
                    <a:pt x="14" y="43"/>
                  </a:lnTo>
                  <a:lnTo>
                    <a:pt x="10" y="41"/>
                  </a:lnTo>
                  <a:lnTo>
                    <a:pt x="7" y="38"/>
                  </a:lnTo>
                  <a:lnTo>
                    <a:pt x="4" y="35"/>
                  </a:lnTo>
                  <a:lnTo>
                    <a:pt x="2" y="31"/>
                  </a:lnTo>
                  <a:lnTo>
                    <a:pt x="1" y="2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5" y="4"/>
                  </a:lnTo>
                  <a:lnTo>
                    <a:pt x="38" y="6"/>
                  </a:lnTo>
                  <a:lnTo>
                    <a:pt x="41" y="10"/>
                  </a:lnTo>
                  <a:lnTo>
                    <a:pt x="43" y="14"/>
                  </a:lnTo>
                  <a:lnTo>
                    <a:pt x="44" y="18"/>
                  </a:lnTo>
                  <a:lnTo>
                    <a:pt x="45" y="22"/>
                  </a:lnTo>
                  <a:lnTo>
                    <a:pt x="45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4" name="Freeform 95">
              <a:extLst>
                <a:ext uri="{FF2B5EF4-FFF2-40B4-BE49-F238E27FC236}">
                  <a16:creationId xmlns:a16="http://schemas.microsoft.com/office/drawing/2014/main" id="{5CA078A8-DBAC-4283-A3B7-BFC3C2BDF4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5" y="3859"/>
              <a:ext cx="53" cy="53"/>
            </a:xfrm>
            <a:custGeom>
              <a:avLst/>
              <a:gdLst>
                <a:gd name="T0" fmla="*/ 26 w 53"/>
                <a:gd name="T1" fmla="*/ 53 h 53"/>
                <a:gd name="T2" fmla="*/ 16 w 53"/>
                <a:gd name="T3" fmla="*/ 50 h 53"/>
                <a:gd name="T4" fmla="*/ 8 w 53"/>
                <a:gd name="T5" fmla="*/ 45 h 53"/>
                <a:gd name="T6" fmla="*/ 2 w 53"/>
                <a:gd name="T7" fmla="*/ 36 h 53"/>
                <a:gd name="T8" fmla="*/ 0 w 53"/>
                <a:gd name="T9" fmla="*/ 26 h 53"/>
                <a:gd name="T10" fmla="*/ 1 w 53"/>
                <a:gd name="T11" fmla="*/ 21 h 53"/>
                <a:gd name="T12" fmla="*/ 5 w 53"/>
                <a:gd name="T13" fmla="*/ 12 h 53"/>
                <a:gd name="T14" fmla="*/ 12 w 53"/>
                <a:gd name="T15" fmla="*/ 4 h 53"/>
                <a:gd name="T16" fmla="*/ 21 w 53"/>
                <a:gd name="T17" fmla="*/ 1 h 53"/>
                <a:gd name="T18" fmla="*/ 26 w 53"/>
                <a:gd name="T19" fmla="*/ 0 h 53"/>
                <a:gd name="T20" fmla="*/ 37 w 53"/>
                <a:gd name="T21" fmla="*/ 2 h 53"/>
                <a:gd name="T22" fmla="*/ 45 w 53"/>
                <a:gd name="T23" fmla="*/ 8 h 53"/>
                <a:gd name="T24" fmla="*/ 51 w 53"/>
                <a:gd name="T25" fmla="*/ 16 h 53"/>
                <a:gd name="T26" fmla="*/ 53 w 53"/>
                <a:gd name="T27" fmla="*/ 26 h 53"/>
                <a:gd name="T28" fmla="*/ 52 w 53"/>
                <a:gd name="T29" fmla="*/ 32 h 53"/>
                <a:gd name="T30" fmla="*/ 48 w 53"/>
                <a:gd name="T31" fmla="*/ 41 h 53"/>
                <a:gd name="T32" fmla="*/ 41 w 53"/>
                <a:gd name="T33" fmla="*/ 48 h 53"/>
                <a:gd name="T34" fmla="*/ 32 w 53"/>
                <a:gd name="T35" fmla="*/ 52 h 53"/>
                <a:gd name="T36" fmla="*/ 26 w 53"/>
                <a:gd name="T37" fmla="*/ 53 h 53"/>
                <a:gd name="T38" fmla="*/ 26 w 53"/>
                <a:gd name="T39" fmla="*/ 8 h 53"/>
                <a:gd name="T40" fmla="*/ 19 w 53"/>
                <a:gd name="T41" fmla="*/ 9 h 53"/>
                <a:gd name="T42" fmla="*/ 13 w 53"/>
                <a:gd name="T43" fmla="*/ 13 h 53"/>
                <a:gd name="T44" fmla="*/ 10 w 53"/>
                <a:gd name="T45" fmla="*/ 19 h 53"/>
                <a:gd name="T46" fmla="*/ 8 w 53"/>
                <a:gd name="T47" fmla="*/ 26 h 53"/>
                <a:gd name="T48" fmla="*/ 8 w 53"/>
                <a:gd name="T49" fmla="*/ 30 h 53"/>
                <a:gd name="T50" fmla="*/ 11 w 53"/>
                <a:gd name="T51" fmla="*/ 36 h 53"/>
                <a:gd name="T52" fmla="*/ 16 w 53"/>
                <a:gd name="T53" fmla="*/ 41 h 53"/>
                <a:gd name="T54" fmla="*/ 23 w 53"/>
                <a:gd name="T55" fmla="*/ 44 h 53"/>
                <a:gd name="T56" fmla="*/ 26 w 53"/>
                <a:gd name="T57" fmla="*/ 45 h 53"/>
                <a:gd name="T58" fmla="*/ 33 w 53"/>
                <a:gd name="T59" fmla="*/ 43 h 53"/>
                <a:gd name="T60" fmla="*/ 39 w 53"/>
                <a:gd name="T61" fmla="*/ 39 h 53"/>
                <a:gd name="T62" fmla="*/ 43 w 53"/>
                <a:gd name="T63" fmla="*/ 33 h 53"/>
                <a:gd name="T64" fmla="*/ 45 w 53"/>
                <a:gd name="T65" fmla="*/ 26 h 53"/>
                <a:gd name="T66" fmla="*/ 44 w 53"/>
                <a:gd name="T67" fmla="*/ 23 h 53"/>
                <a:gd name="T68" fmla="*/ 42 w 53"/>
                <a:gd name="T69" fmla="*/ 16 h 53"/>
                <a:gd name="T70" fmla="*/ 37 w 53"/>
                <a:gd name="T71" fmla="*/ 11 h 53"/>
                <a:gd name="T72" fmla="*/ 30 w 53"/>
                <a:gd name="T73" fmla="*/ 8 h 53"/>
                <a:gd name="T74" fmla="*/ 26 w 53"/>
                <a:gd name="T75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53">
                  <a:moveTo>
                    <a:pt x="26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2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2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1" y="21"/>
                  </a:lnTo>
                  <a:lnTo>
                    <a:pt x="2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2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5" y="8"/>
                  </a:lnTo>
                  <a:lnTo>
                    <a:pt x="48" y="12"/>
                  </a:lnTo>
                  <a:lnTo>
                    <a:pt x="51" y="16"/>
                  </a:lnTo>
                  <a:lnTo>
                    <a:pt x="52" y="2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2" y="32"/>
                  </a:lnTo>
                  <a:lnTo>
                    <a:pt x="51" y="36"/>
                  </a:lnTo>
                  <a:lnTo>
                    <a:pt x="48" y="41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2" y="52"/>
                  </a:lnTo>
                  <a:lnTo>
                    <a:pt x="26" y="53"/>
                  </a:lnTo>
                  <a:lnTo>
                    <a:pt x="26" y="53"/>
                  </a:lnTo>
                  <a:close/>
                  <a:moveTo>
                    <a:pt x="26" y="8"/>
                  </a:moveTo>
                  <a:lnTo>
                    <a:pt x="26" y="8"/>
                  </a:lnTo>
                  <a:lnTo>
                    <a:pt x="23" y="8"/>
                  </a:lnTo>
                  <a:lnTo>
                    <a:pt x="19" y="9"/>
                  </a:lnTo>
                  <a:lnTo>
                    <a:pt x="16" y="11"/>
                  </a:lnTo>
                  <a:lnTo>
                    <a:pt x="13" y="13"/>
                  </a:lnTo>
                  <a:lnTo>
                    <a:pt x="11" y="16"/>
                  </a:lnTo>
                  <a:lnTo>
                    <a:pt x="10" y="19"/>
                  </a:lnTo>
                  <a:lnTo>
                    <a:pt x="8" y="23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10" y="33"/>
                  </a:lnTo>
                  <a:lnTo>
                    <a:pt x="11" y="36"/>
                  </a:lnTo>
                  <a:lnTo>
                    <a:pt x="13" y="39"/>
                  </a:lnTo>
                  <a:lnTo>
                    <a:pt x="16" y="41"/>
                  </a:lnTo>
                  <a:lnTo>
                    <a:pt x="19" y="43"/>
                  </a:lnTo>
                  <a:lnTo>
                    <a:pt x="23" y="44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30" y="44"/>
                  </a:lnTo>
                  <a:lnTo>
                    <a:pt x="33" y="43"/>
                  </a:lnTo>
                  <a:lnTo>
                    <a:pt x="37" y="41"/>
                  </a:lnTo>
                  <a:lnTo>
                    <a:pt x="39" y="39"/>
                  </a:lnTo>
                  <a:lnTo>
                    <a:pt x="42" y="36"/>
                  </a:lnTo>
                  <a:lnTo>
                    <a:pt x="43" y="33"/>
                  </a:lnTo>
                  <a:lnTo>
                    <a:pt x="44" y="30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4" y="23"/>
                  </a:lnTo>
                  <a:lnTo>
                    <a:pt x="43" y="19"/>
                  </a:lnTo>
                  <a:lnTo>
                    <a:pt x="42" y="16"/>
                  </a:lnTo>
                  <a:lnTo>
                    <a:pt x="39" y="13"/>
                  </a:lnTo>
                  <a:lnTo>
                    <a:pt x="37" y="11"/>
                  </a:lnTo>
                  <a:lnTo>
                    <a:pt x="33" y="9"/>
                  </a:lnTo>
                  <a:lnTo>
                    <a:pt x="30" y="8"/>
                  </a:lnTo>
                  <a:lnTo>
                    <a:pt x="26" y="8"/>
                  </a:lnTo>
                  <a:lnTo>
                    <a:pt x="2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5" name="Freeform 96">
              <a:extLst>
                <a:ext uri="{FF2B5EF4-FFF2-40B4-BE49-F238E27FC236}">
                  <a16:creationId xmlns:a16="http://schemas.microsoft.com/office/drawing/2014/main" id="{E8E66E78-167F-49F8-BCBB-9694B9A23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" y="1440"/>
              <a:ext cx="742" cy="460"/>
            </a:xfrm>
            <a:custGeom>
              <a:avLst/>
              <a:gdLst>
                <a:gd name="T0" fmla="*/ 664 w 742"/>
                <a:gd name="T1" fmla="*/ 460 h 460"/>
                <a:gd name="T2" fmla="*/ 0 w 742"/>
                <a:gd name="T3" fmla="*/ 460 h 460"/>
                <a:gd name="T4" fmla="*/ 81 w 742"/>
                <a:gd name="T5" fmla="*/ 39 h 460"/>
                <a:gd name="T6" fmla="*/ 81 w 742"/>
                <a:gd name="T7" fmla="*/ 39 h 460"/>
                <a:gd name="T8" fmla="*/ 83 w 742"/>
                <a:gd name="T9" fmla="*/ 31 h 460"/>
                <a:gd name="T10" fmla="*/ 86 w 742"/>
                <a:gd name="T11" fmla="*/ 23 h 460"/>
                <a:gd name="T12" fmla="*/ 91 w 742"/>
                <a:gd name="T13" fmla="*/ 17 h 460"/>
                <a:gd name="T14" fmla="*/ 97 w 742"/>
                <a:gd name="T15" fmla="*/ 11 h 460"/>
                <a:gd name="T16" fmla="*/ 104 w 742"/>
                <a:gd name="T17" fmla="*/ 6 h 460"/>
                <a:gd name="T18" fmla="*/ 111 w 742"/>
                <a:gd name="T19" fmla="*/ 3 h 460"/>
                <a:gd name="T20" fmla="*/ 119 w 742"/>
                <a:gd name="T21" fmla="*/ 1 h 460"/>
                <a:gd name="T22" fmla="*/ 128 w 742"/>
                <a:gd name="T23" fmla="*/ 0 h 460"/>
                <a:gd name="T24" fmla="*/ 694 w 742"/>
                <a:gd name="T25" fmla="*/ 0 h 460"/>
                <a:gd name="T26" fmla="*/ 694 w 742"/>
                <a:gd name="T27" fmla="*/ 0 h 460"/>
                <a:gd name="T28" fmla="*/ 700 w 742"/>
                <a:gd name="T29" fmla="*/ 0 h 460"/>
                <a:gd name="T30" fmla="*/ 705 w 742"/>
                <a:gd name="T31" fmla="*/ 1 h 460"/>
                <a:gd name="T32" fmla="*/ 710 w 742"/>
                <a:gd name="T33" fmla="*/ 3 h 460"/>
                <a:gd name="T34" fmla="*/ 715 w 742"/>
                <a:gd name="T35" fmla="*/ 5 h 460"/>
                <a:gd name="T36" fmla="*/ 724 w 742"/>
                <a:gd name="T37" fmla="*/ 10 h 460"/>
                <a:gd name="T38" fmla="*/ 731 w 742"/>
                <a:gd name="T39" fmla="*/ 17 h 460"/>
                <a:gd name="T40" fmla="*/ 737 w 742"/>
                <a:gd name="T41" fmla="*/ 26 h 460"/>
                <a:gd name="T42" fmla="*/ 740 w 742"/>
                <a:gd name="T43" fmla="*/ 36 h 460"/>
                <a:gd name="T44" fmla="*/ 742 w 742"/>
                <a:gd name="T45" fmla="*/ 46 h 460"/>
                <a:gd name="T46" fmla="*/ 742 w 742"/>
                <a:gd name="T47" fmla="*/ 52 h 460"/>
                <a:gd name="T48" fmla="*/ 741 w 742"/>
                <a:gd name="T49" fmla="*/ 57 h 460"/>
                <a:gd name="T50" fmla="*/ 664 w 742"/>
                <a:gd name="T51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2" h="460">
                  <a:moveTo>
                    <a:pt x="664" y="460"/>
                  </a:moveTo>
                  <a:lnTo>
                    <a:pt x="0" y="460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3" y="31"/>
                  </a:lnTo>
                  <a:lnTo>
                    <a:pt x="86" y="23"/>
                  </a:lnTo>
                  <a:lnTo>
                    <a:pt x="91" y="17"/>
                  </a:lnTo>
                  <a:lnTo>
                    <a:pt x="97" y="11"/>
                  </a:lnTo>
                  <a:lnTo>
                    <a:pt x="104" y="6"/>
                  </a:lnTo>
                  <a:lnTo>
                    <a:pt x="111" y="3"/>
                  </a:lnTo>
                  <a:lnTo>
                    <a:pt x="119" y="1"/>
                  </a:lnTo>
                  <a:lnTo>
                    <a:pt x="128" y="0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700" y="0"/>
                  </a:lnTo>
                  <a:lnTo>
                    <a:pt x="705" y="1"/>
                  </a:lnTo>
                  <a:lnTo>
                    <a:pt x="710" y="3"/>
                  </a:lnTo>
                  <a:lnTo>
                    <a:pt x="715" y="5"/>
                  </a:lnTo>
                  <a:lnTo>
                    <a:pt x="724" y="10"/>
                  </a:lnTo>
                  <a:lnTo>
                    <a:pt x="731" y="17"/>
                  </a:lnTo>
                  <a:lnTo>
                    <a:pt x="737" y="26"/>
                  </a:lnTo>
                  <a:lnTo>
                    <a:pt x="740" y="36"/>
                  </a:lnTo>
                  <a:lnTo>
                    <a:pt x="742" y="46"/>
                  </a:lnTo>
                  <a:lnTo>
                    <a:pt x="742" y="52"/>
                  </a:lnTo>
                  <a:lnTo>
                    <a:pt x="741" y="57"/>
                  </a:lnTo>
                  <a:lnTo>
                    <a:pt x="664" y="4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6" name="Freeform 97">
              <a:extLst>
                <a:ext uri="{FF2B5EF4-FFF2-40B4-BE49-F238E27FC236}">
                  <a16:creationId xmlns:a16="http://schemas.microsoft.com/office/drawing/2014/main" id="{5489DEBC-B750-4427-BBC1-13A36CCD0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3" y="1436"/>
              <a:ext cx="751" cy="468"/>
            </a:xfrm>
            <a:custGeom>
              <a:avLst/>
              <a:gdLst>
                <a:gd name="T0" fmla="*/ 672 w 751"/>
                <a:gd name="T1" fmla="*/ 468 h 468"/>
                <a:gd name="T2" fmla="*/ 0 w 751"/>
                <a:gd name="T3" fmla="*/ 468 h 468"/>
                <a:gd name="T4" fmla="*/ 1 w 751"/>
                <a:gd name="T5" fmla="*/ 463 h 468"/>
                <a:gd name="T6" fmla="*/ 82 w 751"/>
                <a:gd name="T7" fmla="*/ 42 h 468"/>
                <a:gd name="T8" fmla="*/ 82 w 751"/>
                <a:gd name="T9" fmla="*/ 42 h 468"/>
                <a:gd name="T10" fmla="*/ 84 w 751"/>
                <a:gd name="T11" fmla="*/ 33 h 468"/>
                <a:gd name="T12" fmla="*/ 88 w 751"/>
                <a:gd name="T13" fmla="*/ 25 h 468"/>
                <a:gd name="T14" fmla="*/ 93 w 751"/>
                <a:gd name="T15" fmla="*/ 18 h 468"/>
                <a:gd name="T16" fmla="*/ 100 w 751"/>
                <a:gd name="T17" fmla="*/ 12 h 468"/>
                <a:gd name="T18" fmla="*/ 107 w 751"/>
                <a:gd name="T19" fmla="*/ 7 h 468"/>
                <a:gd name="T20" fmla="*/ 115 w 751"/>
                <a:gd name="T21" fmla="*/ 3 h 468"/>
                <a:gd name="T22" fmla="*/ 124 w 751"/>
                <a:gd name="T23" fmla="*/ 1 h 468"/>
                <a:gd name="T24" fmla="*/ 133 w 751"/>
                <a:gd name="T25" fmla="*/ 0 h 468"/>
                <a:gd name="T26" fmla="*/ 699 w 751"/>
                <a:gd name="T27" fmla="*/ 0 h 468"/>
                <a:gd name="T28" fmla="*/ 699 w 751"/>
                <a:gd name="T29" fmla="*/ 0 h 468"/>
                <a:gd name="T30" fmla="*/ 705 w 751"/>
                <a:gd name="T31" fmla="*/ 0 h 468"/>
                <a:gd name="T32" fmla="*/ 710 w 751"/>
                <a:gd name="T33" fmla="*/ 1 h 468"/>
                <a:gd name="T34" fmla="*/ 716 w 751"/>
                <a:gd name="T35" fmla="*/ 3 h 468"/>
                <a:gd name="T36" fmla="*/ 721 w 751"/>
                <a:gd name="T37" fmla="*/ 5 h 468"/>
                <a:gd name="T38" fmla="*/ 726 w 751"/>
                <a:gd name="T39" fmla="*/ 8 h 468"/>
                <a:gd name="T40" fmla="*/ 731 w 751"/>
                <a:gd name="T41" fmla="*/ 11 h 468"/>
                <a:gd name="T42" fmla="*/ 735 w 751"/>
                <a:gd name="T43" fmla="*/ 15 h 468"/>
                <a:gd name="T44" fmla="*/ 739 w 751"/>
                <a:gd name="T45" fmla="*/ 19 h 468"/>
                <a:gd name="T46" fmla="*/ 739 w 751"/>
                <a:gd name="T47" fmla="*/ 19 h 468"/>
                <a:gd name="T48" fmla="*/ 742 w 751"/>
                <a:gd name="T49" fmla="*/ 24 h 468"/>
                <a:gd name="T50" fmla="*/ 745 w 751"/>
                <a:gd name="T51" fmla="*/ 28 h 468"/>
                <a:gd name="T52" fmla="*/ 748 w 751"/>
                <a:gd name="T53" fmla="*/ 34 h 468"/>
                <a:gd name="T54" fmla="*/ 749 w 751"/>
                <a:gd name="T55" fmla="*/ 39 h 468"/>
                <a:gd name="T56" fmla="*/ 750 w 751"/>
                <a:gd name="T57" fmla="*/ 45 h 468"/>
                <a:gd name="T58" fmla="*/ 751 w 751"/>
                <a:gd name="T59" fmla="*/ 50 h 468"/>
                <a:gd name="T60" fmla="*/ 751 w 751"/>
                <a:gd name="T61" fmla="*/ 56 h 468"/>
                <a:gd name="T62" fmla="*/ 750 w 751"/>
                <a:gd name="T63" fmla="*/ 62 h 468"/>
                <a:gd name="T64" fmla="*/ 672 w 751"/>
                <a:gd name="T65" fmla="*/ 468 h 468"/>
                <a:gd name="T66" fmla="*/ 10 w 751"/>
                <a:gd name="T67" fmla="*/ 460 h 468"/>
                <a:gd name="T68" fmla="*/ 666 w 751"/>
                <a:gd name="T69" fmla="*/ 460 h 468"/>
                <a:gd name="T70" fmla="*/ 742 w 751"/>
                <a:gd name="T71" fmla="*/ 60 h 468"/>
                <a:gd name="T72" fmla="*/ 742 w 751"/>
                <a:gd name="T73" fmla="*/ 60 h 468"/>
                <a:gd name="T74" fmla="*/ 743 w 751"/>
                <a:gd name="T75" fmla="*/ 51 h 468"/>
                <a:gd name="T76" fmla="*/ 742 w 751"/>
                <a:gd name="T77" fmla="*/ 41 h 468"/>
                <a:gd name="T78" fmla="*/ 738 w 751"/>
                <a:gd name="T79" fmla="*/ 32 h 468"/>
                <a:gd name="T80" fmla="*/ 733 w 751"/>
                <a:gd name="T81" fmla="*/ 24 h 468"/>
                <a:gd name="T82" fmla="*/ 733 w 751"/>
                <a:gd name="T83" fmla="*/ 24 h 468"/>
                <a:gd name="T84" fmla="*/ 726 w 751"/>
                <a:gd name="T85" fmla="*/ 17 h 468"/>
                <a:gd name="T86" fmla="*/ 718 w 751"/>
                <a:gd name="T87" fmla="*/ 12 h 468"/>
                <a:gd name="T88" fmla="*/ 709 w 751"/>
                <a:gd name="T89" fmla="*/ 9 h 468"/>
                <a:gd name="T90" fmla="*/ 699 w 751"/>
                <a:gd name="T91" fmla="*/ 8 h 468"/>
                <a:gd name="T92" fmla="*/ 133 w 751"/>
                <a:gd name="T93" fmla="*/ 8 h 468"/>
                <a:gd name="T94" fmla="*/ 133 w 751"/>
                <a:gd name="T95" fmla="*/ 8 h 468"/>
                <a:gd name="T96" fmla="*/ 125 w 751"/>
                <a:gd name="T97" fmla="*/ 9 h 468"/>
                <a:gd name="T98" fmla="*/ 118 w 751"/>
                <a:gd name="T99" fmla="*/ 11 h 468"/>
                <a:gd name="T100" fmla="*/ 111 w 751"/>
                <a:gd name="T101" fmla="*/ 14 h 468"/>
                <a:gd name="T102" fmla="*/ 105 w 751"/>
                <a:gd name="T103" fmla="*/ 18 h 468"/>
                <a:gd name="T104" fmla="*/ 99 w 751"/>
                <a:gd name="T105" fmla="*/ 23 h 468"/>
                <a:gd name="T106" fmla="*/ 95 w 751"/>
                <a:gd name="T107" fmla="*/ 29 h 468"/>
                <a:gd name="T108" fmla="*/ 92 w 751"/>
                <a:gd name="T109" fmla="*/ 36 h 468"/>
                <a:gd name="T110" fmla="*/ 89 w 751"/>
                <a:gd name="T111" fmla="*/ 44 h 468"/>
                <a:gd name="T112" fmla="*/ 10 w 751"/>
                <a:gd name="T113" fmla="*/ 46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51" h="468">
                  <a:moveTo>
                    <a:pt x="672" y="468"/>
                  </a:moveTo>
                  <a:lnTo>
                    <a:pt x="0" y="468"/>
                  </a:lnTo>
                  <a:lnTo>
                    <a:pt x="1" y="463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4" y="33"/>
                  </a:lnTo>
                  <a:lnTo>
                    <a:pt x="88" y="25"/>
                  </a:lnTo>
                  <a:lnTo>
                    <a:pt x="93" y="18"/>
                  </a:lnTo>
                  <a:lnTo>
                    <a:pt x="100" y="12"/>
                  </a:lnTo>
                  <a:lnTo>
                    <a:pt x="107" y="7"/>
                  </a:lnTo>
                  <a:lnTo>
                    <a:pt x="115" y="3"/>
                  </a:lnTo>
                  <a:lnTo>
                    <a:pt x="124" y="1"/>
                  </a:lnTo>
                  <a:lnTo>
                    <a:pt x="133" y="0"/>
                  </a:lnTo>
                  <a:lnTo>
                    <a:pt x="699" y="0"/>
                  </a:lnTo>
                  <a:lnTo>
                    <a:pt x="699" y="0"/>
                  </a:lnTo>
                  <a:lnTo>
                    <a:pt x="705" y="0"/>
                  </a:lnTo>
                  <a:lnTo>
                    <a:pt x="710" y="1"/>
                  </a:lnTo>
                  <a:lnTo>
                    <a:pt x="716" y="3"/>
                  </a:lnTo>
                  <a:lnTo>
                    <a:pt x="721" y="5"/>
                  </a:lnTo>
                  <a:lnTo>
                    <a:pt x="726" y="8"/>
                  </a:lnTo>
                  <a:lnTo>
                    <a:pt x="731" y="11"/>
                  </a:lnTo>
                  <a:lnTo>
                    <a:pt x="735" y="15"/>
                  </a:lnTo>
                  <a:lnTo>
                    <a:pt x="739" y="19"/>
                  </a:lnTo>
                  <a:lnTo>
                    <a:pt x="739" y="19"/>
                  </a:lnTo>
                  <a:lnTo>
                    <a:pt x="742" y="24"/>
                  </a:lnTo>
                  <a:lnTo>
                    <a:pt x="745" y="28"/>
                  </a:lnTo>
                  <a:lnTo>
                    <a:pt x="748" y="34"/>
                  </a:lnTo>
                  <a:lnTo>
                    <a:pt x="749" y="39"/>
                  </a:lnTo>
                  <a:lnTo>
                    <a:pt x="750" y="45"/>
                  </a:lnTo>
                  <a:lnTo>
                    <a:pt x="751" y="50"/>
                  </a:lnTo>
                  <a:lnTo>
                    <a:pt x="751" y="56"/>
                  </a:lnTo>
                  <a:lnTo>
                    <a:pt x="750" y="62"/>
                  </a:lnTo>
                  <a:lnTo>
                    <a:pt x="672" y="468"/>
                  </a:lnTo>
                  <a:close/>
                  <a:moveTo>
                    <a:pt x="10" y="460"/>
                  </a:moveTo>
                  <a:lnTo>
                    <a:pt x="666" y="460"/>
                  </a:lnTo>
                  <a:lnTo>
                    <a:pt x="742" y="60"/>
                  </a:lnTo>
                  <a:lnTo>
                    <a:pt x="742" y="60"/>
                  </a:lnTo>
                  <a:lnTo>
                    <a:pt x="743" y="51"/>
                  </a:lnTo>
                  <a:lnTo>
                    <a:pt x="742" y="41"/>
                  </a:lnTo>
                  <a:lnTo>
                    <a:pt x="738" y="32"/>
                  </a:lnTo>
                  <a:lnTo>
                    <a:pt x="733" y="24"/>
                  </a:lnTo>
                  <a:lnTo>
                    <a:pt x="733" y="24"/>
                  </a:lnTo>
                  <a:lnTo>
                    <a:pt x="726" y="17"/>
                  </a:lnTo>
                  <a:lnTo>
                    <a:pt x="718" y="12"/>
                  </a:lnTo>
                  <a:lnTo>
                    <a:pt x="709" y="9"/>
                  </a:lnTo>
                  <a:lnTo>
                    <a:pt x="699" y="8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25" y="9"/>
                  </a:lnTo>
                  <a:lnTo>
                    <a:pt x="118" y="11"/>
                  </a:lnTo>
                  <a:lnTo>
                    <a:pt x="111" y="14"/>
                  </a:lnTo>
                  <a:lnTo>
                    <a:pt x="105" y="18"/>
                  </a:lnTo>
                  <a:lnTo>
                    <a:pt x="99" y="23"/>
                  </a:lnTo>
                  <a:lnTo>
                    <a:pt x="95" y="29"/>
                  </a:lnTo>
                  <a:lnTo>
                    <a:pt x="92" y="36"/>
                  </a:lnTo>
                  <a:lnTo>
                    <a:pt x="89" y="44"/>
                  </a:lnTo>
                  <a:lnTo>
                    <a:pt x="10" y="4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7" name="Rectangle 98">
              <a:extLst>
                <a:ext uri="{FF2B5EF4-FFF2-40B4-BE49-F238E27FC236}">
                  <a16:creationId xmlns:a16="http://schemas.microsoft.com/office/drawing/2014/main" id="{CDD7E8CC-B050-439D-BAAD-494E7CD54D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" y="1900"/>
              <a:ext cx="668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8" name="Freeform 99">
              <a:extLst>
                <a:ext uri="{FF2B5EF4-FFF2-40B4-BE49-F238E27FC236}">
                  <a16:creationId xmlns:a16="http://schemas.microsoft.com/office/drawing/2014/main" id="{8D97AF20-91AA-42AC-AB85-7E72311EAA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4" y="1896"/>
              <a:ext cx="676" cy="36"/>
            </a:xfrm>
            <a:custGeom>
              <a:avLst/>
              <a:gdLst>
                <a:gd name="T0" fmla="*/ 676 w 676"/>
                <a:gd name="T1" fmla="*/ 36 h 36"/>
                <a:gd name="T2" fmla="*/ 0 w 676"/>
                <a:gd name="T3" fmla="*/ 36 h 36"/>
                <a:gd name="T4" fmla="*/ 0 w 676"/>
                <a:gd name="T5" fmla="*/ 0 h 36"/>
                <a:gd name="T6" fmla="*/ 676 w 676"/>
                <a:gd name="T7" fmla="*/ 0 h 36"/>
                <a:gd name="T8" fmla="*/ 676 w 676"/>
                <a:gd name="T9" fmla="*/ 36 h 36"/>
                <a:gd name="T10" fmla="*/ 8 w 676"/>
                <a:gd name="T11" fmla="*/ 28 h 36"/>
                <a:gd name="T12" fmla="*/ 668 w 676"/>
                <a:gd name="T13" fmla="*/ 28 h 36"/>
                <a:gd name="T14" fmla="*/ 668 w 676"/>
                <a:gd name="T15" fmla="*/ 8 h 36"/>
                <a:gd name="T16" fmla="*/ 8 w 676"/>
                <a:gd name="T17" fmla="*/ 8 h 36"/>
                <a:gd name="T18" fmla="*/ 8 w 676"/>
                <a:gd name="T19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6" h="36">
                  <a:moveTo>
                    <a:pt x="67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36"/>
                  </a:lnTo>
                  <a:close/>
                  <a:moveTo>
                    <a:pt x="8" y="28"/>
                  </a:moveTo>
                  <a:lnTo>
                    <a:pt x="668" y="28"/>
                  </a:lnTo>
                  <a:lnTo>
                    <a:pt x="668" y="8"/>
                  </a:lnTo>
                  <a:lnTo>
                    <a:pt x="8" y="8"/>
                  </a:lnTo>
                  <a:lnTo>
                    <a:pt x="8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19" name="Freeform 100">
              <a:extLst>
                <a:ext uri="{FF2B5EF4-FFF2-40B4-BE49-F238E27FC236}">
                  <a16:creationId xmlns:a16="http://schemas.microsoft.com/office/drawing/2014/main" id="{B0A49DA7-2D59-4251-A8FF-96E8710D7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" y="1616"/>
              <a:ext cx="124" cy="124"/>
            </a:xfrm>
            <a:custGeom>
              <a:avLst/>
              <a:gdLst>
                <a:gd name="T0" fmla="*/ 124 w 124"/>
                <a:gd name="T1" fmla="*/ 62 h 124"/>
                <a:gd name="T2" fmla="*/ 124 w 124"/>
                <a:gd name="T3" fmla="*/ 62 h 124"/>
                <a:gd name="T4" fmla="*/ 124 w 124"/>
                <a:gd name="T5" fmla="*/ 68 h 124"/>
                <a:gd name="T6" fmla="*/ 123 w 124"/>
                <a:gd name="T7" fmla="*/ 74 h 124"/>
                <a:gd name="T8" fmla="*/ 121 w 124"/>
                <a:gd name="T9" fmla="*/ 80 h 124"/>
                <a:gd name="T10" fmla="*/ 119 w 124"/>
                <a:gd name="T11" fmla="*/ 86 h 124"/>
                <a:gd name="T12" fmla="*/ 113 w 124"/>
                <a:gd name="T13" fmla="*/ 97 h 124"/>
                <a:gd name="T14" fmla="*/ 106 w 124"/>
                <a:gd name="T15" fmla="*/ 106 h 124"/>
                <a:gd name="T16" fmla="*/ 97 w 124"/>
                <a:gd name="T17" fmla="*/ 113 h 124"/>
                <a:gd name="T18" fmla="*/ 86 w 124"/>
                <a:gd name="T19" fmla="*/ 119 h 124"/>
                <a:gd name="T20" fmla="*/ 80 w 124"/>
                <a:gd name="T21" fmla="*/ 121 h 124"/>
                <a:gd name="T22" fmla="*/ 74 w 124"/>
                <a:gd name="T23" fmla="*/ 123 h 124"/>
                <a:gd name="T24" fmla="*/ 68 w 124"/>
                <a:gd name="T25" fmla="*/ 124 h 124"/>
                <a:gd name="T26" fmla="*/ 62 w 124"/>
                <a:gd name="T27" fmla="*/ 124 h 124"/>
                <a:gd name="T28" fmla="*/ 62 w 124"/>
                <a:gd name="T29" fmla="*/ 124 h 124"/>
                <a:gd name="T30" fmla="*/ 56 w 124"/>
                <a:gd name="T31" fmla="*/ 124 h 124"/>
                <a:gd name="T32" fmla="*/ 50 w 124"/>
                <a:gd name="T33" fmla="*/ 123 h 124"/>
                <a:gd name="T34" fmla="*/ 44 w 124"/>
                <a:gd name="T35" fmla="*/ 121 h 124"/>
                <a:gd name="T36" fmla="*/ 38 w 124"/>
                <a:gd name="T37" fmla="*/ 119 h 124"/>
                <a:gd name="T38" fmla="*/ 27 w 124"/>
                <a:gd name="T39" fmla="*/ 113 h 124"/>
                <a:gd name="T40" fmla="*/ 18 w 124"/>
                <a:gd name="T41" fmla="*/ 106 h 124"/>
                <a:gd name="T42" fmla="*/ 11 w 124"/>
                <a:gd name="T43" fmla="*/ 97 h 124"/>
                <a:gd name="T44" fmla="*/ 5 w 124"/>
                <a:gd name="T45" fmla="*/ 86 h 124"/>
                <a:gd name="T46" fmla="*/ 3 w 124"/>
                <a:gd name="T47" fmla="*/ 80 h 124"/>
                <a:gd name="T48" fmla="*/ 1 w 124"/>
                <a:gd name="T49" fmla="*/ 74 h 124"/>
                <a:gd name="T50" fmla="*/ 0 w 124"/>
                <a:gd name="T51" fmla="*/ 68 h 124"/>
                <a:gd name="T52" fmla="*/ 0 w 124"/>
                <a:gd name="T53" fmla="*/ 62 h 124"/>
                <a:gd name="T54" fmla="*/ 0 w 124"/>
                <a:gd name="T55" fmla="*/ 62 h 124"/>
                <a:gd name="T56" fmla="*/ 0 w 124"/>
                <a:gd name="T57" fmla="*/ 56 h 124"/>
                <a:gd name="T58" fmla="*/ 1 w 124"/>
                <a:gd name="T59" fmla="*/ 50 h 124"/>
                <a:gd name="T60" fmla="*/ 3 w 124"/>
                <a:gd name="T61" fmla="*/ 44 h 124"/>
                <a:gd name="T62" fmla="*/ 5 w 124"/>
                <a:gd name="T63" fmla="*/ 38 h 124"/>
                <a:gd name="T64" fmla="*/ 11 w 124"/>
                <a:gd name="T65" fmla="*/ 27 h 124"/>
                <a:gd name="T66" fmla="*/ 18 w 124"/>
                <a:gd name="T67" fmla="*/ 18 h 124"/>
                <a:gd name="T68" fmla="*/ 27 w 124"/>
                <a:gd name="T69" fmla="*/ 11 h 124"/>
                <a:gd name="T70" fmla="*/ 38 w 124"/>
                <a:gd name="T71" fmla="*/ 5 h 124"/>
                <a:gd name="T72" fmla="*/ 44 w 124"/>
                <a:gd name="T73" fmla="*/ 3 h 124"/>
                <a:gd name="T74" fmla="*/ 50 w 124"/>
                <a:gd name="T75" fmla="*/ 1 h 124"/>
                <a:gd name="T76" fmla="*/ 56 w 124"/>
                <a:gd name="T77" fmla="*/ 0 h 124"/>
                <a:gd name="T78" fmla="*/ 62 w 124"/>
                <a:gd name="T79" fmla="*/ 0 h 124"/>
                <a:gd name="T80" fmla="*/ 62 w 124"/>
                <a:gd name="T81" fmla="*/ 0 h 124"/>
                <a:gd name="T82" fmla="*/ 68 w 124"/>
                <a:gd name="T83" fmla="*/ 0 h 124"/>
                <a:gd name="T84" fmla="*/ 74 w 124"/>
                <a:gd name="T85" fmla="*/ 1 h 124"/>
                <a:gd name="T86" fmla="*/ 80 w 124"/>
                <a:gd name="T87" fmla="*/ 3 h 124"/>
                <a:gd name="T88" fmla="*/ 86 w 124"/>
                <a:gd name="T89" fmla="*/ 5 h 124"/>
                <a:gd name="T90" fmla="*/ 97 w 124"/>
                <a:gd name="T91" fmla="*/ 11 h 124"/>
                <a:gd name="T92" fmla="*/ 106 w 124"/>
                <a:gd name="T93" fmla="*/ 18 h 124"/>
                <a:gd name="T94" fmla="*/ 113 w 124"/>
                <a:gd name="T95" fmla="*/ 27 h 124"/>
                <a:gd name="T96" fmla="*/ 119 w 124"/>
                <a:gd name="T97" fmla="*/ 38 h 124"/>
                <a:gd name="T98" fmla="*/ 121 w 124"/>
                <a:gd name="T99" fmla="*/ 44 h 124"/>
                <a:gd name="T100" fmla="*/ 123 w 124"/>
                <a:gd name="T101" fmla="*/ 50 h 124"/>
                <a:gd name="T102" fmla="*/ 124 w 124"/>
                <a:gd name="T103" fmla="*/ 56 h 124"/>
                <a:gd name="T104" fmla="*/ 124 w 124"/>
                <a:gd name="T105" fmla="*/ 62 h 124"/>
                <a:gd name="T106" fmla="*/ 124 w 124"/>
                <a:gd name="T107" fmla="*/ 6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124">
                  <a:moveTo>
                    <a:pt x="124" y="62"/>
                  </a:moveTo>
                  <a:lnTo>
                    <a:pt x="124" y="62"/>
                  </a:lnTo>
                  <a:lnTo>
                    <a:pt x="124" y="68"/>
                  </a:lnTo>
                  <a:lnTo>
                    <a:pt x="123" y="74"/>
                  </a:lnTo>
                  <a:lnTo>
                    <a:pt x="121" y="80"/>
                  </a:lnTo>
                  <a:lnTo>
                    <a:pt x="119" y="86"/>
                  </a:lnTo>
                  <a:lnTo>
                    <a:pt x="113" y="97"/>
                  </a:lnTo>
                  <a:lnTo>
                    <a:pt x="106" y="106"/>
                  </a:lnTo>
                  <a:lnTo>
                    <a:pt x="97" y="113"/>
                  </a:lnTo>
                  <a:lnTo>
                    <a:pt x="86" y="119"/>
                  </a:lnTo>
                  <a:lnTo>
                    <a:pt x="80" y="121"/>
                  </a:lnTo>
                  <a:lnTo>
                    <a:pt x="74" y="123"/>
                  </a:lnTo>
                  <a:lnTo>
                    <a:pt x="68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56" y="124"/>
                  </a:lnTo>
                  <a:lnTo>
                    <a:pt x="50" y="123"/>
                  </a:lnTo>
                  <a:lnTo>
                    <a:pt x="44" y="121"/>
                  </a:lnTo>
                  <a:lnTo>
                    <a:pt x="38" y="119"/>
                  </a:lnTo>
                  <a:lnTo>
                    <a:pt x="27" y="113"/>
                  </a:lnTo>
                  <a:lnTo>
                    <a:pt x="18" y="106"/>
                  </a:lnTo>
                  <a:lnTo>
                    <a:pt x="11" y="97"/>
                  </a:lnTo>
                  <a:lnTo>
                    <a:pt x="5" y="86"/>
                  </a:lnTo>
                  <a:lnTo>
                    <a:pt x="3" y="80"/>
                  </a:lnTo>
                  <a:lnTo>
                    <a:pt x="1" y="74"/>
                  </a:lnTo>
                  <a:lnTo>
                    <a:pt x="0" y="68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6"/>
                  </a:lnTo>
                  <a:lnTo>
                    <a:pt x="1" y="50"/>
                  </a:lnTo>
                  <a:lnTo>
                    <a:pt x="3" y="44"/>
                  </a:lnTo>
                  <a:lnTo>
                    <a:pt x="5" y="38"/>
                  </a:lnTo>
                  <a:lnTo>
                    <a:pt x="11" y="27"/>
                  </a:lnTo>
                  <a:lnTo>
                    <a:pt x="18" y="18"/>
                  </a:lnTo>
                  <a:lnTo>
                    <a:pt x="27" y="11"/>
                  </a:lnTo>
                  <a:lnTo>
                    <a:pt x="38" y="5"/>
                  </a:lnTo>
                  <a:lnTo>
                    <a:pt x="44" y="3"/>
                  </a:lnTo>
                  <a:lnTo>
                    <a:pt x="50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4" y="1"/>
                  </a:lnTo>
                  <a:lnTo>
                    <a:pt x="80" y="3"/>
                  </a:lnTo>
                  <a:lnTo>
                    <a:pt x="86" y="5"/>
                  </a:lnTo>
                  <a:lnTo>
                    <a:pt x="97" y="11"/>
                  </a:lnTo>
                  <a:lnTo>
                    <a:pt x="106" y="18"/>
                  </a:lnTo>
                  <a:lnTo>
                    <a:pt x="113" y="27"/>
                  </a:lnTo>
                  <a:lnTo>
                    <a:pt x="119" y="38"/>
                  </a:lnTo>
                  <a:lnTo>
                    <a:pt x="121" y="44"/>
                  </a:lnTo>
                  <a:lnTo>
                    <a:pt x="123" y="50"/>
                  </a:lnTo>
                  <a:lnTo>
                    <a:pt x="124" y="56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0" name="Freeform 101">
              <a:extLst>
                <a:ext uri="{FF2B5EF4-FFF2-40B4-BE49-F238E27FC236}">
                  <a16:creationId xmlns:a16="http://schemas.microsoft.com/office/drawing/2014/main" id="{C9DCD791-9A79-492E-B18D-23A50843E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6" y="1612"/>
              <a:ext cx="132" cy="132"/>
            </a:xfrm>
            <a:custGeom>
              <a:avLst/>
              <a:gdLst>
                <a:gd name="T0" fmla="*/ 66 w 132"/>
                <a:gd name="T1" fmla="*/ 132 h 132"/>
                <a:gd name="T2" fmla="*/ 53 w 132"/>
                <a:gd name="T3" fmla="*/ 131 h 132"/>
                <a:gd name="T4" fmla="*/ 40 w 132"/>
                <a:gd name="T5" fmla="*/ 127 h 132"/>
                <a:gd name="T6" fmla="*/ 29 w 132"/>
                <a:gd name="T7" fmla="*/ 121 h 132"/>
                <a:gd name="T8" fmla="*/ 19 w 132"/>
                <a:gd name="T9" fmla="*/ 113 h 132"/>
                <a:gd name="T10" fmla="*/ 11 w 132"/>
                <a:gd name="T11" fmla="*/ 103 h 132"/>
                <a:gd name="T12" fmla="*/ 5 w 132"/>
                <a:gd name="T13" fmla="*/ 92 h 132"/>
                <a:gd name="T14" fmla="*/ 1 w 132"/>
                <a:gd name="T15" fmla="*/ 79 h 132"/>
                <a:gd name="T16" fmla="*/ 0 w 132"/>
                <a:gd name="T17" fmla="*/ 66 h 132"/>
                <a:gd name="T18" fmla="*/ 0 w 132"/>
                <a:gd name="T19" fmla="*/ 59 h 132"/>
                <a:gd name="T20" fmla="*/ 3 w 132"/>
                <a:gd name="T21" fmla="*/ 46 h 132"/>
                <a:gd name="T22" fmla="*/ 8 w 132"/>
                <a:gd name="T23" fmla="*/ 35 h 132"/>
                <a:gd name="T24" fmla="*/ 15 w 132"/>
                <a:gd name="T25" fmla="*/ 24 h 132"/>
                <a:gd name="T26" fmla="*/ 24 w 132"/>
                <a:gd name="T27" fmla="*/ 15 h 132"/>
                <a:gd name="T28" fmla="*/ 35 w 132"/>
                <a:gd name="T29" fmla="*/ 8 h 132"/>
                <a:gd name="T30" fmla="*/ 46 w 132"/>
                <a:gd name="T31" fmla="*/ 3 h 132"/>
                <a:gd name="T32" fmla="*/ 59 w 132"/>
                <a:gd name="T33" fmla="*/ 0 h 132"/>
                <a:gd name="T34" fmla="*/ 66 w 132"/>
                <a:gd name="T35" fmla="*/ 0 h 132"/>
                <a:gd name="T36" fmla="*/ 79 w 132"/>
                <a:gd name="T37" fmla="*/ 1 h 132"/>
                <a:gd name="T38" fmla="*/ 92 w 132"/>
                <a:gd name="T39" fmla="*/ 5 h 132"/>
                <a:gd name="T40" fmla="*/ 103 w 132"/>
                <a:gd name="T41" fmla="*/ 11 h 132"/>
                <a:gd name="T42" fmla="*/ 113 w 132"/>
                <a:gd name="T43" fmla="*/ 19 h 132"/>
                <a:gd name="T44" fmla="*/ 121 w 132"/>
                <a:gd name="T45" fmla="*/ 29 h 132"/>
                <a:gd name="T46" fmla="*/ 127 w 132"/>
                <a:gd name="T47" fmla="*/ 40 h 132"/>
                <a:gd name="T48" fmla="*/ 131 w 132"/>
                <a:gd name="T49" fmla="*/ 53 h 132"/>
                <a:gd name="T50" fmla="*/ 132 w 132"/>
                <a:gd name="T51" fmla="*/ 66 h 132"/>
                <a:gd name="T52" fmla="*/ 132 w 132"/>
                <a:gd name="T53" fmla="*/ 73 h 132"/>
                <a:gd name="T54" fmla="*/ 129 w 132"/>
                <a:gd name="T55" fmla="*/ 86 h 132"/>
                <a:gd name="T56" fmla="*/ 124 w 132"/>
                <a:gd name="T57" fmla="*/ 97 h 132"/>
                <a:gd name="T58" fmla="*/ 117 w 132"/>
                <a:gd name="T59" fmla="*/ 108 h 132"/>
                <a:gd name="T60" fmla="*/ 108 w 132"/>
                <a:gd name="T61" fmla="*/ 117 h 132"/>
                <a:gd name="T62" fmla="*/ 97 w 132"/>
                <a:gd name="T63" fmla="*/ 124 h 132"/>
                <a:gd name="T64" fmla="*/ 86 w 132"/>
                <a:gd name="T65" fmla="*/ 129 h 132"/>
                <a:gd name="T66" fmla="*/ 73 w 132"/>
                <a:gd name="T67" fmla="*/ 132 h 132"/>
                <a:gd name="T68" fmla="*/ 66 w 132"/>
                <a:gd name="T69" fmla="*/ 132 h 132"/>
                <a:gd name="T70" fmla="*/ 66 w 132"/>
                <a:gd name="T71" fmla="*/ 8 h 132"/>
                <a:gd name="T72" fmla="*/ 54 w 132"/>
                <a:gd name="T73" fmla="*/ 9 h 132"/>
                <a:gd name="T74" fmla="*/ 34 w 132"/>
                <a:gd name="T75" fmla="*/ 18 h 132"/>
                <a:gd name="T76" fmla="*/ 18 w 132"/>
                <a:gd name="T77" fmla="*/ 34 h 132"/>
                <a:gd name="T78" fmla="*/ 9 w 132"/>
                <a:gd name="T79" fmla="*/ 54 h 132"/>
                <a:gd name="T80" fmla="*/ 8 w 132"/>
                <a:gd name="T81" fmla="*/ 66 h 132"/>
                <a:gd name="T82" fmla="*/ 8 w 132"/>
                <a:gd name="T83" fmla="*/ 72 h 132"/>
                <a:gd name="T84" fmla="*/ 13 w 132"/>
                <a:gd name="T85" fmla="*/ 89 h 132"/>
                <a:gd name="T86" fmla="*/ 25 w 132"/>
                <a:gd name="T87" fmla="*/ 107 h 132"/>
                <a:gd name="T88" fmla="*/ 43 w 132"/>
                <a:gd name="T89" fmla="*/ 119 h 132"/>
                <a:gd name="T90" fmla="*/ 60 w 132"/>
                <a:gd name="T91" fmla="*/ 124 h 132"/>
                <a:gd name="T92" fmla="*/ 66 w 132"/>
                <a:gd name="T93" fmla="*/ 124 h 132"/>
                <a:gd name="T94" fmla="*/ 78 w 132"/>
                <a:gd name="T95" fmla="*/ 123 h 132"/>
                <a:gd name="T96" fmla="*/ 98 w 132"/>
                <a:gd name="T97" fmla="*/ 114 h 132"/>
                <a:gd name="T98" fmla="*/ 114 w 132"/>
                <a:gd name="T99" fmla="*/ 98 h 132"/>
                <a:gd name="T100" fmla="*/ 123 w 132"/>
                <a:gd name="T101" fmla="*/ 78 h 132"/>
                <a:gd name="T102" fmla="*/ 124 w 132"/>
                <a:gd name="T103" fmla="*/ 66 h 132"/>
                <a:gd name="T104" fmla="*/ 124 w 132"/>
                <a:gd name="T105" fmla="*/ 60 h 132"/>
                <a:gd name="T106" fmla="*/ 119 w 132"/>
                <a:gd name="T107" fmla="*/ 43 h 132"/>
                <a:gd name="T108" fmla="*/ 107 w 132"/>
                <a:gd name="T109" fmla="*/ 25 h 132"/>
                <a:gd name="T110" fmla="*/ 89 w 132"/>
                <a:gd name="T111" fmla="*/ 13 h 132"/>
                <a:gd name="T112" fmla="*/ 72 w 132"/>
                <a:gd name="T113" fmla="*/ 8 h 132"/>
                <a:gd name="T114" fmla="*/ 66 w 132"/>
                <a:gd name="T115" fmla="*/ 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lnTo>
                    <a:pt x="66" y="132"/>
                  </a:lnTo>
                  <a:lnTo>
                    <a:pt x="59" y="132"/>
                  </a:lnTo>
                  <a:lnTo>
                    <a:pt x="53" y="131"/>
                  </a:lnTo>
                  <a:lnTo>
                    <a:pt x="46" y="129"/>
                  </a:lnTo>
                  <a:lnTo>
                    <a:pt x="40" y="127"/>
                  </a:lnTo>
                  <a:lnTo>
                    <a:pt x="35" y="124"/>
                  </a:lnTo>
                  <a:lnTo>
                    <a:pt x="29" y="121"/>
                  </a:lnTo>
                  <a:lnTo>
                    <a:pt x="24" y="117"/>
                  </a:lnTo>
                  <a:lnTo>
                    <a:pt x="19" y="113"/>
                  </a:lnTo>
                  <a:lnTo>
                    <a:pt x="15" y="108"/>
                  </a:lnTo>
                  <a:lnTo>
                    <a:pt x="11" y="103"/>
                  </a:lnTo>
                  <a:lnTo>
                    <a:pt x="8" y="97"/>
                  </a:lnTo>
                  <a:lnTo>
                    <a:pt x="5" y="92"/>
                  </a:lnTo>
                  <a:lnTo>
                    <a:pt x="3" y="86"/>
                  </a:lnTo>
                  <a:lnTo>
                    <a:pt x="1" y="79"/>
                  </a:lnTo>
                  <a:lnTo>
                    <a:pt x="0" y="73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59"/>
                  </a:lnTo>
                  <a:lnTo>
                    <a:pt x="1" y="53"/>
                  </a:lnTo>
                  <a:lnTo>
                    <a:pt x="3" y="46"/>
                  </a:lnTo>
                  <a:lnTo>
                    <a:pt x="5" y="40"/>
                  </a:lnTo>
                  <a:lnTo>
                    <a:pt x="8" y="35"/>
                  </a:lnTo>
                  <a:lnTo>
                    <a:pt x="11" y="29"/>
                  </a:lnTo>
                  <a:lnTo>
                    <a:pt x="15" y="24"/>
                  </a:lnTo>
                  <a:lnTo>
                    <a:pt x="19" y="19"/>
                  </a:lnTo>
                  <a:lnTo>
                    <a:pt x="24" y="15"/>
                  </a:lnTo>
                  <a:lnTo>
                    <a:pt x="29" y="11"/>
                  </a:lnTo>
                  <a:lnTo>
                    <a:pt x="35" y="8"/>
                  </a:lnTo>
                  <a:lnTo>
                    <a:pt x="40" y="5"/>
                  </a:lnTo>
                  <a:lnTo>
                    <a:pt x="46" y="3"/>
                  </a:lnTo>
                  <a:lnTo>
                    <a:pt x="53" y="1"/>
                  </a:lnTo>
                  <a:lnTo>
                    <a:pt x="59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79" y="1"/>
                  </a:lnTo>
                  <a:lnTo>
                    <a:pt x="86" y="3"/>
                  </a:lnTo>
                  <a:lnTo>
                    <a:pt x="92" y="5"/>
                  </a:lnTo>
                  <a:lnTo>
                    <a:pt x="97" y="8"/>
                  </a:lnTo>
                  <a:lnTo>
                    <a:pt x="103" y="11"/>
                  </a:lnTo>
                  <a:lnTo>
                    <a:pt x="108" y="15"/>
                  </a:lnTo>
                  <a:lnTo>
                    <a:pt x="113" y="19"/>
                  </a:lnTo>
                  <a:lnTo>
                    <a:pt x="117" y="24"/>
                  </a:lnTo>
                  <a:lnTo>
                    <a:pt x="121" y="29"/>
                  </a:lnTo>
                  <a:lnTo>
                    <a:pt x="124" y="35"/>
                  </a:lnTo>
                  <a:lnTo>
                    <a:pt x="127" y="40"/>
                  </a:lnTo>
                  <a:lnTo>
                    <a:pt x="129" y="46"/>
                  </a:lnTo>
                  <a:lnTo>
                    <a:pt x="131" y="53"/>
                  </a:lnTo>
                  <a:lnTo>
                    <a:pt x="132" y="59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73"/>
                  </a:lnTo>
                  <a:lnTo>
                    <a:pt x="131" y="79"/>
                  </a:lnTo>
                  <a:lnTo>
                    <a:pt x="129" y="86"/>
                  </a:lnTo>
                  <a:lnTo>
                    <a:pt x="127" y="92"/>
                  </a:lnTo>
                  <a:lnTo>
                    <a:pt x="124" y="97"/>
                  </a:lnTo>
                  <a:lnTo>
                    <a:pt x="121" y="103"/>
                  </a:lnTo>
                  <a:lnTo>
                    <a:pt x="117" y="108"/>
                  </a:lnTo>
                  <a:lnTo>
                    <a:pt x="113" y="113"/>
                  </a:lnTo>
                  <a:lnTo>
                    <a:pt x="108" y="117"/>
                  </a:lnTo>
                  <a:lnTo>
                    <a:pt x="103" y="121"/>
                  </a:lnTo>
                  <a:lnTo>
                    <a:pt x="97" y="124"/>
                  </a:lnTo>
                  <a:lnTo>
                    <a:pt x="92" y="127"/>
                  </a:lnTo>
                  <a:lnTo>
                    <a:pt x="86" y="129"/>
                  </a:lnTo>
                  <a:lnTo>
                    <a:pt x="79" y="131"/>
                  </a:lnTo>
                  <a:lnTo>
                    <a:pt x="73" y="132"/>
                  </a:lnTo>
                  <a:lnTo>
                    <a:pt x="66" y="132"/>
                  </a:lnTo>
                  <a:lnTo>
                    <a:pt x="66" y="132"/>
                  </a:lnTo>
                  <a:close/>
                  <a:moveTo>
                    <a:pt x="66" y="8"/>
                  </a:moveTo>
                  <a:lnTo>
                    <a:pt x="66" y="8"/>
                  </a:lnTo>
                  <a:lnTo>
                    <a:pt x="60" y="8"/>
                  </a:lnTo>
                  <a:lnTo>
                    <a:pt x="54" y="9"/>
                  </a:lnTo>
                  <a:lnTo>
                    <a:pt x="43" y="13"/>
                  </a:lnTo>
                  <a:lnTo>
                    <a:pt x="34" y="18"/>
                  </a:lnTo>
                  <a:lnTo>
                    <a:pt x="25" y="25"/>
                  </a:lnTo>
                  <a:lnTo>
                    <a:pt x="18" y="34"/>
                  </a:lnTo>
                  <a:lnTo>
                    <a:pt x="13" y="43"/>
                  </a:lnTo>
                  <a:lnTo>
                    <a:pt x="9" y="54"/>
                  </a:lnTo>
                  <a:lnTo>
                    <a:pt x="8" y="60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72"/>
                  </a:lnTo>
                  <a:lnTo>
                    <a:pt x="9" y="78"/>
                  </a:lnTo>
                  <a:lnTo>
                    <a:pt x="13" y="89"/>
                  </a:lnTo>
                  <a:lnTo>
                    <a:pt x="18" y="98"/>
                  </a:lnTo>
                  <a:lnTo>
                    <a:pt x="25" y="107"/>
                  </a:lnTo>
                  <a:lnTo>
                    <a:pt x="34" y="114"/>
                  </a:lnTo>
                  <a:lnTo>
                    <a:pt x="43" y="119"/>
                  </a:lnTo>
                  <a:lnTo>
                    <a:pt x="54" y="123"/>
                  </a:lnTo>
                  <a:lnTo>
                    <a:pt x="60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72" y="124"/>
                  </a:lnTo>
                  <a:lnTo>
                    <a:pt x="78" y="123"/>
                  </a:lnTo>
                  <a:lnTo>
                    <a:pt x="89" y="119"/>
                  </a:lnTo>
                  <a:lnTo>
                    <a:pt x="98" y="114"/>
                  </a:lnTo>
                  <a:lnTo>
                    <a:pt x="107" y="107"/>
                  </a:lnTo>
                  <a:lnTo>
                    <a:pt x="114" y="98"/>
                  </a:lnTo>
                  <a:lnTo>
                    <a:pt x="119" y="89"/>
                  </a:lnTo>
                  <a:lnTo>
                    <a:pt x="123" y="78"/>
                  </a:lnTo>
                  <a:lnTo>
                    <a:pt x="124" y="72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0"/>
                  </a:lnTo>
                  <a:lnTo>
                    <a:pt x="123" y="54"/>
                  </a:lnTo>
                  <a:lnTo>
                    <a:pt x="119" y="43"/>
                  </a:lnTo>
                  <a:lnTo>
                    <a:pt x="114" y="34"/>
                  </a:lnTo>
                  <a:lnTo>
                    <a:pt x="107" y="25"/>
                  </a:lnTo>
                  <a:lnTo>
                    <a:pt x="98" y="18"/>
                  </a:lnTo>
                  <a:lnTo>
                    <a:pt x="89" y="13"/>
                  </a:lnTo>
                  <a:lnTo>
                    <a:pt x="78" y="9"/>
                  </a:lnTo>
                  <a:lnTo>
                    <a:pt x="72" y="8"/>
                  </a:lnTo>
                  <a:lnTo>
                    <a:pt x="66" y="8"/>
                  </a:lnTo>
                  <a:lnTo>
                    <a:pt x="6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1" name="Freeform 102">
              <a:extLst>
                <a:ext uri="{FF2B5EF4-FFF2-40B4-BE49-F238E27FC236}">
                  <a16:creationId xmlns:a16="http://schemas.microsoft.com/office/drawing/2014/main" id="{B1D1423A-2765-4B43-B514-1D372E1D2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0" y="2540"/>
              <a:ext cx="124" cy="124"/>
            </a:xfrm>
            <a:custGeom>
              <a:avLst/>
              <a:gdLst>
                <a:gd name="T0" fmla="*/ 124 w 124"/>
                <a:gd name="T1" fmla="*/ 62 h 124"/>
                <a:gd name="T2" fmla="*/ 124 w 124"/>
                <a:gd name="T3" fmla="*/ 62 h 124"/>
                <a:gd name="T4" fmla="*/ 124 w 124"/>
                <a:gd name="T5" fmla="*/ 68 h 124"/>
                <a:gd name="T6" fmla="*/ 123 w 124"/>
                <a:gd name="T7" fmla="*/ 74 h 124"/>
                <a:gd name="T8" fmla="*/ 121 w 124"/>
                <a:gd name="T9" fmla="*/ 80 h 124"/>
                <a:gd name="T10" fmla="*/ 119 w 124"/>
                <a:gd name="T11" fmla="*/ 86 h 124"/>
                <a:gd name="T12" fmla="*/ 113 w 124"/>
                <a:gd name="T13" fmla="*/ 97 h 124"/>
                <a:gd name="T14" fmla="*/ 106 w 124"/>
                <a:gd name="T15" fmla="*/ 106 h 124"/>
                <a:gd name="T16" fmla="*/ 97 w 124"/>
                <a:gd name="T17" fmla="*/ 113 h 124"/>
                <a:gd name="T18" fmla="*/ 86 w 124"/>
                <a:gd name="T19" fmla="*/ 119 h 124"/>
                <a:gd name="T20" fmla="*/ 80 w 124"/>
                <a:gd name="T21" fmla="*/ 121 h 124"/>
                <a:gd name="T22" fmla="*/ 74 w 124"/>
                <a:gd name="T23" fmla="*/ 123 h 124"/>
                <a:gd name="T24" fmla="*/ 68 w 124"/>
                <a:gd name="T25" fmla="*/ 124 h 124"/>
                <a:gd name="T26" fmla="*/ 62 w 124"/>
                <a:gd name="T27" fmla="*/ 124 h 124"/>
                <a:gd name="T28" fmla="*/ 62 w 124"/>
                <a:gd name="T29" fmla="*/ 124 h 124"/>
                <a:gd name="T30" fmla="*/ 56 w 124"/>
                <a:gd name="T31" fmla="*/ 124 h 124"/>
                <a:gd name="T32" fmla="*/ 50 w 124"/>
                <a:gd name="T33" fmla="*/ 123 h 124"/>
                <a:gd name="T34" fmla="*/ 44 w 124"/>
                <a:gd name="T35" fmla="*/ 121 h 124"/>
                <a:gd name="T36" fmla="*/ 38 w 124"/>
                <a:gd name="T37" fmla="*/ 119 h 124"/>
                <a:gd name="T38" fmla="*/ 27 w 124"/>
                <a:gd name="T39" fmla="*/ 113 h 124"/>
                <a:gd name="T40" fmla="*/ 18 w 124"/>
                <a:gd name="T41" fmla="*/ 106 h 124"/>
                <a:gd name="T42" fmla="*/ 11 w 124"/>
                <a:gd name="T43" fmla="*/ 97 h 124"/>
                <a:gd name="T44" fmla="*/ 5 w 124"/>
                <a:gd name="T45" fmla="*/ 86 h 124"/>
                <a:gd name="T46" fmla="*/ 3 w 124"/>
                <a:gd name="T47" fmla="*/ 80 h 124"/>
                <a:gd name="T48" fmla="*/ 1 w 124"/>
                <a:gd name="T49" fmla="*/ 74 h 124"/>
                <a:gd name="T50" fmla="*/ 0 w 124"/>
                <a:gd name="T51" fmla="*/ 68 h 124"/>
                <a:gd name="T52" fmla="*/ 0 w 124"/>
                <a:gd name="T53" fmla="*/ 62 h 124"/>
                <a:gd name="T54" fmla="*/ 0 w 124"/>
                <a:gd name="T55" fmla="*/ 62 h 124"/>
                <a:gd name="T56" fmla="*/ 0 w 124"/>
                <a:gd name="T57" fmla="*/ 56 h 124"/>
                <a:gd name="T58" fmla="*/ 1 w 124"/>
                <a:gd name="T59" fmla="*/ 50 h 124"/>
                <a:gd name="T60" fmla="*/ 3 w 124"/>
                <a:gd name="T61" fmla="*/ 44 h 124"/>
                <a:gd name="T62" fmla="*/ 5 w 124"/>
                <a:gd name="T63" fmla="*/ 38 h 124"/>
                <a:gd name="T64" fmla="*/ 11 w 124"/>
                <a:gd name="T65" fmla="*/ 27 h 124"/>
                <a:gd name="T66" fmla="*/ 18 w 124"/>
                <a:gd name="T67" fmla="*/ 18 h 124"/>
                <a:gd name="T68" fmla="*/ 27 w 124"/>
                <a:gd name="T69" fmla="*/ 11 h 124"/>
                <a:gd name="T70" fmla="*/ 38 w 124"/>
                <a:gd name="T71" fmla="*/ 5 h 124"/>
                <a:gd name="T72" fmla="*/ 44 w 124"/>
                <a:gd name="T73" fmla="*/ 3 h 124"/>
                <a:gd name="T74" fmla="*/ 50 w 124"/>
                <a:gd name="T75" fmla="*/ 1 h 124"/>
                <a:gd name="T76" fmla="*/ 56 w 124"/>
                <a:gd name="T77" fmla="*/ 0 h 124"/>
                <a:gd name="T78" fmla="*/ 62 w 124"/>
                <a:gd name="T79" fmla="*/ 0 h 124"/>
                <a:gd name="T80" fmla="*/ 62 w 124"/>
                <a:gd name="T81" fmla="*/ 0 h 124"/>
                <a:gd name="T82" fmla="*/ 68 w 124"/>
                <a:gd name="T83" fmla="*/ 0 h 124"/>
                <a:gd name="T84" fmla="*/ 74 w 124"/>
                <a:gd name="T85" fmla="*/ 1 h 124"/>
                <a:gd name="T86" fmla="*/ 80 w 124"/>
                <a:gd name="T87" fmla="*/ 3 h 124"/>
                <a:gd name="T88" fmla="*/ 86 w 124"/>
                <a:gd name="T89" fmla="*/ 5 h 124"/>
                <a:gd name="T90" fmla="*/ 97 w 124"/>
                <a:gd name="T91" fmla="*/ 11 h 124"/>
                <a:gd name="T92" fmla="*/ 106 w 124"/>
                <a:gd name="T93" fmla="*/ 18 h 124"/>
                <a:gd name="T94" fmla="*/ 113 w 124"/>
                <a:gd name="T95" fmla="*/ 27 h 124"/>
                <a:gd name="T96" fmla="*/ 119 w 124"/>
                <a:gd name="T97" fmla="*/ 38 h 124"/>
                <a:gd name="T98" fmla="*/ 121 w 124"/>
                <a:gd name="T99" fmla="*/ 44 h 124"/>
                <a:gd name="T100" fmla="*/ 123 w 124"/>
                <a:gd name="T101" fmla="*/ 50 h 124"/>
                <a:gd name="T102" fmla="*/ 124 w 124"/>
                <a:gd name="T103" fmla="*/ 56 h 124"/>
                <a:gd name="T104" fmla="*/ 124 w 124"/>
                <a:gd name="T105" fmla="*/ 62 h 124"/>
                <a:gd name="T106" fmla="*/ 124 w 124"/>
                <a:gd name="T107" fmla="*/ 6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124">
                  <a:moveTo>
                    <a:pt x="124" y="62"/>
                  </a:moveTo>
                  <a:lnTo>
                    <a:pt x="124" y="62"/>
                  </a:lnTo>
                  <a:lnTo>
                    <a:pt x="124" y="68"/>
                  </a:lnTo>
                  <a:lnTo>
                    <a:pt x="123" y="74"/>
                  </a:lnTo>
                  <a:lnTo>
                    <a:pt x="121" y="80"/>
                  </a:lnTo>
                  <a:lnTo>
                    <a:pt x="119" y="86"/>
                  </a:lnTo>
                  <a:lnTo>
                    <a:pt x="113" y="97"/>
                  </a:lnTo>
                  <a:lnTo>
                    <a:pt x="106" y="106"/>
                  </a:lnTo>
                  <a:lnTo>
                    <a:pt x="97" y="113"/>
                  </a:lnTo>
                  <a:lnTo>
                    <a:pt x="86" y="119"/>
                  </a:lnTo>
                  <a:lnTo>
                    <a:pt x="80" y="121"/>
                  </a:lnTo>
                  <a:lnTo>
                    <a:pt x="74" y="123"/>
                  </a:lnTo>
                  <a:lnTo>
                    <a:pt x="68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56" y="124"/>
                  </a:lnTo>
                  <a:lnTo>
                    <a:pt x="50" y="123"/>
                  </a:lnTo>
                  <a:lnTo>
                    <a:pt x="44" y="121"/>
                  </a:lnTo>
                  <a:lnTo>
                    <a:pt x="38" y="119"/>
                  </a:lnTo>
                  <a:lnTo>
                    <a:pt x="27" y="113"/>
                  </a:lnTo>
                  <a:lnTo>
                    <a:pt x="18" y="106"/>
                  </a:lnTo>
                  <a:lnTo>
                    <a:pt x="11" y="97"/>
                  </a:lnTo>
                  <a:lnTo>
                    <a:pt x="5" y="86"/>
                  </a:lnTo>
                  <a:lnTo>
                    <a:pt x="3" y="80"/>
                  </a:lnTo>
                  <a:lnTo>
                    <a:pt x="1" y="74"/>
                  </a:lnTo>
                  <a:lnTo>
                    <a:pt x="0" y="68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6"/>
                  </a:lnTo>
                  <a:lnTo>
                    <a:pt x="1" y="50"/>
                  </a:lnTo>
                  <a:lnTo>
                    <a:pt x="3" y="44"/>
                  </a:lnTo>
                  <a:lnTo>
                    <a:pt x="5" y="38"/>
                  </a:lnTo>
                  <a:lnTo>
                    <a:pt x="11" y="27"/>
                  </a:lnTo>
                  <a:lnTo>
                    <a:pt x="18" y="18"/>
                  </a:lnTo>
                  <a:lnTo>
                    <a:pt x="27" y="11"/>
                  </a:lnTo>
                  <a:lnTo>
                    <a:pt x="38" y="5"/>
                  </a:lnTo>
                  <a:lnTo>
                    <a:pt x="44" y="3"/>
                  </a:lnTo>
                  <a:lnTo>
                    <a:pt x="50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4" y="1"/>
                  </a:lnTo>
                  <a:lnTo>
                    <a:pt x="80" y="3"/>
                  </a:lnTo>
                  <a:lnTo>
                    <a:pt x="86" y="5"/>
                  </a:lnTo>
                  <a:lnTo>
                    <a:pt x="97" y="11"/>
                  </a:lnTo>
                  <a:lnTo>
                    <a:pt x="106" y="18"/>
                  </a:lnTo>
                  <a:lnTo>
                    <a:pt x="113" y="27"/>
                  </a:lnTo>
                  <a:lnTo>
                    <a:pt x="119" y="38"/>
                  </a:lnTo>
                  <a:lnTo>
                    <a:pt x="121" y="44"/>
                  </a:lnTo>
                  <a:lnTo>
                    <a:pt x="123" y="50"/>
                  </a:lnTo>
                  <a:lnTo>
                    <a:pt x="124" y="56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2" name="Freeform 103">
              <a:extLst>
                <a:ext uri="{FF2B5EF4-FFF2-40B4-BE49-F238E27FC236}">
                  <a16:creationId xmlns:a16="http://schemas.microsoft.com/office/drawing/2014/main" id="{5FDC1215-E25D-4D7A-86A3-59500C7807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6" y="2536"/>
              <a:ext cx="132" cy="132"/>
            </a:xfrm>
            <a:custGeom>
              <a:avLst/>
              <a:gdLst>
                <a:gd name="T0" fmla="*/ 66 w 132"/>
                <a:gd name="T1" fmla="*/ 132 h 132"/>
                <a:gd name="T2" fmla="*/ 53 w 132"/>
                <a:gd name="T3" fmla="*/ 131 h 132"/>
                <a:gd name="T4" fmla="*/ 40 w 132"/>
                <a:gd name="T5" fmla="*/ 127 h 132"/>
                <a:gd name="T6" fmla="*/ 29 w 132"/>
                <a:gd name="T7" fmla="*/ 121 h 132"/>
                <a:gd name="T8" fmla="*/ 19 w 132"/>
                <a:gd name="T9" fmla="*/ 113 h 132"/>
                <a:gd name="T10" fmla="*/ 11 w 132"/>
                <a:gd name="T11" fmla="*/ 103 h 132"/>
                <a:gd name="T12" fmla="*/ 5 w 132"/>
                <a:gd name="T13" fmla="*/ 92 h 132"/>
                <a:gd name="T14" fmla="*/ 1 w 132"/>
                <a:gd name="T15" fmla="*/ 79 h 132"/>
                <a:gd name="T16" fmla="*/ 0 w 132"/>
                <a:gd name="T17" fmla="*/ 66 h 132"/>
                <a:gd name="T18" fmla="*/ 0 w 132"/>
                <a:gd name="T19" fmla="*/ 59 h 132"/>
                <a:gd name="T20" fmla="*/ 3 w 132"/>
                <a:gd name="T21" fmla="*/ 46 h 132"/>
                <a:gd name="T22" fmla="*/ 8 w 132"/>
                <a:gd name="T23" fmla="*/ 35 h 132"/>
                <a:gd name="T24" fmla="*/ 15 w 132"/>
                <a:gd name="T25" fmla="*/ 24 h 132"/>
                <a:gd name="T26" fmla="*/ 24 w 132"/>
                <a:gd name="T27" fmla="*/ 15 h 132"/>
                <a:gd name="T28" fmla="*/ 35 w 132"/>
                <a:gd name="T29" fmla="*/ 8 h 132"/>
                <a:gd name="T30" fmla="*/ 46 w 132"/>
                <a:gd name="T31" fmla="*/ 3 h 132"/>
                <a:gd name="T32" fmla="*/ 59 w 132"/>
                <a:gd name="T33" fmla="*/ 0 h 132"/>
                <a:gd name="T34" fmla="*/ 66 w 132"/>
                <a:gd name="T35" fmla="*/ 0 h 132"/>
                <a:gd name="T36" fmla="*/ 79 w 132"/>
                <a:gd name="T37" fmla="*/ 1 h 132"/>
                <a:gd name="T38" fmla="*/ 92 w 132"/>
                <a:gd name="T39" fmla="*/ 5 h 132"/>
                <a:gd name="T40" fmla="*/ 103 w 132"/>
                <a:gd name="T41" fmla="*/ 11 h 132"/>
                <a:gd name="T42" fmla="*/ 113 w 132"/>
                <a:gd name="T43" fmla="*/ 19 h 132"/>
                <a:gd name="T44" fmla="*/ 121 w 132"/>
                <a:gd name="T45" fmla="*/ 29 h 132"/>
                <a:gd name="T46" fmla="*/ 127 w 132"/>
                <a:gd name="T47" fmla="*/ 40 h 132"/>
                <a:gd name="T48" fmla="*/ 131 w 132"/>
                <a:gd name="T49" fmla="*/ 53 h 132"/>
                <a:gd name="T50" fmla="*/ 132 w 132"/>
                <a:gd name="T51" fmla="*/ 66 h 132"/>
                <a:gd name="T52" fmla="*/ 132 w 132"/>
                <a:gd name="T53" fmla="*/ 73 h 132"/>
                <a:gd name="T54" fmla="*/ 129 w 132"/>
                <a:gd name="T55" fmla="*/ 86 h 132"/>
                <a:gd name="T56" fmla="*/ 124 w 132"/>
                <a:gd name="T57" fmla="*/ 97 h 132"/>
                <a:gd name="T58" fmla="*/ 117 w 132"/>
                <a:gd name="T59" fmla="*/ 108 h 132"/>
                <a:gd name="T60" fmla="*/ 108 w 132"/>
                <a:gd name="T61" fmla="*/ 117 h 132"/>
                <a:gd name="T62" fmla="*/ 97 w 132"/>
                <a:gd name="T63" fmla="*/ 124 h 132"/>
                <a:gd name="T64" fmla="*/ 86 w 132"/>
                <a:gd name="T65" fmla="*/ 129 h 132"/>
                <a:gd name="T66" fmla="*/ 73 w 132"/>
                <a:gd name="T67" fmla="*/ 132 h 132"/>
                <a:gd name="T68" fmla="*/ 66 w 132"/>
                <a:gd name="T69" fmla="*/ 132 h 132"/>
                <a:gd name="T70" fmla="*/ 66 w 132"/>
                <a:gd name="T71" fmla="*/ 8 h 132"/>
                <a:gd name="T72" fmla="*/ 54 w 132"/>
                <a:gd name="T73" fmla="*/ 9 h 132"/>
                <a:gd name="T74" fmla="*/ 34 w 132"/>
                <a:gd name="T75" fmla="*/ 18 h 132"/>
                <a:gd name="T76" fmla="*/ 18 w 132"/>
                <a:gd name="T77" fmla="*/ 34 h 132"/>
                <a:gd name="T78" fmla="*/ 9 w 132"/>
                <a:gd name="T79" fmla="*/ 54 h 132"/>
                <a:gd name="T80" fmla="*/ 8 w 132"/>
                <a:gd name="T81" fmla="*/ 66 h 132"/>
                <a:gd name="T82" fmla="*/ 8 w 132"/>
                <a:gd name="T83" fmla="*/ 72 h 132"/>
                <a:gd name="T84" fmla="*/ 13 w 132"/>
                <a:gd name="T85" fmla="*/ 89 h 132"/>
                <a:gd name="T86" fmla="*/ 25 w 132"/>
                <a:gd name="T87" fmla="*/ 107 h 132"/>
                <a:gd name="T88" fmla="*/ 43 w 132"/>
                <a:gd name="T89" fmla="*/ 119 h 132"/>
                <a:gd name="T90" fmla="*/ 60 w 132"/>
                <a:gd name="T91" fmla="*/ 124 h 132"/>
                <a:gd name="T92" fmla="*/ 66 w 132"/>
                <a:gd name="T93" fmla="*/ 124 h 132"/>
                <a:gd name="T94" fmla="*/ 78 w 132"/>
                <a:gd name="T95" fmla="*/ 123 h 132"/>
                <a:gd name="T96" fmla="*/ 98 w 132"/>
                <a:gd name="T97" fmla="*/ 114 h 132"/>
                <a:gd name="T98" fmla="*/ 114 w 132"/>
                <a:gd name="T99" fmla="*/ 98 h 132"/>
                <a:gd name="T100" fmla="*/ 123 w 132"/>
                <a:gd name="T101" fmla="*/ 78 h 132"/>
                <a:gd name="T102" fmla="*/ 124 w 132"/>
                <a:gd name="T103" fmla="*/ 66 h 132"/>
                <a:gd name="T104" fmla="*/ 124 w 132"/>
                <a:gd name="T105" fmla="*/ 60 h 132"/>
                <a:gd name="T106" fmla="*/ 119 w 132"/>
                <a:gd name="T107" fmla="*/ 43 h 132"/>
                <a:gd name="T108" fmla="*/ 107 w 132"/>
                <a:gd name="T109" fmla="*/ 25 h 132"/>
                <a:gd name="T110" fmla="*/ 89 w 132"/>
                <a:gd name="T111" fmla="*/ 13 h 132"/>
                <a:gd name="T112" fmla="*/ 72 w 132"/>
                <a:gd name="T113" fmla="*/ 8 h 132"/>
                <a:gd name="T114" fmla="*/ 66 w 132"/>
                <a:gd name="T115" fmla="*/ 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lnTo>
                    <a:pt x="66" y="132"/>
                  </a:lnTo>
                  <a:lnTo>
                    <a:pt x="59" y="132"/>
                  </a:lnTo>
                  <a:lnTo>
                    <a:pt x="53" y="131"/>
                  </a:lnTo>
                  <a:lnTo>
                    <a:pt x="46" y="129"/>
                  </a:lnTo>
                  <a:lnTo>
                    <a:pt x="40" y="127"/>
                  </a:lnTo>
                  <a:lnTo>
                    <a:pt x="35" y="124"/>
                  </a:lnTo>
                  <a:lnTo>
                    <a:pt x="29" y="121"/>
                  </a:lnTo>
                  <a:lnTo>
                    <a:pt x="24" y="117"/>
                  </a:lnTo>
                  <a:lnTo>
                    <a:pt x="19" y="113"/>
                  </a:lnTo>
                  <a:lnTo>
                    <a:pt x="15" y="108"/>
                  </a:lnTo>
                  <a:lnTo>
                    <a:pt x="11" y="103"/>
                  </a:lnTo>
                  <a:lnTo>
                    <a:pt x="8" y="97"/>
                  </a:lnTo>
                  <a:lnTo>
                    <a:pt x="5" y="92"/>
                  </a:lnTo>
                  <a:lnTo>
                    <a:pt x="3" y="86"/>
                  </a:lnTo>
                  <a:lnTo>
                    <a:pt x="1" y="79"/>
                  </a:lnTo>
                  <a:lnTo>
                    <a:pt x="0" y="73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59"/>
                  </a:lnTo>
                  <a:lnTo>
                    <a:pt x="1" y="53"/>
                  </a:lnTo>
                  <a:lnTo>
                    <a:pt x="3" y="46"/>
                  </a:lnTo>
                  <a:lnTo>
                    <a:pt x="5" y="40"/>
                  </a:lnTo>
                  <a:lnTo>
                    <a:pt x="8" y="35"/>
                  </a:lnTo>
                  <a:lnTo>
                    <a:pt x="11" y="29"/>
                  </a:lnTo>
                  <a:lnTo>
                    <a:pt x="15" y="24"/>
                  </a:lnTo>
                  <a:lnTo>
                    <a:pt x="19" y="19"/>
                  </a:lnTo>
                  <a:lnTo>
                    <a:pt x="24" y="15"/>
                  </a:lnTo>
                  <a:lnTo>
                    <a:pt x="29" y="11"/>
                  </a:lnTo>
                  <a:lnTo>
                    <a:pt x="35" y="8"/>
                  </a:lnTo>
                  <a:lnTo>
                    <a:pt x="40" y="5"/>
                  </a:lnTo>
                  <a:lnTo>
                    <a:pt x="46" y="3"/>
                  </a:lnTo>
                  <a:lnTo>
                    <a:pt x="53" y="1"/>
                  </a:lnTo>
                  <a:lnTo>
                    <a:pt x="59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79" y="1"/>
                  </a:lnTo>
                  <a:lnTo>
                    <a:pt x="86" y="3"/>
                  </a:lnTo>
                  <a:lnTo>
                    <a:pt x="92" y="5"/>
                  </a:lnTo>
                  <a:lnTo>
                    <a:pt x="97" y="8"/>
                  </a:lnTo>
                  <a:lnTo>
                    <a:pt x="103" y="11"/>
                  </a:lnTo>
                  <a:lnTo>
                    <a:pt x="108" y="15"/>
                  </a:lnTo>
                  <a:lnTo>
                    <a:pt x="113" y="19"/>
                  </a:lnTo>
                  <a:lnTo>
                    <a:pt x="117" y="24"/>
                  </a:lnTo>
                  <a:lnTo>
                    <a:pt x="121" y="29"/>
                  </a:lnTo>
                  <a:lnTo>
                    <a:pt x="124" y="35"/>
                  </a:lnTo>
                  <a:lnTo>
                    <a:pt x="127" y="40"/>
                  </a:lnTo>
                  <a:lnTo>
                    <a:pt x="129" y="46"/>
                  </a:lnTo>
                  <a:lnTo>
                    <a:pt x="131" y="53"/>
                  </a:lnTo>
                  <a:lnTo>
                    <a:pt x="132" y="59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73"/>
                  </a:lnTo>
                  <a:lnTo>
                    <a:pt x="131" y="79"/>
                  </a:lnTo>
                  <a:lnTo>
                    <a:pt x="129" y="86"/>
                  </a:lnTo>
                  <a:lnTo>
                    <a:pt x="127" y="92"/>
                  </a:lnTo>
                  <a:lnTo>
                    <a:pt x="124" y="97"/>
                  </a:lnTo>
                  <a:lnTo>
                    <a:pt x="121" y="103"/>
                  </a:lnTo>
                  <a:lnTo>
                    <a:pt x="117" y="108"/>
                  </a:lnTo>
                  <a:lnTo>
                    <a:pt x="113" y="113"/>
                  </a:lnTo>
                  <a:lnTo>
                    <a:pt x="108" y="117"/>
                  </a:lnTo>
                  <a:lnTo>
                    <a:pt x="103" y="121"/>
                  </a:lnTo>
                  <a:lnTo>
                    <a:pt x="97" y="124"/>
                  </a:lnTo>
                  <a:lnTo>
                    <a:pt x="92" y="127"/>
                  </a:lnTo>
                  <a:lnTo>
                    <a:pt x="86" y="129"/>
                  </a:lnTo>
                  <a:lnTo>
                    <a:pt x="79" y="131"/>
                  </a:lnTo>
                  <a:lnTo>
                    <a:pt x="73" y="132"/>
                  </a:lnTo>
                  <a:lnTo>
                    <a:pt x="66" y="132"/>
                  </a:lnTo>
                  <a:lnTo>
                    <a:pt x="66" y="132"/>
                  </a:lnTo>
                  <a:close/>
                  <a:moveTo>
                    <a:pt x="66" y="8"/>
                  </a:moveTo>
                  <a:lnTo>
                    <a:pt x="66" y="8"/>
                  </a:lnTo>
                  <a:lnTo>
                    <a:pt x="60" y="8"/>
                  </a:lnTo>
                  <a:lnTo>
                    <a:pt x="54" y="9"/>
                  </a:lnTo>
                  <a:lnTo>
                    <a:pt x="43" y="13"/>
                  </a:lnTo>
                  <a:lnTo>
                    <a:pt x="34" y="18"/>
                  </a:lnTo>
                  <a:lnTo>
                    <a:pt x="25" y="25"/>
                  </a:lnTo>
                  <a:lnTo>
                    <a:pt x="18" y="34"/>
                  </a:lnTo>
                  <a:lnTo>
                    <a:pt x="13" y="43"/>
                  </a:lnTo>
                  <a:lnTo>
                    <a:pt x="9" y="54"/>
                  </a:lnTo>
                  <a:lnTo>
                    <a:pt x="8" y="60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72"/>
                  </a:lnTo>
                  <a:lnTo>
                    <a:pt x="9" y="78"/>
                  </a:lnTo>
                  <a:lnTo>
                    <a:pt x="13" y="89"/>
                  </a:lnTo>
                  <a:lnTo>
                    <a:pt x="18" y="98"/>
                  </a:lnTo>
                  <a:lnTo>
                    <a:pt x="25" y="107"/>
                  </a:lnTo>
                  <a:lnTo>
                    <a:pt x="34" y="114"/>
                  </a:lnTo>
                  <a:lnTo>
                    <a:pt x="43" y="119"/>
                  </a:lnTo>
                  <a:lnTo>
                    <a:pt x="54" y="123"/>
                  </a:lnTo>
                  <a:lnTo>
                    <a:pt x="60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72" y="124"/>
                  </a:lnTo>
                  <a:lnTo>
                    <a:pt x="78" y="123"/>
                  </a:lnTo>
                  <a:lnTo>
                    <a:pt x="89" y="119"/>
                  </a:lnTo>
                  <a:lnTo>
                    <a:pt x="98" y="114"/>
                  </a:lnTo>
                  <a:lnTo>
                    <a:pt x="107" y="107"/>
                  </a:lnTo>
                  <a:lnTo>
                    <a:pt x="114" y="98"/>
                  </a:lnTo>
                  <a:lnTo>
                    <a:pt x="119" y="89"/>
                  </a:lnTo>
                  <a:lnTo>
                    <a:pt x="123" y="78"/>
                  </a:lnTo>
                  <a:lnTo>
                    <a:pt x="124" y="72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0"/>
                  </a:lnTo>
                  <a:lnTo>
                    <a:pt x="123" y="54"/>
                  </a:lnTo>
                  <a:lnTo>
                    <a:pt x="119" y="43"/>
                  </a:lnTo>
                  <a:lnTo>
                    <a:pt x="114" y="34"/>
                  </a:lnTo>
                  <a:lnTo>
                    <a:pt x="107" y="25"/>
                  </a:lnTo>
                  <a:lnTo>
                    <a:pt x="98" y="18"/>
                  </a:lnTo>
                  <a:lnTo>
                    <a:pt x="89" y="13"/>
                  </a:lnTo>
                  <a:lnTo>
                    <a:pt x="78" y="9"/>
                  </a:lnTo>
                  <a:lnTo>
                    <a:pt x="72" y="8"/>
                  </a:lnTo>
                  <a:lnTo>
                    <a:pt x="66" y="8"/>
                  </a:lnTo>
                  <a:lnTo>
                    <a:pt x="6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3" name="Freeform 104">
              <a:extLst>
                <a:ext uri="{FF2B5EF4-FFF2-40B4-BE49-F238E27FC236}">
                  <a16:creationId xmlns:a16="http://schemas.microsoft.com/office/drawing/2014/main" id="{A755EB49-D769-413C-8AC3-2AD167190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5" y="2867"/>
              <a:ext cx="311" cy="345"/>
            </a:xfrm>
            <a:custGeom>
              <a:avLst/>
              <a:gdLst>
                <a:gd name="T0" fmla="*/ 311 w 311"/>
                <a:gd name="T1" fmla="*/ 345 h 345"/>
                <a:gd name="T2" fmla="*/ 0 w 311"/>
                <a:gd name="T3" fmla="*/ 345 h 345"/>
                <a:gd name="T4" fmla="*/ 32 w 311"/>
                <a:gd name="T5" fmla="*/ 59 h 345"/>
                <a:gd name="T6" fmla="*/ 32 w 311"/>
                <a:gd name="T7" fmla="*/ 59 h 345"/>
                <a:gd name="T8" fmla="*/ 34 w 311"/>
                <a:gd name="T9" fmla="*/ 47 h 345"/>
                <a:gd name="T10" fmla="*/ 39 w 311"/>
                <a:gd name="T11" fmla="*/ 36 h 345"/>
                <a:gd name="T12" fmla="*/ 45 w 311"/>
                <a:gd name="T13" fmla="*/ 26 h 345"/>
                <a:gd name="T14" fmla="*/ 53 w 311"/>
                <a:gd name="T15" fmla="*/ 17 h 345"/>
                <a:gd name="T16" fmla="*/ 63 w 311"/>
                <a:gd name="T17" fmla="*/ 10 h 345"/>
                <a:gd name="T18" fmla="*/ 73 w 311"/>
                <a:gd name="T19" fmla="*/ 5 h 345"/>
                <a:gd name="T20" fmla="*/ 85 w 311"/>
                <a:gd name="T21" fmla="*/ 1 h 345"/>
                <a:gd name="T22" fmla="*/ 97 w 311"/>
                <a:gd name="T23" fmla="*/ 0 h 345"/>
                <a:gd name="T24" fmla="*/ 214 w 311"/>
                <a:gd name="T25" fmla="*/ 0 h 345"/>
                <a:gd name="T26" fmla="*/ 214 w 311"/>
                <a:gd name="T27" fmla="*/ 0 h 345"/>
                <a:gd name="T28" fmla="*/ 226 w 311"/>
                <a:gd name="T29" fmla="*/ 1 h 345"/>
                <a:gd name="T30" fmla="*/ 238 w 311"/>
                <a:gd name="T31" fmla="*/ 5 h 345"/>
                <a:gd name="T32" fmla="*/ 248 w 311"/>
                <a:gd name="T33" fmla="*/ 10 h 345"/>
                <a:gd name="T34" fmla="*/ 258 w 311"/>
                <a:gd name="T35" fmla="*/ 17 h 345"/>
                <a:gd name="T36" fmla="*/ 266 w 311"/>
                <a:gd name="T37" fmla="*/ 26 h 345"/>
                <a:gd name="T38" fmla="*/ 272 w 311"/>
                <a:gd name="T39" fmla="*/ 36 h 345"/>
                <a:gd name="T40" fmla="*/ 277 w 311"/>
                <a:gd name="T41" fmla="*/ 47 h 345"/>
                <a:gd name="T42" fmla="*/ 280 w 311"/>
                <a:gd name="T43" fmla="*/ 59 h 345"/>
                <a:gd name="T44" fmla="*/ 311 w 311"/>
                <a:gd name="T45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1" h="345">
                  <a:moveTo>
                    <a:pt x="311" y="345"/>
                  </a:moveTo>
                  <a:lnTo>
                    <a:pt x="0" y="345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4" y="47"/>
                  </a:lnTo>
                  <a:lnTo>
                    <a:pt x="39" y="36"/>
                  </a:lnTo>
                  <a:lnTo>
                    <a:pt x="45" y="26"/>
                  </a:lnTo>
                  <a:lnTo>
                    <a:pt x="53" y="17"/>
                  </a:lnTo>
                  <a:lnTo>
                    <a:pt x="63" y="10"/>
                  </a:lnTo>
                  <a:lnTo>
                    <a:pt x="73" y="5"/>
                  </a:lnTo>
                  <a:lnTo>
                    <a:pt x="85" y="1"/>
                  </a:lnTo>
                  <a:lnTo>
                    <a:pt x="97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26" y="1"/>
                  </a:lnTo>
                  <a:lnTo>
                    <a:pt x="238" y="5"/>
                  </a:lnTo>
                  <a:lnTo>
                    <a:pt x="248" y="10"/>
                  </a:lnTo>
                  <a:lnTo>
                    <a:pt x="258" y="17"/>
                  </a:lnTo>
                  <a:lnTo>
                    <a:pt x="266" y="26"/>
                  </a:lnTo>
                  <a:lnTo>
                    <a:pt x="272" y="36"/>
                  </a:lnTo>
                  <a:lnTo>
                    <a:pt x="277" y="47"/>
                  </a:lnTo>
                  <a:lnTo>
                    <a:pt x="280" y="59"/>
                  </a:lnTo>
                  <a:lnTo>
                    <a:pt x="311" y="3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4" name="Freeform 105">
              <a:extLst>
                <a:ext uri="{FF2B5EF4-FFF2-40B4-BE49-F238E27FC236}">
                  <a16:creationId xmlns:a16="http://schemas.microsoft.com/office/drawing/2014/main" id="{8980DA7A-A3B8-4830-9639-80F2387323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1" y="2863"/>
              <a:ext cx="319" cy="353"/>
            </a:xfrm>
            <a:custGeom>
              <a:avLst/>
              <a:gdLst>
                <a:gd name="T0" fmla="*/ 319 w 319"/>
                <a:gd name="T1" fmla="*/ 353 h 353"/>
                <a:gd name="T2" fmla="*/ 0 w 319"/>
                <a:gd name="T3" fmla="*/ 353 h 353"/>
                <a:gd name="T4" fmla="*/ 32 w 319"/>
                <a:gd name="T5" fmla="*/ 63 h 353"/>
                <a:gd name="T6" fmla="*/ 32 w 319"/>
                <a:gd name="T7" fmla="*/ 63 h 353"/>
                <a:gd name="T8" fmla="*/ 33 w 319"/>
                <a:gd name="T9" fmla="*/ 56 h 353"/>
                <a:gd name="T10" fmla="*/ 34 w 319"/>
                <a:gd name="T11" fmla="*/ 50 h 353"/>
                <a:gd name="T12" fmla="*/ 39 w 319"/>
                <a:gd name="T13" fmla="*/ 38 h 353"/>
                <a:gd name="T14" fmla="*/ 46 w 319"/>
                <a:gd name="T15" fmla="*/ 27 h 353"/>
                <a:gd name="T16" fmla="*/ 54 w 319"/>
                <a:gd name="T17" fmla="*/ 18 h 353"/>
                <a:gd name="T18" fmla="*/ 65 w 319"/>
                <a:gd name="T19" fmla="*/ 11 h 353"/>
                <a:gd name="T20" fmla="*/ 76 w 319"/>
                <a:gd name="T21" fmla="*/ 5 h 353"/>
                <a:gd name="T22" fmla="*/ 88 w 319"/>
                <a:gd name="T23" fmla="*/ 2 h 353"/>
                <a:gd name="T24" fmla="*/ 95 w 319"/>
                <a:gd name="T25" fmla="*/ 1 h 353"/>
                <a:gd name="T26" fmla="*/ 101 w 319"/>
                <a:gd name="T27" fmla="*/ 0 h 353"/>
                <a:gd name="T28" fmla="*/ 218 w 319"/>
                <a:gd name="T29" fmla="*/ 0 h 353"/>
                <a:gd name="T30" fmla="*/ 218 w 319"/>
                <a:gd name="T31" fmla="*/ 0 h 353"/>
                <a:gd name="T32" fmla="*/ 224 w 319"/>
                <a:gd name="T33" fmla="*/ 1 h 353"/>
                <a:gd name="T34" fmla="*/ 231 w 319"/>
                <a:gd name="T35" fmla="*/ 2 h 353"/>
                <a:gd name="T36" fmla="*/ 243 w 319"/>
                <a:gd name="T37" fmla="*/ 5 h 353"/>
                <a:gd name="T38" fmla="*/ 255 w 319"/>
                <a:gd name="T39" fmla="*/ 11 h 353"/>
                <a:gd name="T40" fmla="*/ 265 w 319"/>
                <a:gd name="T41" fmla="*/ 18 h 353"/>
                <a:gd name="T42" fmla="*/ 273 w 319"/>
                <a:gd name="T43" fmla="*/ 27 h 353"/>
                <a:gd name="T44" fmla="*/ 280 w 319"/>
                <a:gd name="T45" fmla="*/ 38 h 353"/>
                <a:gd name="T46" fmla="*/ 285 w 319"/>
                <a:gd name="T47" fmla="*/ 50 h 353"/>
                <a:gd name="T48" fmla="*/ 287 w 319"/>
                <a:gd name="T49" fmla="*/ 56 h 353"/>
                <a:gd name="T50" fmla="*/ 288 w 319"/>
                <a:gd name="T51" fmla="*/ 63 h 353"/>
                <a:gd name="T52" fmla="*/ 319 w 319"/>
                <a:gd name="T53" fmla="*/ 353 h 353"/>
                <a:gd name="T54" fmla="*/ 9 w 319"/>
                <a:gd name="T55" fmla="*/ 345 h 353"/>
                <a:gd name="T56" fmla="*/ 310 w 319"/>
                <a:gd name="T57" fmla="*/ 345 h 353"/>
                <a:gd name="T58" fmla="*/ 280 w 319"/>
                <a:gd name="T59" fmla="*/ 64 h 353"/>
                <a:gd name="T60" fmla="*/ 280 w 319"/>
                <a:gd name="T61" fmla="*/ 64 h 353"/>
                <a:gd name="T62" fmla="*/ 277 w 319"/>
                <a:gd name="T63" fmla="*/ 52 h 353"/>
                <a:gd name="T64" fmla="*/ 273 w 319"/>
                <a:gd name="T65" fmla="*/ 42 h 353"/>
                <a:gd name="T66" fmla="*/ 267 w 319"/>
                <a:gd name="T67" fmla="*/ 32 h 353"/>
                <a:gd name="T68" fmla="*/ 259 w 319"/>
                <a:gd name="T69" fmla="*/ 24 h 353"/>
                <a:gd name="T70" fmla="*/ 250 w 319"/>
                <a:gd name="T71" fmla="*/ 18 h 353"/>
                <a:gd name="T72" fmla="*/ 240 w 319"/>
                <a:gd name="T73" fmla="*/ 13 h 353"/>
                <a:gd name="T74" fmla="*/ 229 w 319"/>
                <a:gd name="T75" fmla="*/ 9 h 353"/>
                <a:gd name="T76" fmla="*/ 218 w 319"/>
                <a:gd name="T77" fmla="*/ 8 h 353"/>
                <a:gd name="T78" fmla="*/ 101 w 319"/>
                <a:gd name="T79" fmla="*/ 8 h 353"/>
                <a:gd name="T80" fmla="*/ 101 w 319"/>
                <a:gd name="T81" fmla="*/ 8 h 353"/>
                <a:gd name="T82" fmla="*/ 90 w 319"/>
                <a:gd name="T83" fmla="*/ 9 h 353"/>
                <a:gd name="T84" fmla="*/ 79 w 319"/>
                <a:gd name="T85" fmla="*/ 13 h 353"/>
                <a:gd name="T86" fmla="*/ 69 w 319"/>
                <a:gd name="T87" fmla="*/ 18 h 353"/>
                <a:gd name="T88" fmla="*/ 60 w 319"/>
                <a:gd name="T89" fmla="*/ 24 h 353"/>
                <a:gd name="T90" fmla="*/ 52 w 319"/>
                <a:gd name="T91" fmla="*/ 32 h 353"/>
                <a:gd name="T92" fmla="*/ 46 w 319"/>
                <a:gd name="T93" fmla="*/ 42 h 353"/>
                <a:gd name="T94" fmla="*/ 42 w 319"/>
                <a:gd name="T95" fmla="*/ 52 h 353"/>
                <a:gd name="T96" fmla="*/ 39 w 319"/>
                <a:gd name="T97" fmla="*/ 64 h 353"/>
                <a:gd name="T98" fmla="*/ 9 w 319"/>
                <a:gd name="T99" fmla="*/ 34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9" h="353">
                  <a:moveTo>
                    <a:pt x="319" y="353"/>
                  </a:moveTo>
                  <a:lnTo>
                    <a:pt x="0" y="35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3" y="56"/>
                  </a:lnTo>
                  <a:lnTo>
                    <a:pt x="34" y="50"/>
                  </a:lnTo>
                  <a:lnTo>
                    <a:pt x="39" y="38"/>
                  </a:lnTo>
                  <a:lnTo>
                    <a:pt x="46" y="27"/>
                  </a:lnTo>
                  <a:lnTo>
                    <a:pt x="54" y="18"/>
                  </a:lnTo>
                  <a:lnTo>
                    <a:pt x="65" y="11"/>
                  </a:lnTo>
                  <a:lnTo>
                    <a:pt x="76" y="5"/>
                  </a:lnTo>
                  <a:lnTo>
                    <a:pt x="88" y="2"/>
                  </a:lnTo>
                  <a:lnTo>
                    <a:pt x="95" y="1"/>
                  </a:lnTo>
                  <a:lnTo>
                    <a:pt x="101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24" y="1"/>
                  </a:lnTo>
                  <a:lnTo>
                    <a:pt x="231" y="2"/>
                  </a:lnTo>
                  <a:lnTo>
                    <a:pt x="243" y="5"/>
                  </a:lnTo>
                  <a:lnTo>
                    <a:pt x="255" y="11"/>
                  </a:lnTo>
                  <a:lnTo>
                    <a:pt x="265" y="18"/>
                  </a:lnTo>
                  <a:lnTo>
                    <a:pt x="273" y="27"/>
                  </a:lnTo>
                  <a:lnTo>
                    <a:pt x="280" y="38"/>
                  </a:lnTo>
                  <a:lnTo>
                    <a:pt x="285" y="50"/>
                  </a:lnTo>
                  <a:lnTo>
                    <a:pt x="287" y="56"/>
                  </a:lnTo>
                  <a:lnTo>
                    <a:pt x="288" y="63"/>
                  </a:lnTo>
                  <a:lnTo>
                    <a:pt x="319" y="353"/>
                  </a:lnTo>
                  <a:close/>
                  <a:moveTo>
                    <a:pt x="9" y="345"/>
                  </a:moveTo>
                  <a:lnTo>
                    <a:pt x="310" y="345"/>
                  </a:lnTo>
                  <a:lnTo>
                    <a:pt x="280" y="64"/>
                  </a:lnTo>
                  <a:lnTo>
                    <a:pt x="280" y="64"/>
                  </a:lnTo>
                  <a:lnTo>
                    <a:pt x="277" y="52"/>
                  </a:lnTo>
                  <a:lnTo>
                    <a:pt x="273" y="42"/>
                  </a:lnTo>
                  <a:lnTo>
                    <a:pt x="267" y="32"/>
                  </a:lnTo>
                  <a:lnTo>
                    <a:pt x="259" y="24"/>
                  </a:lnTo>
                  <a:lnTo>
                    <a:pt x="250" y="18"/>
                  </a:lnTo>
                  <a:lnTo>
                    <a:pt x="240" y="13"/>
                  </a:lnTo>
                  <a:lnTo>
                    <a:pt x="229" y="9"/>
                  </a:lnTo>
                  <a:lnTo>
                    <a:pt x="218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0" y="9"/>
                  </a:lnTo>
                  <a:lnTo>
                    <a:pt x="79" y="13"/>
                  </a:lnTo>
                  <a:lnTo>
                    <a:pt x="69" y="18"/>
                  </a:lnTo>
                  <a:lnTo>
                    <a:pt x="60" y="24"/>
                  </a:lnTo>
                  <a:lnTo>
                    <a:pt x="52" y="32"/>
                  </a:lnTo>
                  <a:lnTo>
                    <a:pt x="46" y="42"/>
                  </a:lnTo>
                  <a:lnTo>
                    <a:pt x="42" y="52"/>
                  </a:lnTo>
                  <a:lnTo>
                    <a:pt x="39" y="64"/>
                  </a:lnTo>
                  <a:lnTo>
                    <a:pt x="9" y="3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5" name="Rectangle 106">
              <a:extLst>
                <a:ext uri="{FF2B5EF4-FFF2-40B4-BE49-F238E27FC236}">
                  <a16:creationId xmlns:a16="http://schemas.microsoft.com/office/drawing/2014/main" id="{1E8268AA-A1C8-42AD-9F76-682DE80F53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9" y="3512"/>
              <a:ext cx="124" cy="3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6" name="Freeform 107">
              <a:extLst>
                <a:ext uri="{FF2B5EF4-FFF2-40B4-BE49-F238E27FC236}">
                  <a16:creationId xmlns:a16="http://schemas.microsoft.com/office/drawing/2014/main" id="{83212266-6286-47A1-AFAE-9A020939B1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5" y="3508"/>
              <a:ext cx="132" cy="40"/>
            </a:xfrm>
            <a:custGeom>
              <a:avLst/>
              <a:gdLst>
                <a:gd name="T0" fmla="*/ 132 w 132"/>
                <a:gd name="T1" fmla="*/ 40 h 40"/>
                <a:gd name="T2" fmla="*/ 0 w 132"/>
                <a:gd name="T3" fmla="*/ 40 h 40"/>
                <a:gd name="T4" fmla="*/ 0 w 132"/>
                <a:gd name="T5" fmla="*/ 0 h 40"/>
                <a:gd name="T6" fmla="*/ 132 w 132"/>
                <a:gd name="T7" fmla="*/ 0 h 40"/>
                <a:gd name="T8" fmla="*/ 132 w 132"/>
                <a:gd name="T9" fmla="*/ 40 h 40"/>
                <a:gd name="T10" fmla="*/ 8 w 132"/>
                <a:gd name="T11" fmla="*/ 32 h 40"/>
                <a:gd name="T12" fmla="*/ 124 w 132"/>
                <a:gd name="T13" fmla="*/ 32 h 40"/>
                <a:gd name="T14" fmla="*/ 124 w 132"/>
                <a:gd name="T15" fmla="*/ 8 h 40"/>
                <a:gd name="T16" fmla="*/ 8 w 132"/>
                <a:gd name="T17" fmla="*/ 8 h 40"/>
                <a:gd name="T18" fmla="*/ 8 w 132"/>
                <a:gd name="T19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40">
                  <a:moveTo>
                    <a:pt x="132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40"/>
                  </a:lnTo>
                  <a:close/>
                  <a:moveTo>
                    <a:pt x="8" y="32"/>
                  </a:moveTo>
                  <a:lnTo>
                    <a:pt x="124" y="32"/>
                  </a:lnTo>
                  <a:lnTo>
                    <a:pt x="124" y="8"/>
                  </a:lnTo>
                  <a:lnTo>
                    <a:pt x="8" y="8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7" name="Rectangle 108">
              <a:extLst>
                <a:ext uri="{FF2B5EF4-FFF2-40B4-BE49-F238E27FC236}">
                  <a16:creationId xmlns:a16="http://schemas.microsoft.com/office/drawing/2014/main" id="{B654119B-AA01-485A-BB1F-15FD3C7157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8" y="3576"/>
              <a:ext cx="124" cy="3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8" name="Freeform 109">
              <a:extLst>
                <a:ext uri="{FF2B5EF4-FFF2-40B4-BE49-F238E27FC236}">
                  <a16:creationId xmlns:a16="http://schemas.microsoft.com/office/drawing/2014/main" id="{5B264832-683D-4350-9A04-D57D0C51CF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4" y="3572"/>
              <a:ext cx="132" cy="40"/>
            </a:xfrm>
            <a:custGeom>
              <a:avLst/>
              <a:gdLst>
                <a:gd name="T0" fmla="*/ 132 w 132"/>
                <a:gd name="T1" fmla="*/ 40 h 40"/>
                <a:gd name="T2" fmla="*/ 0 w 132"/>
                <a:gd name="T3" fmla="*/ 40 h 40"/>
                <a:gd name="T4" fmla="*/ 0 w 132"/>
                <a:gd name="T5" fmla="*/ 0 h 40"/>
                <a:gd name="T6" fmla="*/ 132 w 132"/>
                <a:gd name="T7" fmla="*/ 0 h 40"/>
                <a:gd name="T8" fmla="*/ 132 w 132"/>
                <a:gd name="T9" fmla="*/ 40 h 40"/>
                <a:gd name="T10" fmla="*/ 8 w 132"/>
                <a:gd name="T11" fmla="*/ 32 h 40"/>
                <a:gd name="T12" fmla="*/ 124 w 132"/>
                <a:gd name="T13" fmla="*/ 32 h 40"/>
                <a:gd name="T14" fmla="*/ 124 w 132"/>
                <a:gd name="T15" fmla="*/ 8 h 40"/>
                <a:gd name="T16" fmla="*/ 8 w 132"/>
                <a:gd name="T17" fmla="*/ 8 h 40"/>
                <a:gd name="T18" fmla="*/ 8 w 132"/>
                <a:gd name="T19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40">
                  <a:moveTo>
                    <a:pt x="132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40"/>
                  </a:lnTo>
                  <a:close/>
                  <a:moveTo>
                    <a:pt x="8" y="32"/>
                  </a:moveTo>
                  <a:lnTo>
                    <a:pt x="124" y="32"/>
                  </a:lnTo>
                  <a:lnTo>
                    <a:pt x="124" y="8"/>
                  </a:lnTo>
                  <a:lnTo>
                    <a:pt x="8" y="8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29" name="Rectangle 110">
              <a:extLst>
                <a:ext uri="{FF2B5EF4-FFF2-40B4-BE49-F238E27FC236}">
                  <a16:creationId xmlns:a16="http://schemas.microsoft.com/office/drawing/2014/main" id="{71E2C73C-829B-4DB8-9CC7-711380F870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7" y="3640"/>
              <a:ext cx="124" cy="3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0" name="Freeform 111">
              <a:extLst>
                <a:ext uri="{FF2B5EF4-FFF2-40B4-BE49-F238E27FC236}">
                  <a16:creationId xmlns:a16="http://schemas.microsoft.com/office/drawing/2014/main" id="{63DC734F-9658-482E-865B-DE9E4972A0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3" y="3636"/>
              <a:ext cx="132" cy="40"/>
            </a:xfrm>
            <a:custGeom>
              <a:avLst/>
              <a:gdLst>
                <a:gd name="T0" fmla="*/ 132 w 132"/>
                <a:gd name="T1" fmla="*/ 40 h 40"/>
                <a:gd name="T2" fmla="*/ 0 w 132"/>
                <a:gd name="T3" fmla="*/ 40 h 40"/>
                <a:gd name="T4" fmla="*/ 0 w 132"/>
                <a:gd name="T5" fmla="*/ 0 h 40"/>
                <a:gd name="T6" fmla="*/ 132 w 132"/>
                <a:gd name="T7" fmla="*/ 0 h 40"/>
                <a:gd name="T8" fmla="*/ 132 w 132"/>
                <a:gd name="T9" fmla="*/ 40 h 40"/>
                <a:gd name="T10" fmla="*/ 8 w 132"/>
                <a:gd name="T11" fmla="*/ 32 h 40"/>
                <a:gd name="T12" fmla="*/ 124 w 132"/>
                <a:gd name="T13" fmla="*/ 32 h 40"/>
                <a:gd name="T14" fmla="*/ 124 w 132"/>
                <a:gd name="T15" fmla="*/ 8 h 40"/>
                <a:gd name="T16" fmla="*/ 8 w 132"/>
                <a:gd name="T17" fmla="*/ 8 h 40"/>
                <a:gd name="T18" fmla="*/ 8 w 132"/>
                <a:gd name="T19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40">
                  <a:moveTo>
                    <a:pt x="132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40"/>
                  </a:lnTo>
                  <a:close/>
                  <a:moveTo>
                    <a:pt x="8" y="32"/>
                  </a:moveTo>
                  <a:lnTo>
                    <a:pt x="124" y="32"/>
                  </a:lnTo>
                  <a:lnTo>
                    <a:pt x="124" y="8"/>
                  </a:lnTo>
                  <a:lnTo>
                    <a:pt x="8" y="8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1" name="Rectangle 112">
              <a:extLst>
                <a:ext uri="{FF2B5EF4-FFF2-40B4-BE49-F238E27FC236}">
                  <a16:creationId xmlns:a16="http://schemas.microsoft.com/office/drawing/2014/main" id="{0BD63B88-7534-4A3D-B078-10206B94D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5" y="3704"/>
              <a:ext cx="124" cy="3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2" name="Freeform 113">
              <a:extLst>
                <a:ext uri="{FF2B5EF4-FFF2-40B4-BE49-F238E27FC236}">
                  <a16:creationId xmlns:a16="http://schemas.microsoft.com/office/drawing/2014/main" id="{E452CCA4-79BF-4865-A708-C1932D25E3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1" y="3700"/>
              <a:ext cx="132" cy="40"/>
            </a:xfrm>
            <a:custGeom>
              <a:avLst/>
              <a:gdLst>
                <a:gd name="T0" fmla="*/ 132 w 132"/>
                <a:gd name="T1" fmla="*/ 40 h 40"/>
                <a:gd name="T2" fmla="*/ 0 w 132"/>
                <a:gd name="T3" fmla="*/ 40 h 40"/>
                <a:gd name="T4" fmla="*/ 0 w 132"/>
                <a:gd name="T5" fmla="*/ 0 h 40"/>
                <a:gd name="T6" fmla="*/ 132 w 132"/>
                <a:gd name="T7" fmla="*/ 0 h 40"/>
                <a:gd name="T8" fmla="*/ 132 w 132"/>
                <a:gd name="T9" fmla="*/ 40 h 40"/>
                <a:gd name="T10" fmla="*/ 8 w 132"/>
                <a:gd name="T11" fmla="*/ 32 h 40"/>
                <a:gd name="T12" fmla="*/ 124 w 132"/>
                <a:gd name="T13" fmla="*/ 32 h 40"/>
                <a:gd name="T14" fmla="*/ 124 w 132"/>
                <a:gd name="T15" fmla="*/ 8 h 40"/>
                <a:gd name="T16" fmla="*/ 8 w 132"/>
                <a:gd name="T17" fmla="*/ 8 h 40"/>
                <a:gd name="T18" fmla="*/ 8 w 132"/>
                <a:gd name="T19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40">
                  <a:moveTo>
                    <a:pt x="132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40"/>
                  </a:lnTo>
                  <a:close/>
                  <a:moveTo>
                    <a:pt x="8" y="32"/>
                  </a:moveTo>
                  <a:lnTo>
                    <a:pt x="124" y="32"/>
                  </a:lnTo>
                  <a:lnTo>
                    <a:pt x="124" y="8"/>
                  </a:lnTo>
                  <a:lnTo>
                    <a:pt x="8" y="8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3" name="Freeform 114">
              <a:extLst>
                <a:ext uri="{FF2B5EF4-FFF2-40B4-BE49-F238E27FC236}">
                  <a16:creationId xmlns:a16="http://schemas.microsoft.com/office/drawing/2014/main" id="{7BCAC94B-F241-4EF5-B2CC-91F538D1C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4" y="2234"/>
              <a:ext cx="10" cy="11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10 h 11"/>
                <a:gd name="T4" fmla="*/ 0 w 10"/>
                <a:gd name="T5" fmla="*/ 10 h 11"/>
                <a:gd name="T6" fmla="*/ 2 w 10"/>
                <a:gd name="T7" fmla="*/ 0 h 11"/>
                <a:gd name="T8" fmla="*/ 10 w 10"/>
                <a:gd name="T9" fmla="*/ 2 h 11"/>
                <a:gd name="T10" fmla="*/ 10 w 10"/>
                <a:gd name="T11" fmla="*/ 2 h 11"/>
                <a:gd name="T12" fmla="*/ 8 w 10"/>
                <a:gd name="T13" fmla="*/ 11 h 11"/>
                <a:gd name="T14" fmla="*/ 8 w 10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1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462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4" name="Freeform 115">
              <a:extLst>
                <a:ext uri="{FF2B5EF4-FFF2-40B4-BE49-F238E27FC236}">
                  <a16:creationId xmlns:a16="http://schemas.microsoft.com/office/drawing/2014/main" id="{2429CCE2-A583-494F-A728-AC43251EB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5" y="1307"/>
              <a:ext cx="1737" cy="890"/>
            </a:xfrm>
            <a:custGeom>
              <a:avLst/>
              <a:gdLst>
                <a:gd name="T0" fmla="*/ 13 w 1737"/>
                <a:gd name="T1" fmla="*/ 871 h 890"/>
                <a:gd name="T2" fmla="*/ 16 w 1737"/>
                <a:gd name="T3" fmla="*/ 830 h 890"/>
                <a:gd name="T4" fmla="*/ 24 w 1737"/>
                <a:gd name="T5" fmla="*/ 832 h 890"/>
                <a:gd name="T6" fmla="*/ 41 w 1737"/>
                <a:gd name="T7" fmla="*/ 753 h 890"/>
                <a:gd name="T8" fmla="*/ 62 w 1737"/>
                <a:gd name="T9" fmla="*/ 718 h 890"/>
                <a:gd name="T10" fmla="*/ 70 w 1737"/>
                <a:gd name="T11" fmla="*/ 699 h 890"/>
                <a:gd name="T12" fmla="*/ 77 w 1737"/>
                <a:gd name="T13" fmla="*/ 659 h 890"/>
                <a:gd name="T14" fmla="*/ 85 w 1737"/>
                <a:gd name="T15" fmla="*/ 662 h 890"/>
                <a:gd name="T16" fmla="*/ 117 w 1737"/>
                <a:gd name="T17" fmla="*/ 589 h 890"/>
                <a:gd name="T18" fmla="*/ 128 w 1737"/>
                <a:gd name="T19" fmla="*/ 549 h 890"/>
                <a:gd name="T20" fmla="*/ 135 w 1737"/>
                <a:gd name="T21" fmla="*/ 553 h 890"/>
                <a:gd name="T22" fmla="*/ 167 w 1737"/>
                <a:gd name="T23" fmla="*/ 479 h 890"/>
                <a:gd name="T24" fmla="*/ 194 w 1737"/>
                <a:gd name="T25" fmla="*/ 448 h 890"/>
                <a:gd name="T26" fmla="*/ 205 w 1737"/>
                <a:gd name="T27" fmla="*/ 432 h 890"/>
                <a:gd name="T28" fmla="*/ 221 w 1737"/>
                <a:gd name="T29" fmla="*/ 394 h 890"/>
                <a:gd name="T30" fmla="*/ 227 w 1737"/>
                <a:gd name="T31" fmla="*/ 398 h 890"/>
                <a:gd name="T32" fmla="*/ 275 w 1737"/>
                <a:gd name="T33" fmla="*/ 334 h 890"/>
                <a:gd name="T34" fmla="*/ 294 w 1737"/>
                <a:gd name="T35" fmla="*/ 298 h 890"/>
                <a:gd name="T36" fmla="*/ 300 w 1737"/>
                <a:gd name="T37" fmla="*/ 303 h 890"/>
                <a:gd name="T38" fmla="*/ 1720 w 1737"/>
                <a:gd name="T39" fmla="*/ 268 h 890"/>
                <a:gd name="T40" fmla="*/ 335 w 1737"/>
                <a:gd name="T41" fmla="*/ 253 h 890"/>
                <a:gd name="T42" fmla="*/ 341 w 1737"/>
                <a:gd name="T43" fmla="*/ 259 h 890"/>
                <a:gd name="T44" fmla="*/ 1668 w 1737"/>
                <a:gd name="T45" fmla="*/ 238 h 890"/>
                <a:gd name="T46" fmla="*/ 1629 w 1737"/>
                <a:gd name="T47" fmla="*/ 225 h 890"/>
                <a:gd name="T48" fmla="*/ 1629 w 1737"/>
                <a:gd name="T49" fmla="*/ 225 h 890"/>
                <a:gd name="T50" fmla="*/ 399 w 1737"/>
                <a:gd name="T51" fmla="*/ 204 h 890"/>
                <a:gd name="T52" fmla="*/ 1576 w 1737"/>
                <a:gd name="T53" fmla="*/ 196 h 890"/>
                <a:gd name="T54" fmla="*/ 1576 w 1737"/>
                <a:gd name="T55" fmla="*/ 196 h 890"/>
                <a:gd name="T56" fmla="*/ 445 w 1737"/>
                <a:gd name="T57" fmla="*/ 166 h 890"/>
                <a:gd name="T58" fmla="*/ 1523 w 1737"/>
                <a:gd name="T59" fmla="*/ 169 h 890"/>
                <a:gd name="T60" fmla="*/ 1523 w 1737"/>
                <a:gd name="T61" fmla="*/ 169 h 890"/>
                <a:gd name="T62" fmla="*/ 494 w 1737"/>
                <a:gd name="T63" fmla="*/ 132 h 890"/>
                <a:gd name="T64" fmla="*/ 1468 w 1737"/>
                <a:gd name="T65" fmla="*/ 143 h 890"/>
                <a:gd name="T66" fmla="*/ 1468 w 1737"/>
                <a:gd name="T67" fmla="*/ 143 h 890"/>
                <a:gd name="T68" fmla="*/ 1398 w 1737"/>
                <a:gd name="T69" fmla="*/ 104 h 890"/>
                <a:gd name="T70" fmla="*/ 525 w 1737"/>
                <a:gd name="T71" fmla="*/ 104 h 890"/>
                <a:gd name="T72" fmla="*/ 528 w 1737"/>
                <a:gd name="T73" fmla="*/ 111 h 890"/>
                <a:gd name="T74" fmla="*/ 1342 w 1737"/>
                <a:gd name="T75" fmla="*/ 82 h 890"/>
                <a:gd name="T76" fmla="*/ 578 w 1737"/>
                <a:gd name="T77" fmla="*/ 76 h 890"/>
                <a:gd name="T78" fmla="*/ 581 w 1737"/>
                <a:gd name="T79" fmla="*/ 84 h 890"/>
                <a:gd name="T80" fmla="*/ 1285 w 1737"/>
                <a:gd name="T81" fmla="*/ 62 h 890"/>
                <a:gd name="T82" fmla="*/ 634 w 1737"/>
                <a:gd name="T83" fmla="*/ 52 h 890"/>
                <a:gd name="T84" fmla="*/ 636 w 1737"/>
                <a:gd name="T85" fmla="*/ 60 h 890"/>
                <a:gd name="T86" fmla="*/ 1227 w 1737"/>
                <a:gd name="T87" fmla="*/ 44 h 890"/>
                <a:gd name="T88" fmla="*/ 1167 w 1737"/>
                <a:gd name="T89" fmla="*/ 37 h 890"/>
                <a:gd name="T90" fmla="*/ 693 w 1737"/>
                <a:gd name="T91" fmla="*/ 41 h 890"/>
                <a:gd name="T92" fmla="*/ 712 w 1737"/>
                <a:gd name="T93" fmla="*/ 35 h 890"/>
                <a:gd name="T94" fmla="*/ 1108 w 1737"/>
                <a:gd name="T95" fmla="*/ 25 h 890"/>
                <a:gd name="T96" fmla="*/ 751 w 1737"/>
                <a:gd name="T97" fmla="*/ 26 h 890"/>
                <a:gd name="T98" fmla="*/ 771 w 1737"/>
                <a:gd name="T99" fmla="*/ 22 h 890"/>
                <a:gd name="T100" fmla="*/ 1049 w 1737"/>
                <a:gd name="T101" fmla="*/ 16 h 890"/>
                <a:gd name="T102" fmla="*/ 810 w 1737"/>
                <a:gd name="T103" fmla="*/ 16 h 890"/>
                <a:gd name="T104" fmla="*/ 830 w 1737"/>
                <a:gd name="T105" fmla="*/ 13 h 890"/>
                <a:gd name="T106" fmla="*/ 989 w 1737"/>
                <a:gd name="T107" fmla="*/ 10 h 890"/>
                <a:gd name="T108" fmla="*/ 869 w 1737"/>
                <a:gd name="T109" fmla="*/ 10 h 890"/>
                <a:gd name="T110" fmla="*/ 889 w 1737"/>
                <a:gd name="T111" fmla="*/ 9 h 890"/>
                <a:gd name="T112" fmla="*/ 929 w 1737"/>
                <a:gd name="T113" fmla="*/ 8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37" h="890">
                  <a:moveTo>
                    <a:pt x="8" y="890"/>
                  </a:moveTo>
                  <a:lnTo>
                    <a:pt x="0" y="888"/>
                  </a:lnTo>
                  <a:lnTo>
                    <a:pt x="0" y="888"/>
                  </a:lnTo>
                  <a:lnTo>
                    <a:pt x="5" y="868"/>
                  </a:lnTo>
                  <a:lnTo>
                    <a:pt x="13" y="871"/>
                  </a:lnTo>
                  <a:lnTo>
                    <a:pt x="13" y="871"/>
                  </a:lnTo>
                  <a:lnTo>
                    <a:pt x="8" y="890"/>
                  </a:lnTo>
                  <a:lnTo>
                    <a:pt x="8" y="890"/>
                  </a:lnTo>
                  <a:close/>
                  <a:moveTo>
                    <a:pt x="24" y="832"/>
                  </a:moveTo>
                  <a:lnTo>
                    <a:pt x="16" y="830"/>
                  </a:lnTo>
                  <a:lnTo>
                    <a:pt x="16" y="830"/>
                  </a:lnTo>
                  <a:lnTo>
                    <a:pt x="22" y="810"/>
                  </a:lnTo>
                  <a:lnTo>
                    <a:pt x="30" y="813"/>
                  </a:lnTo>
                  <a:lnTo>
                    <a:pt x="30" y="813"/>
                  </a:lnTo>
                  <a:lnTo>
                    <a:pt x="24" y="832"/>
                  </a:lnTo>
                  <a:lnTo>
                    <a:pt x="24" y="832"/>
                  </a:lnTo>
                  <a:close/>
                  <a:moveTo>
                    <a:pt x="42" y="775"/>
                  </a:moveTo>
                  <a:lnTo>
                    <a:pt x="35" y="772"/>
                  </a:lnTo>
                  <a:lnTo>
                    <a:pt x="35" y="772"/>
                  </a:lnTo>
                  <a:lnTo>
                    <a:pt x="41" y="753"/>
                  </a:lnTo>
                  <a:lnTo>
                    <a:pt x="49" y="756"/>
                  </a:lnTo>
                  <a:lnTo>
                    <a:pt x="49" y="756"/>
                  </a:lnTo>
                  <a:lnTo>
                    <a:pt x="42" y="775"/>
                  </a:lnTo>
                  <a:lnTo>
                    <a:pt x="42" y="775"/>
                  </a:lnTo>
                  <a:close/>
                  <a:moveTo>
                    <a:pt x="62" y="718"/>
                  </a:moveTo>
                  <a:lnTo>
                    <a:pt x="55" y="715"/>
                  </a:lnTo>
                  <a:lnTo>
                    <a:pt x="55" y="715"/>
                  </a:lnTo>
                  <a:lnTo>
                    <a:pt x="62" y="696"/>
                  </a:lnTo>
                  <a:lnTo>
                    <a:pt x="70" y="699"/>
                  </a:lnTo>
                  <a:lnTo>
                    <a:pt x="70" y="699"/>
                  </a:lnTo>
                  <a:lnTo>
                    <a:pt x="62" y="718"/>
                  </a:lnTo>
                  <a:lnTo>
                    <a:pt x="62" y="718"/>
                  </a:lnTo>
                  <a:close/>
                  <a:moveTo>
                    <a:pt x="85" y="662"/>
                  </a:moveTo>
                  <a:lnTo>
                    <a:pt x="77" y="659"/>
                  </a:lnTo>
                  <a:lnTo>
                    <a:pt x="77" y="659"/>
                  </a:lnTo>
                  <a:lnTo>
                    <a:pt x="85" y="640"/>
                  </a:lnTo>
                  <a:lnTo>
                    <a:pt x="92" y="644"/>
                  </a:lnTo>
                  <a:lnTo>
                    <a:pt x="92" y="644"/>
                  </a:lnTo>
                  <a:lnTo>
                    <a:pt x="85" y="662"/>
                  </a:lnTo>
                  <a:lnTo>
                    <a:pt x="85" y="662"/>
                  </a:lnTo>
                  <a:close/>
                  <a:moveTo>
                    <a:pt x="109" y="607"/>
                  </a:moveTo>
                  <a:lnTo>
                    <a:pt x="102" y="604"/>
                  </a:lnTo>
                  <a:lnTo>
                    <a:pt x="102" y="604"/>
                  </a:lnTo>
                  <a:lnTo>
                    <a:pt x="110" y="585"/>
                  </a:lnTo>
                  <a:lnTo>
                    <a:pt x="117" y="589"/>
                  </a:lnTo>
                  <a:lnTo>
                    <a:pt x="117" y="589"/>
                  </a:lnTo>
                  <a:lnTo>
                    <a:pt x="109" y="607"/>
                  </a:lnTo>
                  <a:lnTo>
                    <a:pt x="109" y="607"/>
                  </a:lnTo>
                  <a:close/>
                  <a:moveTo>
                    <a:pt x="135" y="553"/>
                  </a:moveTo>
                  <a:lnTo>
                    <a:pt x="128" y="549"/>
                  </a:lnTo>
                  <a:lnTo>
                    <a:pt x="128" y="549"/>
                  </a:lnTo>
                  <a:lnTo>
                    <a:pt x="137" y="532"/>
                  </a:lnTo>
                  <a:lnTo>
                    <a:pt x="144" y="535"/>
                  </a:lnTo>
                  <a:lnTo>
                    <a:pt x="144" y="535"/>
                  </a:lnTo>
                  <a:lnTo>
                    <a:pt x="135" y="553"/>
                  </a:lnTo>
                  <a:lnTo>
                    <a:pt x="135" y="553"/>
                  </a:lnTo>
                  <a:close/>
                  <a:moveTo>
                    <a:pt x="164" y="500"/>
                  </a:moveTo>
                  <a:lnTo>
                    <a:pt x="157" y="496"/>
                  </a:lnTo>
                  <a:lnTo>
                    <a:pt x="157" y="496"/>
                  </a:lnTo>
                  <a:lnTo>
                    <a:pt x="167" y="479"/>
                  </a:lnTo>
                  <a:lnTo>
                    <a:pt x="173" y="483"/>
                  </a:lnTo>
                  <a:lnTo>
                    <a:pt x="173" y="483"/>
                  </a:lnTo>
                  <a:lnTo>
                    <a:pt x="164" y="500"/>
                  </a:lnTo>
                  <a:lnTo>
                    <a:pt x="164" y="500"/>
                  </a:lnTo>
                  <a:close/>
                  <a:moveTo>
                    <a:pt x="194" y="448"/>
                  </a:moveTo>
                  <a:lnTo>
                    <a:pt x="187" y="444"/>
                  </a:lnTo>
                  <a:lnTo>
                    <a:pt x="187" y="444"/>
                  </a:lnTo>
                  <a:lnTo>
                    <a:pt x="198" y="427"/>
                  </a:lnTo>
                  <a:lnTo>
                    <a:pt x="205" y="432"/>
                  </a:lnTo>
                  <a:lnTo>
                    <a:pt x="205" y="432"/>
                  </a:lnTo>
                  <a:lnTo>
                    <a:pt x="194" y="448"/>
                  </a:lnTo>
                  <a:lnTo>
                    <a:pt x="194" y="448"/>
                  </a:lnTo>
                  <a:close/>
                  <a:moveTo>
                    <a:pt x="227" y="398"/>
                  </a:moveTo>
                  <a:lnTo>
                    <a:pt x="221" y="394"/>
                  </a:lnTo>
                  <a:lnTo>
                    <a:pt x="221" y="394"/>
                  </a:lnTo>
                  <a:lnTo>
                    <a:pt x="232" y="377"/>
                  </a:lnTo>
                  <a:lnTo>
                    <a:pt x="239" y="382"/>
                  </a:lnTo>
                  <a:lnTo>
                    <a:pt x="239" y="382"/>
                  </a:lnTo>
                  <a:lnTo>
                    <a:pt x="227" y="398"/>
                  </a:lnTo>
                  <a:lnTo>
                    <a:pt x="227" y="398"/>
                  </a:lnTo>
                  <a:close/>
                  <a:moveTo>
                    <a:pt x="263" y="350"/>
                  </a:moveTo>
                  <a:lnTo>
                    <a:pt x="256" y="345"/>
                  </a:lnTo>
                  <a:lnTo>
                    <a:pt x="256" y="345"/>
                  </a:lnTo>
                  <a:lnTo>
                    <a:pt x="269" y="329"/>
                  </a:lnTo>
                  <a:lnTo>
                    <a:pt x="275" y="334"/>
                  </a:lnTo>
                  <a:lnTo>
                    <a:pt x="275" y="334"/>
                  </a:lnTo>
                  <a:lnTo>
                    <a:pt x="263" y="350"/>
                  </a:lnTo>
                  <a:lnTo>
                    <a:pt x="263" y="350"/>
                  </a:lnTo>
                  <a:close/>
                  <a:moveTo>
                    <a:pt x="300" y="303"/>
                  </a:moveTo>
                  <a:lnTo>
                    <a:pt x="294" y="298"/>
                  </a:lnTo>
                  <a:lnTo>
                    <a:pt x="294" y="298"/>
                  </a:lnTo>
                  <a:lnTo>
                    <a:pt x="308" y="283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00" y="303"/>
                  </a:lnTo>
                  <a:lnTo>
                    <a:pt x="300" y="303"/>
                  </a:lnTo>
                  <a:close/>
                  <a:moveTo>
                    <a:pt x="1732" y="286"/>
                  </a:moveTo>
                  <a:lnTo>
                    <a:pt x="1732" y="286"/>
                  </a:lnTo>
                  <a:lnTo>
                    <a:pt x="1715" y="275"/>
                  </a:lnTo>
                  <a:lnTo>
                    <a:pt x="1720" y="268"/>
                  </a:lnTo>
                  <a:lnTo>
                    <a:pt x="1720" y="268"/>
                  </a:lnTo>
                  <a:lnTo>
                    <a:pt x="1737" y="279"/>
                  </a:lnTo>
                  <a:lnTo>
                    <a:pt x="1732" y="286"/>
                  </a:lnTo>
                  <a:close/>
                  <a:moveTo>
                    <a:pt x="341" y="259"/>
                  </a:moveTo>
                  <a:lnTo>
                    <a:pt x="335" y="253"/>
                  </a:lnTo>
                  <a:lnTo>
                    <a:pt x="335" y="253"/>
                  </a:lnTo>
                  <a:lnTo>
                    <a:pt x="349" y="239"/>
                  </a:lnTo>
                  <a:lnTo>
                    <a:pt x="355" y="245"/>
                  </a:lnTo>
                  <a:lnTo>
                    <a:pt x="355" y="245"/>
                  </a:lnTo>
                  <a:lnTo>
                    <a:pt x="341" y="259"/>
                  </a:lnTo>
                  <a:lnTo>
                    <a:pt x="341" y="259"/>
                  </a:lnTo>
                  <a:close/>
                  <a:moveTo>
                    <a:pt x="1681" y="255"/>
                  </a:moveTo>
                  <a:lnTo>
                    <a:pt x="1681" y="255"/>
                  </a:lnTo>
                  <a:lnTo>
                    <a:pt x="1664" y="245"/>
                  </a:lnTo>
                  <a:lnTo>
                    <a:pt x="1668" y="238"/>
                  </a:lnTo>
                  <a:lnTo>
                    <a:pt x="1668" y="238"/>
                  </a:lnTo>
                  <a:lnTo>
                    <a:pt x="1685" y="248"/>
                  </a:lnTo>
                  <a:lnTo>
                    <a:pt x="1681" y="255"/>
                  </a:lnTo>
                  <a:close/>
                  <a:moveTo>
                    <a:pt x="1629" y="225"/>
                  </a:moveTo>
                  <a:lnTo>
                    <a:pt x="1629" y="225"/>
                  </a:lnTo>
                  <a:lnTo>
                    <a:pt x="1611" y="215"/>
                  </a:lnTo>
                  <a:lnTo>
                    <a:pt x="1615" y="208"/>
                  </a:lnTo>
                  <a:lnTo>
                    <a:pt x="1615" y="208"/>
                  </a:lnTo>
                  <a:lnTo>
                    <a:pt x="1633" y="218"/>
                  </a:lnTo>
                  <a:lnTo>
                    <a:pt x="1629" y="225"/>
                  </a:lnTo>
                  <a:close/>
                  <a:moveTo>
                    <a:pt x="384" y="217"/>
                  </a:moveTo>
                  <a:lnTo>
                    <a:pt x="379" y="211"/>
                  </a:lnTo>
                  <a:lnTo>
                    <a:pt x="379" y="211"/>
                  </a:lnTo>
                  <a:lnTo>
                    <a:pt x="394" y="198"/>
                  </a:lnTo>
                  <a:lnTo>
                    <a:pt x="399" y="204"/>
                  </a:lnTo>
                  <a:lnTo>
                    <a:pt x="399" y="204"/>
                  </a:lnTo>
                  <a:lnTo>
                    <a:pt x="384" y="217"/>
                  </a:lnTo>
                  <a:lnTo>
                    <a:pt x="384" y="217"/>
                  </a:lnTo>
                  <a:close/>
                  <a:moveTo>
                    <a:pt x="1576" y="196"/>
                  </a:moveTo>
                  <a:lnTo>
                    <a:pt x="1576" y="196"/>
                  </a:lnTo>
                  <a:lnTo>
                    <a:pt x="1558" y="187"/>
                  </a:lnTo>
                  <a:lnTo>
                    <a:pt x="1562" y="180"/>
                  </a:lnTo>
                  <a:lnTo>
                    <a:pt x="1562" y="180"/>
                  </a:lnTo>
                  <a:lnTo>
                    <a:pt x="1580" y="189"/>
                  </a:lnTo>
                  <a:lnTo>
                    <a:pt x="1576" y="196"/>
                  </a:lnTo>
                  <a:close/>
                  <a:moveTo>
                    <a:pt x="430" y="179"/>
                  </a:moveTo>
                  <a:lnTo>
                    <a:pt x="425" y="172"/>
                  </a:lnTo>
                  <a:lnTo>
                    <a:pt x="425" y="172"/>
                  </a:lnTo>
                  <a:lnTo>
                    <a:pt x="441" y="160"/>
                  </a:lnTo>
                  <a:lnTo>
                    <a:pt x="445" y="166"/>
                  </a:lnTo>
                  <a:lnTo>
                    <a:pt x="445" y="166"/>
                  </a:lnTo>
                  <a:lnTo>
                    <a:pt x="430" y="179"/>
                  </a:lnTo>
                  <a:lnTo>
                    <a:pt x="430" y="179"/>
                  </a:lnTo>
                  <a:close/>
                  <a:moveTo>
                    <a:pt x="1523" y="169"/>
                  </a:moveTo>
                  <a:lnTo>
                    <a:pt x="1523" y="169"/>
                  </a:lnTo>
                  <a:lnTo>
                    <a:pt x="1505" y="160"/>
                  </a:lnTo>
                  <a:lnTo>
                    <a:pt x="1508" y="153"/>
                  </a:lnTo>
                  <a:lnTo>
                    <a:pt x="1508" y="153"/>
                  </a:lnTo>
                  <a:lnTo>
                    <a:pt x="1526" y="161"/>
                  </a:lnTo>
                  <a:lnTo>
                    <a:pt x="1523" y="169"/>
                  </a:lnTo>
                  <a:close/>
                  <a:moveTo>
                    <a:pt x="478" y="143"/>
                  </a:moveTo>
                  <a:lnTo>
                    <a:pt x="473" y="137"/>
                  </a:lnTo>
                  <a:lnTo>
                    <a:pt x="473" y="137"/>
                  </a:lnTo>
                  <a:lnTo>
                    <a:pt x="490" y="125"/>
                  </a:lnTo>
                  <a:lnTo>
                    <a:pt x="494" y="132"/>
                  </a:lnTo>
                  <a:lnTo>
                    <a:pt x="494" y="132"/>
                  </a:lnTo>
                  <a:lnTo>
                    <a:pt x="478" y="143"/>
                  </a:lnTo>
                  <a:lnTo>
                    <a:pt x="478" y="143"/>
                  </a:lnTo>
                  <a:close/>
                  <a:moveTo>
                    <a:pt x="1468" y="143"/>
                  </a:moveTo>
                  <a:lnTo>
                    <a:pt x="1468" y="143"/>
                  </a:lnTo>
                  <a:lnTo>
                    <a:pt x="1450" y="135"/>
                  </a:lnTo>
                  <a:lnTo>
                    <a:pt x="1453" y="127"/>
                  </a:lnTo>
                  <a:lnTo>
                    <a:pt x="1453" y="127"/>
                  </a:lnTo>
                  <a:lnTo>
                    <a:pt x="1472" y="136"/>
                  </a:lnTo>
                  <a:lnTo>
                    <a:pt x="1468" y="143"/>
                  </a:lnTo>
                  <a:close/>
                  <a:moveTo>
                    <a:pt x="1413" y="119"/>
                  </a:moveTo>
                  <a:lnTo>
                    <a:pt x="1413" y="119"/>
                  </a:lnTo>
                  <a:lnTo>
                    <a:pt x="1395" y="111"/>
                  </a:lnTo>
                  <a:lnTo>
                    <a:pt x="1398" y="104"/>
                  </a:lnTo>
                  <a:lnTo>
                    <a:pt x="1398" y="104"/>
                  </a:lnTo>
                  <a:lnTo>
                    <a:pt x="1417" y="111"/>
                  </a:lnTo>
                  <a:lnTo>
                    <a:pt x="1413" y="119"/>
                  </a:lnTo>
                  <a:close/>
                  <a:moveTo>
                    <a:pt x="528" y="111"/>
                  </a:moveTo>
                  <a:lnTo>
                    <a:pt x="525" y="104"/>
                  </a:lnTo>
                  <a:lnTo>
                    <a:pt x="525" y="104"/>
                  </a:lnTo>
                  <a:lnTo>
                    <a:pt x="542" y="95"/>
                  </a:lnTo>
                  <a:lnTo>
                    <a:pt x="546" y="102"/>
                  </a:lnTo>
                  <a:lnTo>
                    <a:pt x="546" y="102"/>
                  </a:lnTo>
                  <a:lnTo>
                    <a:pt x="528" y="111"/>
                  </a:lnTo>
                  <a:lnTo>
                    <a:pt x="528" y="111"/>
                  </a:lnTo>
                  <a:close/>
                  <a:moveTo>
                    <a:pt x="1358" y="96"/>
                  </a:moveTo>
                  <a:lnTo>
                    <a:pt x="1358" y="96"/>
                  </a:lnTo>
                  <a:lnTo>
                    <a:pt x="1339" y="89"/>
                  </a:lnTo>
                  <a:lnTo>
                    <a:pt x="1342" y="82"/>
                  </a:lnTo>
                  <a:lnTo>
                    <a:pt x="1342" y="82"/>
                  </a:lnTo>
                  <a:lnTo>
                    <a:pt x="1361" y="89"/>
                  </a:lnTo>
                  <a:lnTo>
                    <a:pt x="1358" y="96"/>
                  </a:lnTo>
                  <a:close/>
                  <a:moveTo>
                    <a:pt x="581" y="84"/>
                  </a:moveTo>
                  <a:lnTo>
                    <a:pt x="578" y="76"/>
                  </a:lnTo>
                  <a:lnTo>
                    <a:pt x="578" y="76"/>
                  </a:lnTo>
                  <a:lnTo>
                    <a:pt x="596" y="68"/>
                  </a:lnTo>
                  <a:lnTo>
                    <a:pt x="600" y="75"/>
                  </a:lnTo>
                  <a:lnTo>
                    <a:pt x="600" y="75"/>
                  </a:lnTo>
                  <a:lnTo>
                    <a:pt x="581" y="84"/>
                  </a:lnTo>
                  <a:lnTo>
                    <a:pt x="581" y="84"/>
                  </a:lnTo>
                  <a:close/>
                  <a:moveTo>
                    <a:pt x="1301" y="76"/>
                  </a:moveTo>
                  <a:lnTo>
                    <a:pt x="1301" y="76"/>
                  </a:lnTo>
                  <a:lnTo>
                    <a:pt x="1282" y="69"/>
                  </a:lnTo>
                  <a:lnTo>
                    <a:pt x="1285" y="62"/>
                  </a:lnTo>
                  <a:lnTo>
                    <a:pt x="1285" y="62"/>
                  </a:lnTo>
                  <a:lnTo>
                    <a:pt x="1304" y="68"/>
                  </a:lnTo>
                  <a:lnTo>
                    <a:pt x="1301" y="76"/>
                  </a:lnTo>
                  <a:close/>
                  <a:moveTo>
                    <a:pt x="636" y="60"/>
                  </a:moveTo>
                  <a:lnTo>
                    <a:pt x="634" y="52"/>
                  </a:lnTo>
                  <a:lnTo>
                    <a:pt x="634" y="52"/>
                  </a:lnTo>
                  <a:lnTo>
                    <a:pt x="652" y="46"/>
                  </a:lnTo>
                  <a:lnTo>
                    <a:pt x="655" y="53"/>
                  </a:lnTo>
                  <a:lnTo>
                    <a:pt x="655" y="53"/>
                  </a:lnTo>
                  <a:lnTo>
                    <a:pt x="636" y="60"/>
                  </a:lnTo>
                  <a:lnTo>
                    <a:pt x="636" y="60"/>
                  </a:lnTo>
                  <a:close/>
                  <a:moveTo>
                    <a:pt x="1244" y="58"/>
                  </a:moveTo>
                  <a:lnTo>
                    <a:pt x="1244" y="58"/>
                  </a:lnTo>
                  <a:lnTo>
                    <a:pt x="1225" y="52"/>
                  </a:lnTo>
                  <a:lnTo>
                    <a:pt x="1227" y="44"/>
                  </a:lnTo>
                  <a:lnTo>
                    <a:pt x="1227" y="44"/>
                  </a:lnTo>
                  <a:lnTo>
                    <a:pt x="1246" y="50"/>
                  </a:lnTo>
                  <a:lnTo>
                    <a:pt x="1244" y="58"/>
                  </a:lnTo>
                  <a:close/>
                  <a:moveTo>
                    <a:pt x="1186" y="42"/>
                  </a:moveTo>
                  <a:lnTo>
                    <a:pt x="1186" y="42"/>
                  </a:lnTo>
                  <a:lnTo>
                    <a:pt x="1167" y="37"/>
                  </a:lnTo>
                  <a:lnTo>
                    <a:pt x="1169" y="29"/>
                  </a:lnTo>
                  <a:lnTo>
                    <a:pt x="1169" y="29"/>
                  </a:lnTo>
                  <a:lnTo>
                    <a:pt x="1188" y="34"/>
                  </a:lnTo>
                  <a:lnTo>
                    <a:pt x="1186" y="42"/>
                  </a:lnTo>
                  <a:close/>
                  <a:moveTo>
                    <a:pt x="693" y="41"/>
                  </a:moveTo>
                  <a:lnTo>
                    <a:pt x="691" y="33"/>
                  </a:lnTo>
                  <a:lnTo>
                    <a:pt x="691" y="33"/>
                  </a:lnTo>
                  <a:lnTo>
                    <a:pt x="710" y="28"/>
                  </a:lnTo>
                  <a:lnTo>
                    <a:pt x="712" y="35"/>
                  </a:lnTo>
                  <a:lnTo>
                    <a:pt x="712" y="35"/>
                  </a:lnTo>
                  <a:lnTo>
                    <a:pt x="693" y="41"/>
                  </a:lnTo>
                  <a:lnTo>
                    <a:pt x="693" y="41"/>
                  </a:lnTo>
                  <a:close/>
                  <a:moveTo>
                    <a:pt x="1128" y="29"/>
                  </a:moveTo>
                  <a:lnTo>
                    <a:pt x="1128" y="29"/>
                  </a:lnTo>
                  <a:lnTo>
                    <a:pt x="1108" y="25"/>
                  </a:lnTo>
                  <a:lnTo>
                    <a:pt x="1109" y="17"/>
                  </a:lnTo>
                  <a:lnTo>
                    <a:pt x="1109" y="17"/>
                  </a:lnTo>
                  <a:lnTo>
                    <a:pt x="1129" y="21"/>
                  </a:lnTo>
                  <a:lnTo>
                    <a:pt x="1128" y="29"/>
                  </a:lnTo>
                  <a:close/>
                  <a:moveTo>
                    <a:pt x="751" y="26"/>
                  </a:moveTo>
                  <a:lnTo>
                    <a:pt x="749" y="18"/>
                  </a:lnTo>
                  <a:lnTo>
                    <a:pt x="749" y="18"/>
                  </a:lnTo>
                  <a:lnTo>
                    <a:pt x="769" y="14"/>
                  </a:lnTo>
                  <a:lnTo>
                    <a:pt x="771" y="22"/>
                  </a:lnTo>
                  <a:lnTo>
                    <a:pt x="771" y="22"/>
                  </a:lnTo>
                  <a:lnTo>
                    <a:pt x="751" y="26"/>
                  </a:lnTo>
                  <a:lnTo>
                    <a:pt x="751" y="26"/>
                  </a:lnTo>
                  <a:close/>
                  <a:moveTo>
                    <a:pt x="1069" y="19"/>
                  </a:moveTo>
                  <a:lnTo>
                    <a:pt x="1069" y="19"/>
                  </a:lnTo>
                  <a:lnTo>
                    <a:pt x="1049" y="16"/>
                  </a:lnTo>
                  <a:lnTo>
                    <a:pt x="1050" y="8"/>
                  </a:lnTo>
                  <a:lnTo>
                    <a:pt x="1050" y="8"/>
                  </a:lnTo>
                  <a:lnTo>
                    <a:pt x="1070" y="11"/>
                  </a:lnTo>
                  <a:lnTo>
                    <a:pt x="1069" y="19"/>
                  </a:lnTo>
                  <a:close/>
                  <a:moveTo>
                    <a:pt x="810" y="16"/>
                  </a:moveTo>
                  <a:lnTo>
                    <a:pt x="809" y="8"/>
                  </a:lnTo>
                  <a:lnTo>
                    <a:pt x="809" y="8"/>
                  </a:lnTo>
                  <a:lnTo>
                    <a:pt x="829" y="5"/>
                  </a:lnTo>
                  <a:lnTo>
                    <a:pt x="830" y="13"/>
                  </a:lnTo>
                  <a:lnTo>
                    <a:pt x="830" y="13"/>
                  </a:lnTo>
                  <a:lnTo>
                    <a:pt x="810" y="16"/>
                  </a:lnTo>
                  <a:lnTo>
                    <a:pt x="810" y="16"/>
                  </a:lnTo>
                  <a:close/>
                  <a:moveTo>
                    <a:pt x="1009" y="12"/>
                  </a:moveTo>
                  <a:lnTo>
                    <a:pt x="1009" y="12"/>
                  </a:lnTo>
                  <a:lnTo>
                    <a:pt x="989" y="10"/>
                  </a:lnTo>
                  <a:lnTo>
                    <a:pt x="990" y="2"/>
                  </a:lnTo>
                  <a:lnTo>
                    <a:pt x="990" y="2"/>
                  </a:lnTo>
                  <a:lnTo>
                    <a:pt x="1010" y="4"/>
                  </a:lnTo>
                  <a:lnTo>
                    <a:pt x="1009" y="12"/>
                  </a:lnTo>
                  <a:close/>
                  <a:moveTo>
                    <a:pt x="869" y="10"/>
                  </a:moveTo>
                  <a:lnTo>
                    <a:pt x="869" y="2"/>
                  </a:lnTo>
                  <a:lnTo>
                    <a:pt x="869" y="2"/>
                  </a:lnTo>
                  <a:lnTo>
                    <a:pt x="889" y="1"/>
                  </a:lnTo>
                  <a:lnTo>
                    <a:pt x="889" y="9"/>
                  </a:lnTo>
                  <a:lnTo>
                    <a:pt x="889" y="9"/>
                  </a:lnTo>
                  <a:lnTo>
                    <a:pt x="869" y="10"/>
                  </a:lnTo>
                  <a:lnTo>
                    <a:pt x="869" y="10"/>
                  </a:lnTo>
                  <a:close/>
                  <a:moveTo>
                    <a:pt x="949" y="8"/>
                  </a:moveTo>
                  <a:lnTo>
                    <a:pt x="949" y="8"/>
                  </a:lnTo>
                  <a:lnTo>
                    <a:pt x="929" y="8"/>
                  </a:lnTo>
                  <a:lnTo>
                    <a:pt x="929" y="0"/>
                  </a:lnTo>
                  <a:lnTo>
                    <a:pt x="929" y="0"/>
                  </a:lnTo>
                  <a:lnTo>
                    <a:pt x="949" y="0"/>
                  </a:lnTo>
                  <a:lnTo>
                    <a:pt x="949" y="8"/>
                  </a:lnTo>
                  <a:close/>
                </a:path>
              </a:pathLst>
            </a:custGeom>
            <a:solidFill>
              <a:srgbClr val="462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5" name="Freeform 116">
              <a:extLst>
                <a:ext uri="{FF2B5EF4-FFF2-40B4-BE49-F238E27FC236}">
                  <a16:creationId xmlns:a16="http://schemas.microsoft.com/office/drawing/2014/main" id="{F44D3F04-7726-4DB4-8A12-6875834D8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" y="1607"/>
              <a:ext cx="13" cy="12"/>
            </a:xfrm>
            <a:custGeom>
              <a:avLst/>
              <a:gdLst>
                <a:gd name="T0" fmla="*/ 9 w 13"/>
                <a:gd name="T1" fmla="*/ 12 h 12"/>
                <a:gd name="T2" fmla="*/ 0 w 13"/>
                <a:gd name="T3" fmla="*/ 7 h 12"/>
                <a:gd name="T4" fmla="*/ 5 w 13"/>
                <a:gd name="T5" fmla="*/ 0 h 12"/>
                <a:gd name="T6" fmla="*/ 13 w 13"/>
                <a:gd name="T7" fmla="*/ 6 h 12"/>
                <a:gd name="T8" fmla="*/ 9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9" y="12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3" y="6"/>
                  </a:lnTo>
                  <a:lnTo>
                    <a:pt x="9" y="12"/>
                  </a:lnTo>
                  <a:close/>
                </a:path>
              </a:pathLst>
            </a:custGeom>
            <a:solidFill>
              <a:srgbClr val="462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6" name="Freeform 117">
              <a:extLst>
                <a:ext uri="{FF2B5EF4-FFF2-40B4-BE49-F238E27FC236}">
                  <a16:creationId xmlns:a16="http://schemas.microsoft.com/office/drawing/2014/main" id="{26A12C9D-F4DA-467A-B655-4D4F96437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3" y="1589"/>
              <a:ext cx="269" cy="269"/>
            </a:xfrm>
            <a:custGeom>
              <a:avLst/>
              <a:gdLst>
                <a:gd name="T0" fmla="*/ 0 w 269"/>
                <a:gd name="T1" fmla="*/ 134 h 269"/>
                <a:gd name="T2" fmla="*/ 3 w 269"/>
                <a:gd name="T3" fmla="*/ 107 h 269"/>
                <a:gd name="T4" fmla="*/ 10 w 269"/>
                <a:gd name="T5" fmla="*/ 82 h 269"/>
                <a:gd name="T6" fmla="*/ 23 w 269"/>
                <a:gd name="T7" fmla="*/ 59 h 269"/>
                <a:gd name="T8" fmla="*/ 39 w 269"/>
                <a:gd name="T9" fmla="*/ 39 h 269"/>
                <a:gd name="T10" fmla="*/ 59 w 269"/>
                <a:gd name="T11" fmla="*/ 23 h 269"/>
                <a:gd name="T12" fmla="*/ 82 w 269"/>
                <a:gd name="T13" fmla="*/ 10 h 269"/>
                <a:gd name="T14" fmla="*/ 107 w 269"/>
                <a:gd name="T15" fmla="*/ 3 h 269"/>
                <a:gd name="T16" fmla="*/ 134 w 269"/>
                <a:gd name="T17" fmla="*/ 0 h 269"/>
                <a:gd name="T18" fmla="*/ 148 w 269"/>
                <a:gd name="T19" fmla="*/ 0 h 269"/>
                <a:gd name="T20" fmla="*/ 174 w 269"/>
                <a:gd name="T21" fmla="*/ 6 h 269"/>
                <a:gd name="T22" fmla="*/ 199 w 269"/>
                <a:gd name="T23" fmla="*/ 16 h 269"/>
                <a:gd name="T24" fmla="*/ 220 w 269"/>
                <a:gd name="T25" fmla="*/ 30 h 269"/>
                <a:gd name="T26" fmla="*/ 238 w 269"/>
                <a:gd name="T27" fmla="*/ 49 h 269"/>
                <a:gd name="T28" fmla="*/ 253 w 269"/>
                <a:gd name="T29" fmla="*/ 70 h 269"/>
                <a:gd name="T30" fmla="*/ 263 w 269"/>
                <a:gd name="T31" fmla="*/ 94 h 269"/>
                <a:gd name="T32" fmla="*/ 268 w 269"/>
                <a:gd name="T33" fmla="*/ 121 h 269"/>
                <a:gd name="T34" fmla="*/ 269 w 269"/>
                <a:gd name="T35" fmla="*/ 134 h 269"/>
                <a:gd name="T36" fmla="*/ 266 w 269"/>
                <a:gd name="T37" fmla="*/ 161 h 269"/>
                <a:gd name="T38" fmla="*/ 258 w 269"/>
                <a:gd name="T39" fmla="*/ 187 h 269"/>
                <a:gd name="T40" fmla="*/ 246 w 269"/>
                <a:gd name="T41" fmla="*/ 210 h 269"/>
                <a:gd name="T42" fmla="*/ 230 w 269"/>
                <a:gd name="T43" fmla="*/ 230 h 269"/>
                <a:gd name="T44" fmla="*/ 210 w 269"/>
                <a:gd name="T45" fmla="*/ 246 h 269"/>
                <a:gd name="T46" fmla="*/ 187 w 269"/>
                <a:gd name="T47" fmla="*/ 258 h 269"/>
                <a:gd name="T48" fmla="*/ 162 w 269"/>
                <a:gd name="T49" fmla="*/ 266 h 269"/>
                <a:gd name="T50" fmla="*/ 134 w 269"/>
                <a:gd name="T51" fmla="*/ 269 h 269"/>
                <a:gd name="T52" fmla="*/ 121 w 269"/>
                <a:gd name="T53" fmla="*/ 268 h 269"/>
                <a:gd name="T54" fmla="*/ 94 w 269"/>
                <a:gd name="T55" fmla="*/ 263 h 269"/>
                <a:gd name="T56" fmla="*/ 70 w 269"/>
                <a:gd name="T57" fmla="*/ 253 h 269"/>
                <a:gd name="T58" fmla="*/ 49 w 269"/>
                <a:gd name="T59" fmla="*/ 238 h 269"/>
                <a:gd name="T60" fmla="*/ 31 w 269"/>
                <a:gd name="T61" fmla="*/ 220 h 269"/>
                <a:gd name="T62" fmla="*/ 16 w 269"/>
                <a:gd name="T63" fmla="*/ 199 h 269"/>
                <a:gd name="T64" fmla="*/ 6 w 269"/>
                <a:gd name="T65" fmla="*/ 174 h 269"/>
                <a:gd name="T66" fmla="*/ 1 w 269"/>
                <a:gd name="T67" fmla="*/ 148 h 269"/>
                <a:gd name="T68" fmla="*/ 0 w 269"/>
                <a:gd name="T69" fmla="*/ 134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9" h="269">
                  <a:moveTo>
                    <a:pt x="0" y="134"/>
                  </a:moveTo>
                  <a:lnTo>
                    <a:pt x="0" y="134"/>
                  </a:lnTo>
                  <a:lnTo>
                    <a:pt x="1" y="121"/>
                  </a:lnTo>
                  <a:lnTo>
                    <a:pt x="3" y="107"/>
                  </a:lnTo>
                  <a:lnTo>
                    <a:pt x="6" y="94"/>
                  </a:lnTo>
                  <a:lnTo>
                    <a:pt x="10" y="82"/>
                  </a:lnTo>
                  <a:lnTo>
                    <a:pt x="16" y="70"/>
                  </a:lnTo>
                  <a:lnTo>
                    <a:pt x="23" y="59"/>
                  </a:lnTo>
                  <a:lnTo>
                    <a:pt x="31" y="49"/>
                  </a:lnTo>
                  <a:lnTo>
                    <a:pt x="39" y="39"/>
                  </a:lnTo>
                  <a:lnTo>
                    <a:pt x="49" y="30"/>
                  </a:lnTo>
                  <a:lnTo>
                    <a:pt x="59" y="23"/>
                  </a:lnTo>
                  <a:lnTo>
                    <a:pt x="70" y="16"/>
                  </a:lnTo>
                  <a:lnTo>
                    <a:pt x="82" y="10"/>
                  </a:lnTo>
                  <a:lnTo>
                    <a:pt x="94" y="6"/>
                  </a:lnTo>
                  <a:lnTo>
                    <a:pt x="107" y="3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48" y="0"/>
                  </a:lnTo>
                  <a:lnTo>
                    <a:pt x="162" y="3"/>
                  </a:lnTo>
                  <a:lnTo>
                    <a:pt x="174" y="6"/>
                  </a:lnTo>
                  <a:lnTo>
                    <a:pt x="187" y="10"/>
                  </a:lnTo>
                  <a:lnTo>
                    <a:pt x="199" y="16"/>
                  </a:lnTo>
                  <a:lnTo>
                    <a:pt x="210" y="23"/>
                  </a:lnTo>
                  <a:lnTo>
                    <a:pt x="220" y="30"/>
                  </a:lnTo>
                  <a:lnTo>
                    <a:pt x="230" y="39"/>
                  </a:lnTo>
                  <a:lnTo>
                    <a:pt x="238" y="49"/>
                  </a:lnTo>
                  <a:lnTo>
                    <a:pt x="246" y="59"/>
                  </a:lnTo>
                  <a:lnTo>
                    <a:pt x="253" y="70"/>
                  </a:lnTo>
                  <a:lnTo>
                    <a:pt x="258" y="82"/>
                  </a:lnTo>
                  <a:lnTo>
                    <a:pt x="263" y="94"/>
                  </a:lnTo>
                  <a:lnTo>
                    <a:pt x="266" y="107"/>
                  </a:lnTo>
                  <a:lnTo>
                    <a:pt x="268" y="121"/>
                  </a:lnTo>
                  <a:lnTo>
                    <a:pt x="269" y="134"/>
                  </a:lnTo>
                  <a:lnTo>
                    <a:pt x="269" y="134"/>
                  </a:lnTo>
                  <a:lnTo>
                    <a:pt x="268" y="148"/>
                  </a:lnTo>
                  <a:lnTo>
                    <a:pt x="266" y="161"/>
                  </a:lnTo>
                  <a:lnTo>
                    <a:pt x="263" y="174"/>
                  </a:lnTo>
                  <a:lnTo>
                    <a:pt x="258" y="187"/>
                  </a:lnTo>
                  <a:lnTo>
                    <a:pt x="253" y="199"/>
                  </a:lnTo>
                  <a:lnTo>
                    <a:pt x="246" y="210"/>
                  </a:lnTo>
                  <a:lnTo>
                    <a:pt x="238" y="220"/>
                  </a:lnTo>
                  <a:lnTo>
                    <a:pt x="230" y="230"/>
                  </a:lnTo>
                  <a:lnTo>
                    <a:pt x="220" y="238"/>
                  </a:lnTo>
                  <a:lnTo>
                    <a:pt x="210" y="246"/>
                  </a:lnTo>
                  <a:lnTo>
                    <a:pt x="199" y="253"/>
                  </a:lnTo>
                  <a:lnTo>
                    <a:pt x="187" y="258"/>
                  </a:lnTo>
                  <a:lnTo>
                    <a:pt x="174" y="263"/>
                  </a:lnTo>
                  <a:lnTo>
                    <a:pt x="162" y="266"/>
                  </a:lnTo>
                  <a:lnTo>
                    <a:pt x="148" y="268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21" y="268"/>
                  </a:lnTo>
                  <a:lnTo>
                    <a:pt x="107" y="266"/>
                  </a:lnTo>
                  <a:lnTo>
                    <a:pt x="94" y="263"/>
                  </a:lnTo>
                  <a:lnTo>
                    <a:pt x="82" y="258"/>
                  </a:lnTo>
                  <a:lnTo>
                    <a:pt x="70" y="253"/>
                  </a:lnTo>
                  <a:lnTo>
                    <a:pt x="59" y="246"/>
                  </a:lnTo>
                  <a:lnTo>
                    <a:pt x="49" y="238"/>
                  </a:lnTo>
                  <a:lnTo>
                    <a:pt x="39" y="230"/>
                  </a:lnTo>
                  <a:lnTo>
                    <a:pt x="31" y="220"/>
                  </a:lnTo>
                  <a:lnTo>
                    <a:pt x="23" y="210"/>
                  </a:lnTo>
                  <a:lnTo>
                    <a:pt x="16" y="199"/>
                  </a:lnTo>
                  <a:lnTo>
                    <a:pt x="10" y="187"/>
                  </a:lnTo>
                  <a:lnTo>
                    <a:pt x="6" y="174"/>
                  </a:lnTo>
                  <a:lnTo>
                    <a:pt x="3" y="161"/>
                  </a:lnTo>
                  <a:lnTo>
                    <a:pt x="1" y="148"/>
                  </a:lnTo>
                  <a:lnTo>
                    <a:pt x="0" y="134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7" name="Freeform 118">
              <a:extLst>
                <a:ext uri="{FF2B5EF4-FFF2-40B4-BE49-F238E27FC236}">
                  <a16:creationId xmlns:a16="http://schemas.microsoft.com/office/drawing/2014/main" id="{4902C1FA-98C5-4FA3-91E0-00D51A260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9" y="1585"/>
              <a:ext cx="277" cy="277"/>
            </a:xfrm>
            <a:custGeom>
              <a:avLst/>
              <a:gdLst>
                <a:gd name="T0" fmla="*/ 124 w 277"/>
                <a:gd name="T1" fmla="*/ 276 h 277"/>
                <a:gd name="T2" fmla="*/ 85 w 277"/>
                <a:gd name="T3" fmla="*/ 266 h 277"/>
                <a:gd name="T4" fmla="*/ 50 w 277"/>
                <a:gd name="T5" fmla="*/ 245 h 277"/>
                <a:gd name="T6" fmla="*/ 24 w 277"/>
                <a:gd name="T7" fmla="*/ 216 h 277"/>
                <a:gd name="T8" fmla="*/ 6 w 277"/>
                <a:gd name="T9" fmla="*/ 180 h 277"/>
                <a:gd name="T10" fmla="*/ 0 w 277"/>
                <a:gd name="T11" fmla="*/ 138 h 277"/>
                <a:gd name="T12" fmla="*/ 3 w 277"/>
                <a:gd name="T13" fmla="*/ 110 h 277"/>
                <a:gd name="T14" fmla="*/ 17 w 277"/>
                <a:gd name="T15" fmla="*/ 72 h 277"/>
                <a:gd name="T16" fmla="*/ 40 w 277"/>
                <a:gd name="T17" fmla="*/ 40 h 277"/>
                <a:gd name="T18" fmla="*/ 72 w 277"/>
                <a:gd name="T19" fmla="*/ 17 h 277"/>
                <a:gd name="T20" fmla="*/ 111 w 277"/>
                <a:gd name="T21" fmla="*/ 3 h 277"/>
                <a:gd name="T22" fmla="*/ 138 w 277"/>
                <a:gd name="T23" fmla="*/ 0 h 277"/>
                <a:gd name="T24" fmla="*/ 180 w 277"/>
                <a:gd name="T25" fmla="*/ 6 h 277"/>
                <a:gd name="T26" fmla="*/ 216 w 277"/>
                <a:gd name="T27" fmla="*/ 23 h 277"/>
                <a:gd name="T28" fmla="*/ 245 w 277"/>
                <a:gd name="T29" fmla="*/ 50 h 277"/>
                <a:gd name="T30" fmla="*/ 266 w 277"/>
                <a:gd name="T31" fmla="*/ 84 h 277"/>
                <a:gd name="T32" fmla="*/ 276 w 277"/>
                <a:gd name="T33" fmla="*/ 124 h 277"/>
                <a:gd name="T34" fmla="*/ 276 w 277"/>
                <a:gd name="T35" fmla="*/ 153 h 277"/>
                <a:gd name="T36" fmla="*/ 266 w 277"/>
                <a:gd name="T37" fmla="*/ 192 h 277"/>
                <a:gd name="T38" fmla="*/ 245 w 277"/>
                <a:gd name="T39" fmla="*/ 226 h 277"/>
                <a:gd name="T40" fmla="*/ 216 w 277"/>
                <a:gd name="T41" fmla="*/ 253 h 277"/>
                <a:gd name="T42" fmla="*/ 180 w 277"/>
                <a:gd name="T43" fmla="*/ 271 h 277"/>
                <a:gd name="T44" fmla="*/ 138 w 277"/>
                <a:gd name="T45" fmla="*/ 277 h 277"/>
                <a:gd name="T46" fmla="*/ 138 w 277"/>
                <a:gd name="T47" fmla="*/ 8 h 277"/>
                <a:gd name="T48" fmla="*/ 100 w 277"/>
                <a:gd name="T49" fmla="*/ 14 h 277"/>
                <a:gd name="T50" fmla="*/ 65 w 277"/>
                <a:gd name="T51" fmla="*/ 30 h 277"/>
                <a:gd name="T52" fmla="*/ 38 w 277"/>
                <a:gd name="T53" fmla="*/ 55 h 277"/>
                <a:gd name="T54" fmla="*/ 18 w 277"/>
                <a:gd name="T55" fmla="*/ 88 h 277"/>
                <a:gd name="T56" fmla="*/ 8 w 277"/>
                <a:gd name="T57" fmla="*/ 125 h 277"/>
                <a:gd name="T58" fmla="*/ 8 w 277"/>
                <a:gd name="T59" fmla="*/ 152 h 277"/>
                <a:gd name="T60" fmla="*/ 18 w 277"/>
                <a:gd name="T61" fmla="*/ 189 h 277"/>
                <a:gd name="T62" fmla="*/ 38 w 277"/>
                <a:gd name="T63" fmla="*/ 221 h 277"/>
                <a:gd name="T64" fmla="*/ 65 w 277"/>
                <a:gd name="T65" fmla="*/ 247 h 277"/>
                <a:gd name="T66" fmla="*/ 100 w 277"/>
                <a:gd name="T67" fmla="*/ 263 h 277"/>
                <a:gd name="T68" fmla="*/ 138 w 277"/>
                <a:gd name="T69" fmla="*/ 269 h 277"/>
                <a:gd name="T70" fmla="*/ 165 w 277"/>
                <a:gd name="T71" fmla="*/ 266 h 277"/>
                <a:gd name="T72" fmla="*/ 201 w 277"/>
                <a:gd name="T73" fmla="*/ 253 h 277"/>
                <a:gd name="T74" fmla="*/ 231 w 277"/>
                <a:gd name="T75" fmla="*/ 231 h 277"/>
                <a:gd name="T76" fmla="*/ 253 w 277"/>
                <a:gd name="T77" fmla="*/ 201 h 277"/>
                <a:gd name="T78" fmla="*/ 266 w 277"/>
                <a:gd name="T79" fmla="*/ 165 h 277"/>
                <a:gd name="T80" fmla="*/ 269 w 277"/>
                <a:gd name="T81" fmla="*/ 138 h 277"/>
                <a:gd name="T82" fmla="*/ 263 w 277"/>
                <a:gd name="T83" fmla="*/ 100 h 277"/>
                <a:gd name="T84" fmla="*/ 247 w 277"/>
                <a:gd name="T85" fmla="*/ 65 h 277"/>
                <a:gd name="T86" fmla="*/ 221 w 277"/>
                <a:gd name="T87" fmla="*/ 38 h 277"/>
                <a:gd name="T88" fmla="*/ 189 w 277"/>
                <a:gd name="T89" fmla="*/ 18 h 277"/>
                <a:gd name="T90" fmla="*/ 152 w 277"/>
                <a:gd name="T91" fmla="*/ 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7" h="277">
                  <a:moveTo>
                    <a:pt x="138" y="277"/>
                  </a:moveTo>
                  <a:lnTo>
                    <a:pt x="138" y="277"/>
                  </a:lnTo>
                  <a:lnTo>
                    <a:pt x="124" y="276"/>
                  </a:lnTo>
                  <a:lnTo>
                    <a:pt x="111" y="274"/>
                  </a:lnTo>
                  <a:lnTo>
                    <a:pt x="97" y="271"/>
                  </a:lnTo>
                  <a:lnTo>
                    <a:pt x="85" y="266"/>
                  </a:lnTo>
                  <a:lnTo>
                    <a:pt x="72" y="260"/>
                  </a:lnTo>
                  <a:lnTo>
                    <a:pt x="61" y="253"/>
                  </a:lnTo>
                  <a:lnTo>
                    <a:pt x="50" y="245"/>
                  </a:lnTo>
                  <a:lnTo>
                    <a:pt x="40" y="236"/>
                  </a:lnTo>
                  <a:lnTo>
                    <a:pt x="32" y="226"/>
                  </a:lnTo>
                  <a:lnTo>
                    <a:pt x="24" y="216"/>
                  </a:lnTo>
                  <a:lnTo>
                    <a:pt x="17" y="204"/>
                  </a:lnTo>
                  <a:lnTo>
                    <a:pt x="11" y="192"/>
                  </a:lnTo>
                  <a:lnTo>
                    <a:pt x="6" y="180"/>
                  </a:lnTo>
                  <a:lnTo>
                    <a:pt x="3" y="166"/>
                  </a:lnTo>
                  <a:lnTo>
                    <a:pt x="1" y="153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1" y="124"/>
                  </a:lnTo>
                  <a:lnTo>
                    <a:pt x="3" y="110"/>
                  </a:lnTo>
                  <a:lnTo>
                    <a:pt x="6" y="97"/>
                  </a:lnTo>
                  <a:lnTo>
                    <a:pt x="11" y="84"/>
                  </a:lnTo>
                  <a:lnTo>
                    <a:pt x="17" y="72"/>
                  </a:lnTo>
                  <a:lnTo>
                    <a:pt x="24" y="61"/>
                  </a:lnTo>
                  <a:lnTo>
                    <a:pt x="32" y="50"/>
                  </a:lnTo>
                  <a:lnTo>
                    <a:pt x="40" y="40"/>
                  </a:lnTo>
                  <a:lnTo>
                    <a:pt x="50" y="31"/>
                  </a:lnTo>
                  <a:lnTo>
                    <a:pt x="61" y="23"/>
                  </a:lnTo>
                  <a:lnTo>
                    <a:pt x="72" y="17"/>
                  </a:lnTo>
                  <a:lnTo>
                    <a:pt x="85" y="11"/>
                  </a:lnTo>
                  <a:lnTo>
                    <a:pt x="97" y="6"/>
                  </a:lnTo>
                  <a:lnTo>
                    <a:pt x="111" y="3"/>
                  </a:lnTo>
                  <a:lnTo>
                    <a:pt x="124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66" y="3"/>
                  </a:lnTo>
                  <a:lnTo>
                    <a:pt x="180" y="6"/>
                  </a:lnTo>
                  <a:lnTo>
                    <a:pt x="192" y="11"/>
                  </a:lnTo>
                  <a:lnTo>
                    <a:pt x="204" y="17"/>
                  </a:lnTo>
                  <a:lnTo>
                    <a:pt x="216" y="23"/>
                  </a:lnTo>
                  <a:lnTo>
                    <a:pt x="227" y="31"/>
                  </a:lnTo>
                  <a:lnTo>
                    <a:pt x="236" y="40"/>
                  </a:lnTo>
                  <a:lnTo>
                    <a:pt x="245" y="50"/>
                  </a:lnTo>
                  <a:lnTo>
                    <a:pt x="253" y="61"/>
                  </a:lnTo>
                  <a:lnTo>
                    <a:pt x="260" y="72"/>
                  </a:lnTo>
                  <a:lnTo>
                    <a:pt x="266" y="84"/>
                  </a:lnTo>
                  <a:lnTo>
                    <a:pt x="271" y="97"/>
                  </a:lnTo>
                  <a:lnTo>
                    <a:pt x="274" y="110"/>
                  </a:lnTo>
                  <a:lnTo>
                    <a:pt x="276" y="124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6" y="153"/>
                  </a:lnTo>
                  <a:lnTo>
                    <a:pt x="274" y="166"/>
                  </a:lnTo>
                  <a:lnTo>
                    <a:pt x="271" y="180"/>
                  </a:lnTo>
                  <a:lnTo>
                    <a:pt x="266" y="192"/>
                  </a:lnTo>
                  <a:lnTo>
                    <a:pt x="260" y="204"/>
                  </a:lnTo>
                  <a:lnTo>
                    <a:pt x="253" y="216"/>
                  </a:lnTo>
                  <a:lnTo>
                    <a:pt x="245" y="226"/>
                  </a:lnTo>
                  <a:lnTo>
                    <a:pt x="236" y="236"/>
                  </a:lnTo>
                  <a:lnTo>
                    <a:pt x="227" y="245"/>
                  </a:lnTo>
                  <a:lnTo>
                    <a:pt x="216" y="253"/>
                  </a:lnTo>
                  <a:lnTo>
                    <a:pt x="204" y="260"/>
                  </a:lnTo>
                  <a:lnTo>
                    <a:pt x="192" y="266"/>
                  </a:lnTo>
                  <a:lnTo>
                    <a:pt x="180" y="271"/>
                  </a:lnTo>
                  <a:lnTo>
                    <a:pt x="166" y="274"/>
                  </a:lnTo>
                  <a:lnTo>
                    <a:pt x="153" y="276"/>
                  </a:lnTo>
                  <a:lnTo>
                    <a:pt x="138" y="277"/>
                  </a:lnTo>
                  <a:lnTo>
                    <a:pt x="138" y="277"/>
                  </a:lnTo>
                  <a:close/>
                  <a:moveTo>
                    <a:pt x="138" y="8"/>
                  </a:moveTo>
                  <a:lnTo>
                    <a:pt x="138" y="8"/>
                  </a:lnTo>
                  <a:lnTo>
                    <a:pt x="125" y="8"/>
                  </a:lnTo>
                  <a:lnTo>
                    <a:pt x="112" y="10"/>
                  </a:lnTo>
                  <a:lnTo>
                    <a:pt x="100" y="14"/>
                  </a:lnTo>
                  <a:lnTo>
                    <a:pt x="88" y="18"/>
                  </a:lnTo>
                  <a:lnTo>
                    <a:pt x="76" y="24"/>
                  </a:lnTo>
                  <a:lnTo>
                    <a:pt x="65" y="30"/>
                  </a:lnTo>
                  <a:lnTo>
                    <a:pt x="55" y="38"/>
                  </a:lnTo>
                  <a:lnTo>
                    <a:pt x="46" y="46"/>
                  </a:lnTo>
                  <a:lnTo>
                    <a:pt x="38" y="55"/>
                  </a:lnTo>
                  <a:lnTo>
                    <a:pt x="30" y="65"/>
                  </a:lnTo>
                  <a:lnTo>
                    <a:pt x="24" y="76"/>
                  </a:lnTo>
                  <a:lnTo>
                    <a:pt x="18" y="88"/>
                  </a:lnTo>
                  <a:lnTo>
                    <a:pt x="14" y="100"/>
                  </a:lnTo>
                  <a:lnTo>
                    <a:pt x="10" y="112"/>
                  </a:lnTo>
                  <a:lnTo>
                    <a:pt x="8" y="125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52"/>
                  </a:lnTo>
                  <a:lnTo>
                    <a:pt x="10" y="165"/>
                  </a:lnTo>
                  <a:lnTo>
                    <a:pt x="14" y="177"/>
                  </a:lnTo>
                  <a:lnTo>
                    <a:pt x="18" y="189"/>
                  </a:lnTo>
                  <a:lnTo>
                    <a:pt x="24" y="201"/>
                  </a:lnTo>
                  <a:lnTo>
                    <a:pt x="30" y="211"/>
                  </a:lnTo>
                  <a:lnTo>
                    <a:pt x="38" y="221"/>
                  </a:lnTo>
                  <a:lnTo>
                    <a:pt x="46" y="231"/>
                  </a:lnTo>
                  <a:lnTo>
                    <a:pt x="55" y="239"/>
                  </a:lnTo>
                  <a:lnTo>
                    <a:pt x="65" y="247"/>
                  </a:lnTo>
                  <a:lnTo>
                    <a:pt x="76" y="253"/>
                  </a:lnTo>
                  <a:lnTo>
                    <a:pt x="88" y="259"/>
                  </a:lnTo>
                  <a:lnTo>
                    <a:pt x="100" y="263"/>
                  </a:lnTo>
                  <a:lnTo>
                    <a:pt x="112" y="266"/>
                  </a:lnTo>
                  <a:lnTo>
                    <a:pt x="125" y="268"/>
                  </a:lnTo>
                  <a:lnTo>
                    <a:pt x="138" y="269"/>
                  </a:lnTo>
                  <a:lnTo>
                    <a:pt x="138" y="269"/>
                  </a:lnTo>
                  <a:lnTo>
                    <a:pt x="152" y="268"/>
                  </a:lnTo>
                  <a:lnTo>
                    <a:pt x="165" y="266"/>
                  </a:lnTo>
                  <a:lnTo>
                    <a:pt x="177" y="263"/>
                  </a:lnTo>
                  <a:lnTo>
                    <a:pt x="189" y="259"/>
                  </a:lnTo>
                  <a:lnTo>
                    <a:pt x="201" y="253"/>
                  </a:lnTo>
                  <a:lnTo>
                    <a:pt x="211" y="247"/>
                  </a:lnTo>
                  <a:lnTo>
                    <a:pt x="221" y="239"/>
                  </a:lnTo>
                  <a:lnTo>
                    <a:pt x="231" y="231"/>
                  </a:lnTo>
                  <a:lnTo>
                    <a:pt x="239" y="221"/>
                  </a:lnTo>
                  <a:lnTo>
                    <a:pt x="247" y="211"/>
                  </a:lnTo>
                  <a:lnTo>
                    <a:pt x="253" y="201"/>
                  </a:lnTo>
                  <a:lnTo>
                    <a:pt x="259" y="189"/>
                  </a:lnTo>
                  <a:lnTo>
                    <a:pt x="263" y="177"/>
                  </a:lnTo>
                  <a:lnTo>
                    <a:pt x="266" y="165"/>
                  </a:lnTo>
                  <a:lnTo>
                    <a:pt x="268" y="152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8" y="125"/>
                  </a:lnTo>
                  <a:lnTo>
                    <a:pt x="266" y="112"/>
                  </a:lnTo>
                  <a:lnTo>
                    <a:pt x="263" y="100"/>
                  </a:lnTo>
                  <a:lnTo>
                    <a:pt x="259" y="88"/>
                  </a:lnTo>
                  <a:lnTo>
                    <a:pt x="253" y="76"/>
                  </a:lnTo>
                  <a:lnTo>
                    <a:pt x="247" y="65"/>
                  </a:lnTo>
                  <a:lnTo>
                    <a:pt x="239" y="55"/>
                  </a:lnTo>
                  <a:lnTo>
                    <a:pt x="231" y="46"/>
                  </a:lnTo>
                  <a:lnTo>
                    <a:pt x="221" y="38"/>
                  </a:lnTo>
                  <a:lnTo>
                    <a:pt x="211" y="30"/>
                  </a:lnTo>
                  <a:lnTo>
                    <a:pt x="201" y="24"/>
                  </a:lnTo>
                  <a:lnTo>
                    <a:pt x="189" y="18"/>
                  </a:lnTo>
                  <a:lnTo>
                    <a:pt x="177" y="14"/>
                  </a:lnTo>
                  <a:lnTo>
                    <a:pt x="165" y="10"/>
                  </a:lnTo>
                  <a:lnTo>
                    <a:pt x="152" y="8"/>
                  </a:lnTo>
                  <a:lnTo>
                    <a:pt x="138" y="8"/>
                  </a:lnTo>
                  <a:lnTo>
                    <a:pt x="138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8" name="Freeform 119">
              <a:extLst>
                <a:ext uri="{FF2B5EF4-FFF2-40B4-BE49-F238E27FC236}">
                  <a16:creationId xmlns:a16="http://schemas.microsoft.com/office/drawing/2014/main" id="{7CCB6D31-4840-4ABD-B4FF-EB55C88EE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" y="1589"/>
              <a:ext cx="265" cy="163"/>
            </a:xfrm>
            <a:custGeom>
              <a:avLst/>
              <a:gdLst>
                <a:gd name="T0" fmla="*/ 191 w 265"/>
                <a:gd name="T1" fmla="*/ 163 h 163"/>
                <a:gd name="T2" fmla="*/ 191 w 265"/>
                <a:gd name="T3" fmla="*/ 163 h 163"/>
                <a:gd name="T4" fmla="*/ 196 w 265"/>
                <a:gd name="T5" fmla="*/ 163 h 163"/>
                <a:gd name="T6" fmla="*/ 202 w 265"/>
                <a:gd name="T7" fmla="*/ 163 h 163"/>
                <a:gd name="T8" fmla="*/ 207 w 265"/>
                <a:gd name="T9" fmla="*/ 162 h 163"/>
                <a:gd name="T10" fmla="*/ 212 w 265"/>
                <a:gd name="T11" fmla="*/ 160 h 163"/>
                <a:gd name="T12" fmla="*/ 222 w 265"/>
                <a:gd name="T13" fmla="*/ 155 h 163"/>
                <a:gd name="T14" fmla="*/ 232 w 265"/>
                <a:gd name="T15" fmla="*/ 149 h 163"/>
                <a:gd name="T16" fmla="*/ 241 w 265"/>
                <a:gd name="T17" fmla="*/ 140 h 163"/>
                <a:gd name="T18" fmla="*/ 250 w 265"/>
                <a:gd name="T19" fmla="*/ 130 h 163"/>
                <a:gd name="T20" fmla="*/ 258 w 265"/>
                <a:gd name="T21" fmla="*/ 119 h 163"/>
                <a:gd name="T22" fmla="*/ 265 w 265"/>
                <a:gd name="T23" fmla="*/ 108 h 163"/>
                <a:gd name="T24" fmla="*/ 265 w 265"/>
                <a:gd name="T25" fmla="*/ 108 h 163"/>
                <a:gd name="T26" fmla="*/ 263 w 265"/>
                <a:gd name="T27" fmla="*/ 96 h 163"/>
                <a:gd name="T28" fmla="*/ 259 w 265"/>
                <a:gd name="T29" fmla="*/ 85 h 163"/>
                <a:gd name="T30" fmla="*/ 254 w 265"/>
                <a:gd name="T31" fmla="*/ 75 h 163"/>
                <a:gd name="T32" fmla="*/ 249 w 265"/>
                <a:gd name="T33" fmla="*/ 65 h 163"/>
                <a:gd name="T34" fmla="*/ 242 w 265"/>
                <a:gd name="T35" fmla="*/ 55 h 163"/>
                <a:gd name="T36" fmla="*/ 235 w 265"/>
                <a:gd name="T37" fmla="*/ 46 h 163"/>
                <a:gd name="T38" fmla="*/ 228 w 265"/>
                <a:gd name="T39" fmla="*/ 38 h 163"/>
                <a:gd name="T40" fmla="*/ 219 w 265"/>
                <a:gd name="T41" fmla="*/ 31 h 163"/>
                <a:gd name="T42" fmla="*/ 210 w 265"/>
                <a:gd name="T43" fmla="*/ 24 h 163"/>
                <a:gd name="T44" fmla="*/ 201 w 265"/>
                <a:gd name="T45" fmla="*/ 18 h 163"/>
                <a:gd name="T46" fmla="*/ 190 w 265"/>
                <a:gd name="T47" fmla="*/ 12 h 163"/>
                <a:gd name="T48" fmla="*/ 180 w 265"/>
                <a:gd name="T49" fmla="*/ 8 h 163"/>
                <a:gd name="T50" fmla="*/ 169 w 265"/>
                <a:gd name="T51" fmla="*/ 4 h 163"/>
                <a:gd name="T52" fmla="*/ 157 w 265"/>
                <a:gd name="T53" fmla="*/ 2 h 163"/>
                <a:gd name="T54" fmla="*/ 145 w 265"/>
                <a:gd name="T55" fmla="*/ 0 h 163"/>
                <a:gd name="T56" fmla="*/ 133 w 265"/>
                <a:gd name="T57" fmla="*/ 0 h 163"/>
                <a:gd name="T58" fmla="*/ 133 w 265"/>
                <a:gd name="T59" fmla="*/ 0 h 163"/>
                <a:gd name="T60" fmla="*/ 121 w 265"/>
                <a:gd name="T61" fmla="*/ 0 h 163"/>
                <a:gd name="T62" fmla="*/ 108 w 265"/>
                <a:gd name="T63" fmla="*/ 2 h 163"/>
                <a:gd name="T64" fmla="*/ 96 w 265"/>
                <a:gd name="T65" fmla="*/ 5 h 163"/>
                <a:gd name="T66" fmla="*/ 84 w 265"/>
                <a:gd name="T67" fmla="*/ 9 h 163"/>
                <a:gd name="T68" fmla="*/ 73 w 265"/>
                <a:gd name="T69" fmla="*/ 14 h 163"/>
                <a:gd name="T70" fmla="*/ 62 w 265"/>
                <a:gd name="T71" fmla="*/ 20 h 163"/>
                <a:gd name="T72" fmla="*/ 52 w 265"/>
                <a:gd name="T73" fmla="*/ 27 h 163"/>
                <a:gd name="T74" fmla="*/ 43 w 265"/>
                <a:gd name="T75" fmla="*/ 35 h 163"/>
                <a:gd name="T76" fmla="*/ 34 w 265"/>
                <a:gd name="T77" fmla="*/ 43 h 163"/>
                <a:gd name="T78" fmla="*/ 27 w 265"/>
                <a:gd name="T79" fmla="*/ 52 h 163"/>
                <a:gd name="T80" fmla="*/ 20 w 265"/>
                <a:gd name="T81" fmla="*/ 62 h 163"/>
                <a:gd name="T82" fmla="*/ 14 w 265"/>
                <a:gd name="T83" fmla="*/ 73 h 163"/>
                <a:gd name="T84" fmla="*/ 9 w 265"/>
                <a:gd name="T85" fmla="*/ 84 h 163"/>
                <a:gd name="T86" fmla="*/ 5 w 265"/>
                <a:gd name="T87" fmla="*/ 96 h 163"/>
                <a:gd name="T88" fmla="*/ 1 w 265"/>
                <a:gd name="T89" fmla="*/ 108 h 163"/>
                <a:gd name="T90" fmla="*/ 0 w 265"/>
                <a:gd name="T91" fmla="*/ 120 h 163"/>
                <a:gd name="T92" fmla="*/ 0 w 265"/>
                <a:gd name="T93" fmla="*/ 120 h 163"/>
                <a:gd name="T94" fmla="*/ 12 w 265"/>
                <a:gd name="T95" fmla="*/ 117 h 163"/>
                <a:gd name="T96" fmla="*/ 24 w 265"/>
                <a:gd name="T97" fmla="*/ 115 h 163"/>
                <a:gd name="T98" fmla="*/ 36 w 265"/>
                <a:gd name="T99" fmla="*/ 115 h 163"/>
                <a:gd name="T100" fmla="*/ 49 w 265"/>
                <a:gd name="T101" fmla="*/ 116 h 163"/>
                <a:gd name="T102" fmla="*/ 62 w 265"/>
                <a:gd name="T103" fmla="*/ 119 h 163"/>
                <a:gd name="T104" fmla="*/ 75 w 265"/>
                <a:gd name="T105" fmla="*/ 122 h 163"/>
                <a:gd name="T106" fmla="*/ 100 w 265"/>
                <a:gd name="T107" fmla="*/ 131 h 163"/>
                <a:gd name="T108" fmla="*/ 125 w 265"/>
                <a:gd name="T109" fmla="*/ 141 h 163"/>
                <a:gd name="T110" fmla="*/ 149 w 265"/>
                <a:gd name="T111" fmla="*/ 150 h 163"/>
                <a:gd name="T112" fmla="*/ 171 w 265"/>
                <a:gd name="T113" fmla="*/ 158 h 163"/>
                <a:gd name="T114" fmla="*/ 181 w 265"/>
                <a:gd name="T115" fmla="*/ 161 h 163"/>
                <a:gd name="T116" fmla="*/ 191 w 265"/>
                <a:gd name="T117" fmla="*/ 163 h 163"/>
                <a:gd name="T118" fmla="*/ 191 w 265"/>
                <a:gd name="T11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5" h="163">
                  <a:moveTo>
                    <a:pt x="191" y="163"/>
                  </a:moveTo>
                  <a:lnTo>
                    <a:pt x="191" y="163"/>
                  </a:lnTo>
                  <a:lnTo>
                    <a:pt x="196" y="163"/>
                  </a:lnTo>
                  <a:lnTo>
                    <a:pt x="202" y="163"/>
                  </a:lnTo>
                  <a:lnTo>
                    <a:pt x="207" y="162"/>
                  </a:lnTo>
                  <a:lnTo>
                    <a:pt x="212" y="160"/>
                  </a:lnTo>
                  <a:lnTo>
                    <a:pt x="222" y="155"/>
                  </a:lnTo>
                  <a:lnTo>
                    <a:pt x="232" y="149"/>
                  </a:lnTo>
                  <a:lnTo>
                    <a:pt x="241" y="140"/>
                  </a:lnTo>
                  <a:lnTo>
                    <a:pt x="250" y="130"/>
                  </a:lnTo>
                  <a:lnTo>
                    <a:pt x="258" y="119"/>
                  </a:lnTo>
                  <a:lnTo>
                    <a:pt x="265" y="108"/>
                  </a:lnTo>
                  <a:lnTo>
                    <a:pt x="265" y="108"/>
                  </a:lnTo>
                  <a:lnTo>
                    <a:pt x="263" y="96"/>
                  </a:lnTo>
                  <a:lnTo>
                    <a:pt x="259" y="85"/>
                  </a:lnTo>
                  <a:lnTo>
                    <a:pt x="254" y="75"/>
                  </a:lnTo>
                  <a:lnTo>
                    <a:pt x="249" y="65"/>
                  </a:lnTo>
                  <a:lnTo>
                    <a:pt x="242" y="55"/>
                  </a:lnTo>
                  <a:lnTo>
                    <a:pt x="235" y="46"/>
                  </a:lnTo>
                  <a:lnTo>
                    <a:pt x="228" y="38"/>
                  </a:lnTo>
                  <a:lnTo>
                    <a:pt x="219" y="31"/>
                  </a:lnTo>
                  <a:lnTo>
                    <a:pt x="210" y="24"/>
                  </a:lnTo>
                  <a:lnTo>
                    <a:pt x="201" y="18"/>
                  </a:lnTo>
                  <a:lnTo>
                    <a:pt x="190" y="12"/>
                  </a:lnTo>
                  <a:lnTo>
                    <a:pt x="180" y="8"/>
                  </a:lnTo>
                  <a:lnTo>
                    <a:pt x="169" y="4"/>
                  </a:lnTo>
                  <a:lnTo>
                    <a:pt x="157" y="2"/>
                  </a:lnTo>
                  <a:lnTo>
                    <a:pt x="145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21" y="0"/>
                  </a:lnTo>
                  <a:lnTo>
                    <a:pt x="108" y="2"/>
                  </a:lnTo>
                  <a:lnTo>
                    <a:pt x="96" y="5"/>
                  </a:lnTo>
                  <a:lnTo>
                    <a:pt x="84" y="9"/>
                  </a:lnTo>
                  <a:lnTo>
                    <a:pt x="73" y="14"/>
                  </a:lnTo>
                  <a:lnTo>
                    <a:pt x="62" y="20"/>
                  </a:lnTo>
                  <a:lnTo>
                    <a:pt x="52" y="27"/>
                  </a:lnTo>
                  <a:lnTo>
                    <a:pt x="43" y="35"/>
                  </a:lnTo>
                  <a:lnTo>
                    <a:pt x="34" y="43"/>
                  </a:lnTo>
                  <a:lnTo>
                    <a:pt x="27" y="52"/>
                  </a:lnTo>
                  <a:lnTo>
                    <a:pt x="20" y="62"/>
                  </a:lnTo>
                  <a:lnTo>
                    <a:pt x="14" y="73"/>
                  </a:lnTo>
                  <a:lnTo>
                    <a:pt x="9" y="84"/>
                  </a:lnTo>
                  <a:lnTo>
                    <a:pt x="5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2" y="117"/>
                  </a:lnTo>
                  <a:lnTo>
                    <a:pt x="24" y="115"/>
                  </a:lnTo>
                  <a:lnTo>
                    <a:pt x="36" y="115"/>
                  </a:lnTo>
                  <a:lnTo>
                    <a:pt x="49" y="116"/>
                  </a:lnTo>
                  <a:lnTo>
                    <a:pt x="62" y="119"/>
                  </a:lnTo>
                  <a:lnTo>
                    <a:pt x="75" y="122"/>
                  </a:lnTo>
                  <a:lnTo>
                    <a:pt x="100" y="131"/>
                  </a:lnTo>
                  <a:lnTo>
                    <a:pt x="125" y="141"/>
                  </a:lnTo>
                  <a:lnTo>
                    <a:pt x="149" y="150"/>
                  </a:lnTo>
                  <a:lnTo>
                    <a:pt x="171" y="158"/>
                  </a:lnTo>
                  <a:lnTo>
                    <a:pt x="181" y="161"/>
                  </a:lnTo>
                  <a:lnTo>
                    <a:pt x="191" y="163"/>
                  </a:lnTo>
                  <a:lnTo>
                    <a:pt x="191" y="163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39" name="Freeform 120">
              <a:extLst>
                <a:ext uri="{FF2B5EF4-FFF2-40B4-BE49-F238E27FC236}">
                  <a16:creationId xmlns:a16="http://schemas.microsoft.com/office/drawing/2014/main" id="{46793B67-CBAE-4085-AD36-78B0A1437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9" y="1585"/>
              <a:ext cx="275" cy="171"/>
            </a:xfrm>
            <a:custGeom>
              <a:avLst/>
              <a:gdLst>
                <a:gd name="T0" fmla="*/ 201 w 275"/>
                <a:gd name="T1" fmla="*/ 171 h 171"/>
                <a:gd name="T2" fmla="*/ 195 w 275"/>
                <a:gd name="T3" fmla="*/ 171 h 171"/>
                <a:gd name="T4" fmla="*/ 166 w 275"/>
                <a:gd name="T5" fmla="*/ 163 h 171"/>
                <a:gd name="T6" fmla="*/ 133 w 275"/>
                <a:gd name="T7" fmla="*/ 150 h 171"/>
                <a:gd name="T8" fmla="*/ 102 w 275"/>
                <a:gd name="T9" fmla="*/ 138 h 171"/>
                <a:gd name="T10" fmla="*/ 69 w 275"/>
                <a:gd name="T11" fmla="*/ 127 h 171"/>
                <a:gd name="T12" fmla="*/ 37 w 275"/>
                <a:gd name="T13" fmla="*/ 123 h 171"/>
                <a:gd name="T14" fmla="*/ 21 w 275"/>
                <a:gd name="T15" fmla="*/ 124 h 171"/>
                <a:gd name="T16" fmla="*/ 6 w 275"/>
                <a:gd name="T17" fmla="*/ 128 h 171"/>
                <a:gd name="T18" fmla="*/ 1 w 275"/>
                <a:gd name="T19" fmla="*/ 124 h 171"/>
                <a:gd name="T20" fmla="*/ 3 w 275"/>
                <a:gd name="T21" fmla="*/ 111 h 171"/>
                <a:gd name="T22" fmla="*/ 10 w 275"/>
                <a:gd name="T23" fmla="*/ 86 h 171"/>
                <a:gd name="T24" fmla="*/ 22 w 275"/>
                <a:gd name="T25" fmla="*/ 64 h 171"/>
                <a:gd name="T26" fmla="*/ 37 w 275"/>
                <a:gd name="T27" fmla="*/ 44 h 171"/>
                <a:gd name="T28" fmla="*/ 55 w 275"/>
                <a:gd name="T29" fmla="*/ 27 h 171"/>
                <a:gd name="T30" fmla="*/ 76 w 275"/>
                <a:gd name="T31" fmla="*/ 14 h 171"/>
                <a:gd name="T32" fmla="*/ 100 w 275"/>
                <a:gd name="T33" fmla="*/ 5 h 171"/>
                <a:gd name="T34" fmla="*/ 125 w 275"/>
                <a:gd name="T35" fmla="*/ 0 h 171"/>
                <a:gd name="T36" fmla="*/ 138 w 275"/>
                <a:gd name="T37" fmla="*/ 0 h 171"/>
                <a:gd name="T38" fmla="*/ 163 w 275"/>
                <a:gd name="T39" fmla="*/ 2 h 171"/>
                <a:gd name="T40" fmla="*/ 186 w 275"/>
                <a:gd name="T41" fmla="*/ 8 h 171"/>
                <a:gd name="T42" fmla="*/ 207 w 275"/>
                <a:gd name="T43" fmla="*/ 18 h 171"/>
                <a:gd name="T44" fmla="*/ 226 w 275"/>
                <a:gd name="T45" fmla="*/ 31 h 171"/>
                <a:gd name="T46" fmla="*/ 243 w 275"/>
                <a:gd name="T47" fmla="*/ 47 h 171"/>
                <a:gd name="T48" fmla="*/ 257 w 275"/>
                <a:gd name="T49" fmla="*/ 66 h 171"/>
                <a:gd name="T50" fmla="*/ 267 w 275"/>
                <a:gd name="T51" fmla="*/ 88 h 171"/>
                <a:gd name="T52" fmla="*/ 274 w 275"/>
                <a:gd name="T53" fmla="*/ 111 h 171"/>
                <a:gd name="T54" fmla="*/ 274 w 275"/>
                <a:gd name="T55" fmla="*/ 114 h 171"/>
                <a:gd name="T56" fmla="*/ 265 w 275"/>
                <a:gd name="T57" fmla="*/ 127 h 171"/>
                <a:gd name="T58" fmla="*/ 247 w 275"/>
                <a:gd name="T59" fmla="*/ 149 h 171"/>
                <a:gd name="T60" fmla="*/ 229 w 275"/>
                <a:gd name="T61" fmla="*/ 163 h 171"/>
                <a:gd name="T62" fmla="*/ 211 w 275"/>
                <a:gd name="T63" fmla="*/ 170 h 171"/>
                <a:gd name="T64" fmla="*/ 201 w 275"/>
                <a:gd name="T65" fmla="*/ 171 h 171"/>
                <a:gd name="T66" fmla="*/ 196 w 275"/>
                <a:gd name="T67" fmla="*/ 163 h 171"/>
                <a:gd name="T68" fmla="*/ 214 w 275"/>
                <a:gd name="T69" fmla="*/ 161 h 171"/>
                <a:gd name="T70" fmla="*/ 231 w 275"/>
                <a:gd name="T71" fmla="*/ 152 h 171"/>
                <a:gd name="T72" fmla="*/ 249 w 275"/>
                <a:gd name="T73" fmla="*/ 135 h 171"/>
                <a:gd name="T74" fmla="*/ 266 w 275"/>
                <a:gd name="T75" fmla="*/ 111 h 171"/>
                <a:gd name="T76" fmla="*/ 263 w 275"/>
                <a:gd name="T77" fmla="*/ 100 h 171"/>
                <a:gd name="T78" fmla="*/ 255 w 275"/>
                <a:gd name="T79" fmla="*/ 79 h 171"/>
                <a:gd name="T80" fmla="*/ 243 w 275"/>
                <a:gd name="T81" fmla="*/ 60 h 171"/>
                <a:gd name="T82" fmla="*/ 229 w 275"/>
                <a:gd name="T83" fmla="*/ 44 h 171"/>
                <a:gd name="T84" fmla="*/ 212 w 275"/>
                <a:gd name="T85" fmla="*/ 30 h 171"/>
                <a:gd name="T86" fmla="*/ 193 w 275"/>
                <a:gd name="T87" fmla="*/ 20 h 171"/>
                <a:gd name="T88" fmla="*/ 172 w 275"/>
                <a:gd name="T89" fmla="*/ 12 h 171"/>
                <a:gd name="T90" fmla="*/ 150 w 275"/>
                <a:gd name="T91" fmla="*/ 8 h 171"/>
                <a:gd name="T92" fmla="*/ 138 w 275"/>
                <a:gd name="T93" fmla="*/ 8 h 171"/>
                <a:gd name="T94" fmla="*/ 115 w 275"/>
                <a:gd name="T95" fmla="*/ 10 h 171"/>
                <a:gd name="T96" fmla="*/ 92 w 275"/>
                <a:gd name="T97" fmla="*/ 16 h 171"/>
                <a:gd name="T98" fmla="*/ 72 w 275"/>
                <a:gd name="T99" fmla="*/ 26 h 171"/>
                <a:gd name="T100" fmla="*/ 53 w 275"/>
                <a:gd name="T101" fmla="*/ 39 h 171"/>
                <a:gd name="T102" fmla="*/ 37 w 275"/>
                <a:gd name="T103" fmla="*/ 56 h 171"/>
                <a:gd name="T104" fmla="*/ 24 w 275"/>
                <a:gd name="T105" fmla="*/ 74 h 171"/>
                <a:gd name="T106" fmla="*/ 15 w 275"/>
                <a:gd name="T107" fmla="*/ 95 h 171"/>
                <a:gd name="T108" fmla="*/ 9 w 275"/>
                <a:gd name="T109" fmla="*/ 118 h 171"/>
                <a:gd name="T110" fmla="*/ 17 w 275"/>
                <a:gd name="T111" fmla="*/ 117 h 171"/>
                <a:gd name="T112" fmla="*/ 41 w 275"/>
                <a:gd name="T113" fmla="*/ 115 h 171"/>
                <a:gd name="T114" fmla="*/ 73 w 275"/>
                <a:gd name="T115" fmla="*/ 120 h 171"/>
                <a:gd name="T116" fmla="*/ 105 w 275"/>
                <a:gd name="T117" fmla="*/ 130 h 171"/>
                <a:gd name="T118" fmla="*/ 136 w 275"/>
                <a:gd name="T119" fmla="*/ 143 h 171"/>
                <a:gd name="T120" fmla="*/ 183 w 275"/>
                <a:gd name="T121" fmla="*/ 160 h 171"/>
                <a:gd name="T122" fmla="*/ 196 w 275"/>
                <a:gd name="T123" fmla="*/ 16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5" h="171">
                  <a:moveTo>
                    <a:pt x="201" y="171"/>
                  </a:moveTo>
                  <a:lnTo>
                    <a:pt x="201" y="171"/>
                  </a:lnTo>
                  <a:lnTo>
                    <a:pt x="195" y="171"/>
                  </a:lnTo>
                  <a:lnTo>
                    <a:pt x="195" y="171"/>
                  </a:lnTo>
                  <a:lnTo>
                    <a:pt x="181" y="168"/>
                  </a:lnTo>
                  <a:lnTo>
                    <a:pt x="166" y="163"/>
                  </a:lnTo>
                  <a:lnTo>
                    <a:pt x="150" y="157"/>
                  </a:lnTo>
                  <a:lnTo>
                    <a:pt x="133" y="150"/>
                  </a:lnTo>
                  <a:lnTo>
                    <a:pt x="133" y="150"/>
                  </a:lnTo>
                  <a:lnTo>
                    <a:pt x="102" y="138"/>
                  </a:lnTo>
                  <a:lnTo>
                    <a:pt x="85" y="132"/>
                  </a:lnTo>
                  <a:lnTo>
                    <a:pt x="69" y="127"/>
                  </a:lnTo>
                  <a:lnTo>
                    <a:pt x="53" y="124"/>
                  </a:lnTo>
                  <a:lnTo>
                    <a:pt x="37" y="123"/>
                  </a:lnTo>
                  <a:lnTo>
                    <a:pt x="29" y="123"/>
                  </a:lnTo>
                  <a:lnTo>
                    <a:pt x="21" y="124"/>
                  </a:lnTo>
                  <a:lnTo>
                    <a:pt x="13" y="126"/>
                  </a:lnTo>
                  <a:lnTo>
                    <a:pt x="6" y="128"/>
                  </a:lnTo>
                  <a:lnTo>
                    <a:pt x="0" y="130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3" y="111"/>
                  </a:lnTo>
                  <a:lnTo>
                    <a:pt x="6" y="98"/>
                  </a:lnTo>
                  <a:lnTo>
                    <a:pt x="10" y="86"/>
                  </a:lnTo>
                  <a:lnTo>
                    <a:pt x="15" y="75"/>
                  </a:lnTo>
                  <a:lnTo>
                    <a:pt x="22" y="64"/>
                  </a:lnTo>
                  <a:lnTo>
                    <a:pt x="29" y="53"/>
                  </a:lnTo>
                  <a:lnTo>
                    <a:pt x="37" y="44"/>
                  </a:lnTo>
                  <a:lnTo>
                    <a:pt x="46" y="35"/>
                  </a:lnTo>
                  <a:lnTo>
                    <a:pt x="55" y="27"/>
                  </a:lnTo>
                  <a:lnTo>
                    <a:pt x="65" y="20"/>
                  </a:lnTo>
                  <a:lnTo>
                    <a:pt x="76" y="14"/>
                  </a:lnTo>
                  <a:lnTo>
                    <a:pt x="88" y="9"/>
                  </a:lnTo>
                  <a:lnTo>
                    <a:pt x="100" y="5"/>
                  </a:lnTo>
                  <a:lnTo>
                    <a:pt x="112" y="2"/>
                  </a:lnTo>
                  <a:lnTo>
                    <a:pt x="125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51" y="0"/>
                  </a:lnTo>
                  <a:lnTo>
                    <a:pt x="163" y="2"/>
                  </a:lnTo>
                  <a:lnTo>
                    <a:pt x="174" y="5"/>
                  </a:lnTo>
                  <a:lnTo>
                    <a:pt x="186" y="8"/>
                  </a:lnTo>
                  <a:lnTo>
                    <a:pt x="196" y="13"/>
                  </a:lnTo>
                  <a:lnTo>
                    <a:pt x="207" y="18"/>
                  </a:lnTo>
                  <a:lnTo>
                    <a:pt x="217" y="24"/>
                  </a:lnTo>
                  <a:lnTo>
                    <a:pt x="226" y="31"/>
                  </a:lnTo>
                  <a:lnTo>
                    <a:pt x="235" y="39"/>
                  </a:lnTo>
                  <a:lnTo>
                    <a:pt x="243" y="47"/>
                  </a:lnTo>
                  <a:lnTo>
                    <a:pt x="250" y="57"/>
                  </a:lnTo>
                  <a:lnTo>
                    <a:pt x="257" y="66"/>
                  </a:lnTo>
                  <a:lnTo>
                    <a:pt x="263" y="77"/>
                  </a:lnTo>
                  <a:lnTo>
                    <a:pt x="267" y="88"/>
                  </a:lnTo>
                  <a:lnTo>
                    <a:pt x="271" y="99"/>
                  </a:lnTo>
                  <a:lnTo>
                    <a:pt x="274" y="111"/>
                  </a:lnTo>
                  <a:lnTo>
                    <a:pt x="275" y="112"/>
                  </a:lnTo>
                  <a:lnTo>
                    <a:pt x="274" y="114"/>
                  </a:lnTo>
                  <a:lnTo>
                    <a:pt x="274" y="114"/>
                  </a:lnTo>
                  <a:lnTo>
                    <a:pt x="265" y="127"/>
                  </a:lnTo>
                  <a:lnTo>
                    <a:pt x="256" y="139"/>
                  </a:lnTo>
                  <a:lnTo>
                    <a:pt x="247" y="149"/>
                  </a:lnTo>
                  <a:lnTo>
                    <a:pt x="238" y="157"/>
                  </a:lnTo>
                  <a:lnTo>
                    <a:pt x="229" y="163"/>
                  </a:lnTo>
                  <a:lnTo>
                    <a:pt x="220" y="168"/>
                  </a:lnTo>
                  <a:lnTo>
                    <a:pt x="211" y="170"/>
                  </a:lnTo>
                  <a:lnTo>
                    <a:pt x="201" y="171"/>
                  </a:lnTo>
                  <a:lnTo>
                    <a:pt x="201" y="171"/>
                  </a:lnTo>
                  <a:close/>
                  <a:moveTo>
                    <a:pt x="196" y="163"/>
                  </a:moveTo>
                  <a:lnTo>
                    <a:pt x="196" y="163"/>
                  </a:lnTo>
                  <a:lnTo>
                    <a:pt x="205" y="163"/>
                  </a:lnTo>
                  <a:lnTo>
                    <a:pt x="214" y="161"/>
                  </a:lnTo>
                  <a:lnTo>
                    <a:pt x="222" y="158"/>
                  </a:lnTo>
                  <a:lnTo>
                    <a:pt x="231" y="152"/>
                  </a:lnTo>
                  <a:lnTo>
                    <a:pt x="240" y="145"/>
                  </a:lnTo>
                  <a:lnTo>
                    <a:pt x="249" y="135"/>
                  </a:lnTo>
                  <a:lnTo>
                    <a:pt x="257" y="124"/>
                  </a:lnTo>
                  <a:lnTo>
                    <a:pt x="266" y="111"/>
                  </a:lnTo>
                  <a:lnTo>
                    <a:pt x="266" y="111"/>
                  </a:lnTo>
                  <a:lnTo>
                    <a:pt x="263" y="100"/>
                  </a:lnTo>
                  <a:lnTo>
                    <a:pt x="259" y="89"/>
                  </a:lnTo>
                  <a:lnTo>
                    <a:pt x="255" y="79"/>
                  </a:lnTo>
                  <a:lnTo>
                    <a:pt x="249" y="70"/>
                  </a:lnTo>
                  <a:lnTo>
                    <a:pt x="243" y="60"/>
                  </a:lnTo>
                  <a:lnTo>
                    <a:pt x="236" y="52"/>
                  </a:lnTo>
                  <a:lnTo>
                    <a:pt x="229" y="44"/>
                  </a:lnTo>
                  <a:lnTo>
                    <a:pt x="220" y="37"/>
                  </a:lnTo>
                  <a:lnTo>
                    <a:pt x="212" y="30"/>
                  </a:lnTo>
                  <a:lnTo>
                    <a:pt x="202" y="25"/>
                  </a:lnTo>
                  <a:lnTo>
                    <a:pt x="193" y="20"/>
                  </a:lnTo>
                  <a:lnTo>
                    <a:pt x="182" y="15"/>
                  </a:lnTo>
                  <a:lnTo>
                    <a:pt x="172" y="12"/>
                  </a:lnTo>
                  <a:lnTo>
                    <a:pt x="161" y="10"/>
                  </a:lnTo>
                  <a:lnTo>
                    <a:pt x="150" y="8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26" y="8"/>
                  </a:lnTo>
                  <a:lnTo>
                    <a:pt x="115" y="10"/>
                  </a:lnTo>
                  <a:lnTo>
                    <a:pt x="103" y="13"/>
                  </a:lnTo>
                  <a:lnTo>
                    <a:pt x="92" y="16"/>
                  </a:lnTo>
                  <a:lnTo>
                    <a:pt x="82" y="21"/>
                  </a:lnTo>
                  <a:lnTo>
                    <a:pt x="72" y="26"/>
                  </a:lnTo>
                  <a:lnTo>
                    <a:pt x="62" y="32"/>
                  </a:lnTo>
                  <a:lnTo>
                    <a:pt x="53" y="39"/>
                  </a:lnTo>
                  <a:lnTo>
                    <a:pt x="45" y="47"/>
                  </a:lnTo>
                  <a:lnTo>
                    <a:pt x="37" y="56"/>
                  </a:lnTo>
                  <a:lnTo>
                    <a:pt x="30" y="65"/>
                  </a:lnTo>
                  <a:lnTo>
                    <a:pt x="24" y="74"/>
                  </a:lnTo>
                  <a:lnTo>
                    <a:pt x="19" y="85"/>
                  </a:lnTo>
                  <a:lnTo>
                    <a:pt x="15" y="95"/>
                  </a:lnTo>
                  <a:lnTo>
                    <a:pt x="12" y="107"/>
                  </a:lnTo>
                  <a:lnTo>
                    <a:pt x="9" y="118"/>
                  </a:lnTo>
                  <a:lnTo>
                    <a:pt x="9" y="118"/>
                  </a:lnTo>
                  <a:lnTo>
                    <a:pt x="17" y="117"/>
                  </a:lnTo>
                  <a:lnTo>
                    <a:pt x="25" y="116"/>
                  </a:lnTo>
                  <a:lnTo>
                    <a:pt x="41" y="115"/>
                  </a:lnTo>
                  <a:lnTo>
                    <a:pt x="57" y="117"/>
                  </a:lnTo>
                  <a:lnTo>
                    <a:pt x="73" y="120"/>
                  </a:lnTo>
                  <a:lnTo>
                    <a:pt x="89" y="125"/>
                  </a:lnTo>
                  <a:lnTo>
                    <a:pt x="105" y="130"/>
                  </a:lnTo>
                  <a:lnTo>
                    <a:pt x="136" y="143"/>
                  </a:lnTo>
                  <a:lnTo>
                    <a:pt x="136" y="143"/>
                  </a:lnTo>
                  <a:lnTo>
                    <a:pt x="168" y="156"/>
                  </a:lnTo>
                  <a:lnTo>
                    <a:pt x="183" y="160"/>
                  </a:lnTo>
                  <a:lnTo>
                    <a:pt x="196" y="163"/>
                  </a:lnTo>
                  <a:lnTo>
                    <a:pt x="196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0" name="Freeform 121">
              <a:extLst>
                <a:ext uri="{FF2B5EF4-FFF2-40B4-BE49-F238E27FC236}">
                  <a16:creationId xmlns:a16="http://schemas.microsoft.com/office/drawing/2014/main" id="{9CE84E26-1FBC-49A1-A987-7D2FC5CFB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6" y="2224"/>
              <a:ext cx="64" cy="64"/>
            </a:xfrm>
            <a:custGeom>
              <a:avLst/>
              <a:gdLst>
                <a:gd name="T0" fmla="*/ 64 w 64"/>
                <a:gd name="T1" fmla="*/ 32 h 64"/>
                <a:gd name="T2" fmla="*/ 64 w 64"/>
                <a:gd name="T3" fmla="*/ 32 h 64"/>
                <a:gd name="T4" fmla="*/ 63 w 64"/>
                <a:gd name="T5" fmla="*/ 38 h 64"/>
                <a:gd name="T6" fmla="*/ 61 w 64"/>
                <a:gd name="T7" fmla="*/ 44 h 64"/>
                <a:gd name="T8" fmla="*/ 59 w 64"/>
                <a:gd name="T9" fmla="*/ 50 h 64"/>
                <a:gd name="T10" fmla="*/ 55 w 64"/>
                <a:gd name="T11" fmla="*/ 55 h 64"/>
                <a:gd name="T12" fmla="*/ 50 w 64"/>
                <a:gd name="T13" fmla="*/ 59 h 64"/>
                <a:gd name="T14" fmla="*/ 44 w 64"/>
                <a:gd name="T15" fmla="*/ 61 h 64"/>
                <a:gd name="T16" fmla="*/ 38 w 64"/>
                <a:gd name="T17" fmla="*/ 63 h 64"/>
                <a:gd name="T18" fmla="*/ 32 w 64"/>
                <a:gd name="T19" fmla="*/ 64 h 64"/>
                <a:gd name="T20" fmla="*/ 32 w 64"/>
                <a:gd name="T21" fmla="*/ 64 h 64"/>
                <a:gd name="T22" fmla="*/ 26 w 64"/>
                <a:gd name="T23" fmla="*/ 63 h 64"/>
                <a:gd name="T24" fmla="*/ 20 w 64"/>
                <a:gd name="T25" fmla="*/ 61 h 64"/>
                <a:gd name="T26" fmla="*/ 14 w 64"/>
                <a:gd name="T27" fmla="*/ 59 h 64"/>
                <a:gd name="T28" fmla="*/ 9 w 64"/>
                <a:gd name="T29" fmla="*/ 55 h 64"/>
                <a:gd name="T30" fmla="*/ 5 w 64"/>
                <a:gd name="T31" fmla="*/ 50 h 64"/>
                <a:gd name="T32" fmla="*/ 3 w 64"/>
                <a:gd name="T33" fmla="*/ 44 h 64"/>
                <a:gd name="T34" fmla="*/ 1 w 64"/>
                <a:gd name="T35" fmla="*/ 38 h 64"/>
                <a:gd name="T36" fmla="*/ 0 w 64"/>
                <a:gd name="T37" fmla="*/ 32 h 64"/>
                <a:gd name="T38" fmla="*/ 0 w 64"/>
                <a:gd name="T39" fmla="*/ 32 h 64"/>
                <a:gd name="T40" fmla="*/ 1 w 64"/>
                <a:gd name="T41" fmla="*/ 26 h 64"/>
                <a:gd name="T42" fmla="*/ 3 w 64"/>
                <a:gd name="T43" fmla="*/ 20 h 64"/>
                <a:gd name="T44" fmla="*/ 5 w 64"/>
                <a:gd name="T45" fmla="*/ 14 h 64"/>
                <a:gd name="T46" fmla="*/ 9 w 64"/>
                <a:gd name="T47" fmla="*/ 9 h 64"/>
                <a:gd name="T48" fmla="*/ 14 w 64"/>
                <a:gd name="T49" fmla="*/ 5 h 64"/>
                <a:gd name="T50" fmla="*/ 20 w 64"/>
                <a:gd name="T51" fmla="*/ 3 h 64"/>
                <a:gd name="T52" fmla="*/ 26 w 64"/>
                <a:gd name="T53" fmla="*/ 1 h 64"/>
                <a:gd name="T54" fmla="*/ 32 w 64"/>
                <a:gd name="T55" fmla="*/ 0 h 64"/>
                <a:gd name="T56" fmla="*/ 32 w 64"/>
                <a:gd name="T57" fmla="*/ 0 h 64"/>
                <a:gd name="T58" fmla="*/ 38 w 64"/>
                <a:gd name="T59" fmla="*/ 1 h 64"/>
                <a:gd name="T60" fmla="*/ 44 w 64"/>
                <a:gd name="T61" fmla="*/ 3 h 64"/>
                <a:gd name="T62" fmla="*/ 50 w 64"/>
                <a:gd name="T63" fmla="*/ 5 h 64"/>
                <a:gd name="T64" fmla="*/ 55 w 64"/>
                <a:gd name="T65" fmla="*/ 9 h 64"/>
                <a:gd name="T66" fmla="*/ 59 w 64"/>
                <a:gd name="T67" fmla="*/ 14 h 64"/>
                <a:gd name="T68" fmla="*/ 61 w 64"/>
                <a:gd name="T69" fmla="*/ 20 h 64"/>
                <a:gd name="T70" fmla="*/ 63 w 64"/>
                <a:gd name="T71" fmla="*/ 26 h 64"/>
                <a:gd name="T72" fmla="*/ 64 w 64"/>
                <a:gd name="T73" fmla="*/ 32 h 64"/>
                <a:gd name="T74" fmla="*/ 64 w 64"/>
                <a:gd name="T75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lnTo>
                    <a:pt x="64" y="32"/>
                  </a:lnTo>
                  <a:lnTo>
                    <a:pt x="63" y="38"/>
                  </a:lnTo>
                  <a:lnTo>
                    <a:pt x="61" y="44"/>
                  </a:lnTo>
                  <a:lnTo>
                    <a:pt x="59" y="50"/>
                  </a:lnTo>
                  <a:lnTo>
                    <a:pt x="55" y="55"/>
                  </a:lnTo>
                  <a:lnTo>
                    <a:pt x="50" y="59"/>
                  </a:lnTo>
                  <a:lnTo>
                    <a:pt x="44" y="61"/>
                  </a:lnTo>
                  <a:lnTo>
                    <a:pt x="38" y="63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63"/>
                  </a:lnTo>
                  <a:lnTo>
                    <a:pt x="20" y="61"/>
                  </a:lnTo>
                  <a:lnTo>
                    <a:pt x="14" y="59"/>
                  </a:lnTo>
                  <a:lnTo>
                    <a:pt x="9" y="55"/>
                  </a:lnTo>
                  <a:lnTo>
                    <a:pt x="5" y="50"/>
                  </a:lnTo>
                  <a:lnTo>
                    <a:pt x="3" y="44"/>
                  </a:lnTo>
                  <a:lnTo>
                    <a:pt x="1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8" y="1"/>
                  </a:lnTo>
                  <a:lnTo>
                    <a:pt x="44" y="3"/>
                  </a:lnTo>
                  <a:lnTo>
                    <a:pt x="50" y="5"/>
                  </a:lnTo>
                  <a:lnTo>
                    <a:pt x="55" y="9"/>
                  </a:lnTo>
                  <a:lnTo>
                    <a:pt x="59" y="14"/>
                  </a:lnTo>
                  <a:lnTo>
                    <a:pt x="61" y="20"/>
                  </a:lnTo>
                  <a:lnTo>
                    <a:pt x="63" y="26"/>
                  </a:lnTo>
                  <a:lnTo>
                    <a:pt x="64" y="32"/>
                  </a:lnTo>
                  <a:lnTo>
                    <a:pt x="64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1" name="Freeform 122">
              <a:extLst>
                <a:ext uri="{FF2B5EF4-FFF2-40B4-BE49-F238E27FC236}">
                  <a16:creationId xmlns:a16="http://schemas.microsoft.com/office/drawing/2014/main" id="{0E07DB55-5B47-4453-A99A-84799CBD2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2" y="2220"/>
              <a:ext cx="72" cy="72"/>
            </a:xfrm>
            <a:custGeom>
              <a:avLst/>
              <a:gdLst>
                <a:gd name="T0" fmla="*/ 36 w 72"/>
                <a:gd name="T1" fmla="*/ 72 h 72"/>
                <a:gd name="T2" fmla="*/ 22 w 72"/>
                <a:gd name="T3" fmla="*/ 69 h 72"/>
                <a:gd name="T4" fmla="*/ 11 w 72"/>
                <a:gd name="T5" fmla="*/ 61 h 72"/>
                <a:gd name="T6" fmla="*/ 3 w 72"/>
                <a:gd name="T7" fmla="*/ 50 h 72"/>
                <a:gd name="T8" fmla="*/ 0 w 72"/>
                <a:gd name="T9" fmla="*/ 36 h 72"/>
                <a:gd name="T10" fmla="*/ 1 w 72"/>
                <a:gd name="T11" fmla="*/ 29 h 72"/>
                <a:gd name="T12" fmla="*/ 6 w 72"/>
                <a:gd name="T13" fmla="*/ 16 h 72"/>
                <a:gd name="T14" fmla="*/ 16 w 72"/>
                <a:gd name="T15" fmla="*/ 6 h 72"/>
                <a:gd name="T16" fmla="*/ 29 w 72"/>
                <a:gd name="T17" fmla="*/ 1 h 72"/>
                <a:gd name="T18" fmla="*/ 36 w 72"/>
                <a:gd name="T19" fmla="*/ 0 h 72"/>
                <a:gd name="T20" fmla="*/ 50 w 72"/>
                <a:gd name="T21" fmla="*/ 3 h 72"/>
                <a:gd name="T22" fmla="*/ 61 w 72"/>
                <a:gd name="T23" fmla="*/ 11 h 72"/>
                <a:gd name="T24" fmla="*/ 69 w 72"/>
                <a:gd name="T25" fmla="*/ 22 h 72"/>
                <a:gd name="T26" fmla="*/ 72 w 72"/>
                <a:gd name="T27" fmla="*/ 36 h 72"/>
                <a:gd name="T28" fmla="*/ 71 w 72"/>
                <a:gd name="T29" fmla="*/ 43 h 72"/>
                <a:gd name="T30" fmla="*/ 66 w 72"/>
                <a:gd name="T31" fmla="*/ 56 h 72"/>
                <a:gd name="T32" fmla="*/ 56 w 72"/>
                <a:gd name="T33" fmla="*/ 66 h 72"/>
                <a:gd name="T34" fmla="*/ 43 w 72"/>
                <a:gd name="T35" fmla="*/ 71 h 72"/>
                <a:gd name="T36" fmla="*/ 36 w 72"/>
                <a:gd name="T37" fmla="*/ 72 h 72"/>
                <a:gd name="T38" fmla="*/ 36 w 72"/>
                <a:gd name="T39" fmla="*/ 8 h 72"/>
                <a:gd name="T40" fmla="*/ 25 w 72"/>
                <a:gd name="T41" fmla="*/ 10 h 72"/>
                <a:gd name="T42" fmla="*/ 16 w 72"/>
                <a:gd name="T43" fmla="*/ 16 h 72"/>
                <a:gd name="T44" fmla="*/ 10 w 72"/>
                <a:gd name="T45" fmla="*/ 25 h 72"/>
                <a:gd name="T46" fmla="*/ 8 w 72"/>
                <a:gd name="T47" fmla="*/ 36 h 72"/>
                <a:gd name="T48" fmla="*/ 9 w 72"/>
                <a:gd name="T49" fmla="*/ 42 h 72"/>
                <a:gd name="T50" fmla="*/ 13 w 72"/>
                <a:gd name="T51" fmla="*/ 52 h 72"/>
                <a:gd name="T52" fmla="*/ 20 w 72"/>
                <a:gd name="T53" fmla="*/ 59 h 72"/>
                <a:gd name="T54" fmla="*/ 30 w 72"/>
                <a:gd name="T55" fmla="*/ 63 h 72"/>
                <a:gd name="T56" fmla="*/ 36 w 72"/>
                <a:gd name="T57" fmla="*/ 64 h 72"/>
                <a:gd name="T58" fmla="*/ 47 w 72"/>
                <a:gd name="T59" fmla="*/ 62 h 72"/>
                <a:gd name="T60" fmla="*/ 56 w 72"/>
                <a:gd name="T61" fmla="*/ 56 h 72"/>
                <a:gd name="T62" fmla="*/ 62 w 72"/>
                <a:gd name="T63" fmla="*/ 47 h 72"/>
                <a:gd name="T64" fmla="*/ 64 w 72"/>
                <a:gd name="T65" fmla="*/ 36 h 72"/>
                <a:gd name="T66" fmla="*/ 63 w 72"/>
                <a:gd name="T67" fmla="*/ 30 h 72"/>
                <a:gd name="T68" fmla="*/ 59 w 72"/>
                <a:gd name="T69" fmla="*/ 20 h 72"/>
                <a:gd name="T70" fmla="*/ 52 w 72"/>
                <a:gd name="T71" fmla="*/ 13 h 72"/>
                <a:gd name="T72" fmla="*/ 42 w 72"/>
                <a:gd name="T73" fmla="*/ 9 h 72"/>
                <a:gd name="T74" fmla="*/ 36 w 72"/>
                <a:gd name="T75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lnTo>
                    <a:pt x="36" y="72"/>
                  </a:lnTo>
                  <a:lnTo>
                    <a:pt x="29" y="71"/>
                  </a:lnTo>
                  <a:lnTo>
                    <a:pt x="22" y="69"/>
                  </a:lnTo>
                  <a:lnTo>
                    <a:pt x="16" y="66"/>
                  </a:lnTo>
                  <a:lnTo>
                    <a:pt x="11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29"/>
                  </a:lnTo>
                  <a:lnTo>
                    <a:pt x="3" y="22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2" y="3"/>
                  </a:lnTo>
                  <a:lnTo>
                    <a:pt x="29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1"/>
                  </a:lnTo>
                  <a:lnTo>
                    <a:pt x="50" y="3"/>
                  </a:lnTo>
                  <a:lnTo>
                    <a:pt x="56" y="6"/>
                  </a:lnTo>
                  <a:lnTo>
                    <a:pt x="61" y="11"/>
                  </a:lnTo>
                  <a:lnTo>
                    <a:pt x="66" y="16"/>
                  </a:lnTo>
                  <a:lnTo>
                    <a:pt x="69" y="22"/>
                  </a:lnTo>
                  <a:lnTo>
                    <a:pt x="71" y="29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43"/>
                  </a:lnTo>
                  <a:lnTo>
                    <a:pt x="69" y="50"/>
                  </a:lnTo>
                  <a:lnTo>
                    <a:pt x="66" y="56"/>
                  </a:lnTo>
                  <a:lnTo>
                    <a:pt x="61" y="61"/>
                  </a:lnTo>
                  <a:lnTo>
                    <a:pt x="56" y="66"/>
                  </a:lnTo>
                  <a:lnTo>
                    <a:pt x="50" y="69"/>
                  </a:lnTo>
                  <a:lnTo>
                    <a:pt x="43" y="71"/>
                  </a:lnTo>
                  <a:lnTo>
                    <a:pt x="36" y="72"/>
                  </a:lnTo>
                  <a:lnTo>
                    <a:pt x="36" y="72"/>
                  </a:lnTo>
                  <a:close/>
                  <a:moveTo>
                    <a:pt x="36" y="8"/>
                  </a:moveTo>
                  <a:lnTo>
                    <a:pt x="36" y="8"/>
                  </a:lnTo>
                  <a:lnTo>
                    <a:pt x="30" y="9"/>
                  </a:lnTo>
                  <a:lnTo>
                    <a:pt x="25" y="10"/>
                  </a:lnTo>
                  <a:lnTo>
                    <a:pt x="20" y="13"/>
                  </a:lnTo>
                  <a:lnTo>
                    <a:pt x="16" y="16"/>
                  </a:lnTo>
                  <a:lnTo>
                    <a:pt x="13" y="20"/>
                  </a:lnTo>
                  <a:lnTo>
                    <a:pt x="10" y="25"/>
                  </a:lnTo>
                  <a:lnTo>
                    <a:pt x="9" y="3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42"/>
                  </a:lnTo>
                  <a:lnTo>
                    <a:pt x="10" y="47"/>
                  </a:lnTo>
                  <a:lnTo>
                    <a:pt x="13" y="52"/>
                  </a:lnTo>
                  <a:lnTo>
                    <a:pt x="16" y="56"/>
                  </a:lnTo>
                  <a:lnTo>
                    <a:pt x="20" y="59"/>
                  </a:lnTo>
                  <a:lnTo>
                    <a:pt x="25" y="62"/>
                  </a:lnTo>
                  <a:lnTo>
                    <a:pt x="30" y="63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42" y="63"/>
                  </a:lnTo>
                  <a:lnTo>
                    <a:pt x="47" y="62"/>
                  </a:lnTo>
                  <a:lnTo>
                    <a:pt x="52" y="59"/>
                  </a:lnTo>
                  <a:lnTo>
                    <a:pt x="56" y="56"/>
                  </a:lnTo>
                  <a:lnTo>
                    <a:pt x="59" y="52"/>
                  </a:lnTo>
                  <a:lnTo>
                    <a:pt x="62" y="47"/>
                  </a:lnTo>
                  <a:lnTo>
                    <a:pt x="63" y="4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0"/>
                  </a:lnTo>
                  <a:lnTo>
                    <a:pt x="62" y="25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2" y="13"/>
                  </a:lnTo>
                  <a:lnTo>
                    <a:pt x="47" y="10"/>
                  </a:lnTo>
                  <a:lnTo>
                    <a:pt x="42" y="9"/>
                  </a:lnTo>
                  <a:lnTo>
                    <a:pt x="36" y="8"/>
                  </a:lnTo>
                  <a:lnTo>
                    <a:pt x="3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2" name="Freeform 123">
              <a:extLst>
                <a:ext uri="{FF2B5EF4-FFF2-40B4-BE49-F238E27FC236}">
                  <a16:creationId xmlns:a16="http://schemas.microsoft.com/office/drawing/2014/main" id="{5071DD81-D8A7-45AD-BC96-7ACFA0DA3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3" y="2896"/>
              <a:ext cx="247" cy="620"/>
            </a:xfrm>
            <a:custGeom>
              <a:avLst/>
              <a:gdLst>
                <a:gd name="T0" fmla="*/ 98 w 247"/>
                <a:gd name="T1" fmla="*/ 72 h 620"/>
                <a:gd name="T2" fmla="*/ 137 w 247"/>
                <a:gd name="T3" fmla="*/ 116 h 620"/>
                <a:gd name="T4" fmla="*/ 163 w 247"/>
                <a:gd name="T5" fmla="*/ 151 h 620"/>
                <a:gd name="T6" fmla="*/ 169 w 247"/>
                <a:gd name="T7" fmla="*/ 161 h 620"/>
                <a:gd name="T8" fmla="*/ 180 w 247"/>
                <a:gd name="T9" fmla="*/ 185 h 620"/>
                <a:gd name="T10" fmla="*/ 190 w 247"/>
                <a:gd name="T11" fmla="*/ 220 h 620"/>
                <a:gd name="T12" fmla="*/ 210 w 247"/>
                <a:gd name="T13" fmla="*/ 312 h 620"/>
                <a:gd name="T14" fmla="*/ 216 w 247"/>
                <a:gd name="T15" fmla="*/ 343 h 620"/>
                <a:gd name="T16" fmla="*/ 235 w 247"/>
                <a:gd name="T17" fmla="*/ 478 h 620"/>
                <a:gd name="T18" fmla="*/ 244 w 247"/>
                <a:gd name="T19" fmla="*/ 565 h 620"/>
                <a:gd name="T20" fmla="*/ 247 w 247"/>
                <a:gd name="T21" fmla="*/ 608 h 620"/>
                <a:gd name="T22" fmla="*/ 247 w 247"/>
                <a:gd name="T23" fmla="*/ 616 h 620"/>
                <a:gd name="T24" fmla="*/ 245 w 247"/>
                <a:gd name="T25" fmla="*/ 619 h 620"/>
                <a:gd name="T26" fmla="*/ 237 w 247"/>
                <a:gd name="T27" fmla="*/ 619 h 620"/>
                <a:gd name="T28" fmla="*/ 235 w 247"/>
                <a:gd name="T29" fmla="*/ 616 h 620"/>
                <a:gd name="T30" fmla="*/ 236 w 247"/>
                <a:gd name="T31" fmla="*/ 604 h 620"/>
                <a:gd name="T32" fmla="*/ 235 w 247"/>
                <a:gd name="T33" fmla="*/ 567 h 620"/>
                <a:gd name="T34" fmla="*/ 227 w 247"/>
                <a:gd name="T35" fmla="*/ 488 h 620"/>
                <a:gd name="T36" fmla="*/ 209 w 247"/>
                <a:gd name="T37" fmla="*/ 369 h 620"/>
                <a:gd name="T38" fmla="*/ 191 w 247"/>
                <a:gd name="T39" fmla="*/ 271 h 620"/>
                <a:gd name="T40" fmla="*/ 184 w 247"/>
                <a:gd name="T41" fmla="*/ 243 h 620"/>
                <a:gd name="T42" fmla="*/ 178 w 247"/>
                <a:gd name="T43" fmla="*/ 225 h 620"/>
                <a:gd name="T44" fmla="*/ 169 w 247"/>
                <a:gd name="T45" fmla="*/ 208 h 620"/>
                <a:gd name="T46" fmla="*/ 167 w 247"/>
                <a:gd name="T47" fmla="*/ 204 h 620"/>
                <a:gd name="T48" fmla="*/ 164 w 247"/>
                <a:gd name="T49" fmla="*/ 201 h 620"/>
                <a:gd name="T50" fmla="*/ 157 w 247"/>
                <a:gd name="T51" fmla="*/ 199 h 620"/>
                <a:gd name="T52" fmla="*/ 139 w 247"/>
                <a:gd name="T53" fmla="*/ 196 h 620"/>
                <a:gd name="T54" fmla="*/ 121 w 247"/>
                <a:gd name="T55" fmla="*/ 192 h 620"/>
                <a:gd name="T56" fmla="*/ 112 w 247"/>
                <a:gd name="T57" fmla="*/ 188 h 620"/>
                <a:gd name="T58" fmla="*/ 89 w 247"/>
                <a:gd name="T59" fmla="*/ 176 h 620"/>
                <a:gd name="T60" fmla="*/ 64 w 247"/>
                <a:gd name="T61" fmla="*/ 157 h 620"/>
                <a:gd name="T62" fmla="*/ 53 w 247"/>
                <a:gd name="T63" fmla="*/ 147 h 620"/>
                <a:gd name="T64" fmla="*/ 34 w 247"/>
                <a:gd name="T65" fmla="*/ 128 h 620"/>
                <a:gd name="T66" fmla="*/ 20 w 247"/>
                <a:gd name="T67" fmla="*/ 107 h 620"/>
                <a:gd name="T68" fmla="*/ 9 w 247"/>
                <a:gd name="T69" fmla="*/ 86 h 620"/>
                <a:gd name="T70" fmla="*/ 6 w 247"/>
                <a:gd name="T71" fmla="*/ 75 h 620"/>
                <a:gd name="T72" fmla="*/ 2 w 247"/>
                <a:gd name="T73" fmla="*/ 50 h 620"/>
                <a:gd name="T74" fmla="*/ 0 w 247"/>
                <a:gd name="T75" fmla="*/ 25 h 620"/>
                <a:gd name="T76" fmla="*/ 0 w 247"/>
                <a:gd name="T77" fmla="*/ 19 h 620"/>
                <a:gd name="T78" fmla="*/ 1 w 247"/>
                <a:gd name="T79" fmla="*/ 6 h 620"/>
                <a:gd name="T80" fmla="*/ 5 w 247"/>
                <a:gd name="T81" fmla="*/ 0 h 620"/>
                <a:gd name="T82" fmla="*/ 8 w 247"/>
                <a:gd name="T83" fmla="*/ 0 h 620"/>
                <a:gd name="T84" fmla="*/ 22 w 247"/>
                <a:gd name="T85" fmla="*/ 6 h 620"/>
                <a:gd name="T86" fmla="*/ 36 w 247"/>
                <a:gd name="T87" fmla="*/ 16 h 620"/>
                <a:gd name="T88" fmla="*/ 60 w 247"/>
                <a:gd name="T89" fmla="*/ 37 h 620"/>
                <a:gd name="T90" fmla="*/ 98 w 247"/>
                <a:gd name="T91" fmla="*/ 72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7" h="620">
                  <a:moveTo>
                    <a:pt x="98" y="72"/>
                  </a:moveTo>
                  <a:lnTo>
                    <a:pt x="98" y="72"/>
                  </a:lnTo>
                  <a:lnTo>
                    <a:pt x="117" y="94"/>
                  </a:lnTo>
                  <a:lnTo>
                    <a:pt x="137" y="116"/>
                  </a:lnTo>
                  <a:lnTo>
                    <a:pt x="155" y="139"/>
                  </a:lnTo>
                  <a:lnTo>
                    <a:pt x="163" y="151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74" y="172"/>
                  </a:lnTo>
                  <a:lnTo>
                    <a:pt x="180" y="185"/>
                  </a:lnTo>
                  <a:lnTo>
                    <a:pt x="185" y="201"/>
                  </a:lnTo>
                  <a:lnTo>
                    <a:pt x="190" y="220"/>
                  </a:lnTo>
                  <a:lnTo>
                    <a:pt x="200" y="263"/>
                  </a:lnTo>
                  <a:lnTo>
                    <a:pt x="210" y="312"/>
                  </a:lnTo>
                  <a:lnTo>
                    <a:pt x="210" y="312"/>
                  </a:lnTo>
                  <a:lnTo>
                    <a:pt x="216" y="343"/>
                  </a:lnTo>
                  <a:lnTo>
                    <a:pt x="222" y="384"/>
                  </a:lnTo>
                  <a:lnTo>
                    <a:pt x="235" y="478"/>
                  </a:lnTo>
                  <a:lnTo>
                    <a:pt x="240" y="525"/>
                  </a:lnTo>
                  <a:lnTo>
                    <a:pt x="244" y="565"/>
                  </a:lnTo>
                  <a:lnTo>
                    <a:pt x="247" y="597"/>
                  </a:lnTo>
                  <a:lnTo>
                    <a:pt x="247" y="608"/>
                  </a:lnTo>
                  <a:lnTo>
                    <a:pt x="247" y="616"/>
                  </a:lnTo>
                  <a:lnTo>
                    <a:pt x="247" y="616"/>
                  </a:lnTo>
                  <a:lnTo>
                    <a:pt x="246" y="618"/>
                  </a:lnTo>
                  <a:lnTo>
                    <a:pt x="245" y="619"/>
                  </a:lnTo>
                  <a:lnTo>
                    <a:pt x="241" y="620"/>
                  </a:lnTo>
                  <a:lnTo>
                    <a:pt x="237" y="619"/>
                  </a:lnTo>
                  <a:lnTo>
                    <a:pt x="236" y="617"/>
                  </a:lnTo>
                  <a:lnTo>
                    <a:pt x="235" y="616"/>
                  </a:lnTo>
                  <a:lnTo>
                    <a:pt x="235" y="616"/>
                  </a:lnTo>
                  <a:lnTo>
                    <a:pt x="236" y="604"/>
                  </a:lnTo>
                  <a:lnTo>
                    <a:pt x="236" y="587"/>
                  </a:lnTo>
                  <a:lnTo>
                    <a:pt x="235" y="567"/>
                  </a:lnTo>
                  <a:lnTo>
                    <a:pt x="233" y="543"/>
                  </a:lnTo>
                  <a:lnTo>
                    <a:pt x="227" y="488"/>
                  </a:lnTo>
                  <a:lnTo>
                    <a:pt x="219" y="429"/>
                  </a:lnTo>
                  <a:lnTo>
                    <a:pt x="209" y="369"/>
                  </a:lnTo>
                  <a:lnTo>
                    <a:pt x="200" y="315"/>
                  </a:lnTo>
                  <a:lnTo>
                    <a:pt x="191" y="271"/>
                  </a:lnTo>
                  <a:lnTo>
                    <a:pt x="187" y="255"/>
                  </a:lnTo>
                  <a:lnTo>
                    <a:pt x="184" y="243"/>
                  </a:lnTo>
                  <a:lnTo>
                    <a:pt x="184" y="243"/>
                  </a:lnTo>
                  <a:lnTo>
                    <a:pt x="178" y="225"/>
                  </a:lnTo>
                  <a:lnTo>
                    <a:pt x="174" y="216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7" y="204"/>
                  </a:lnTo>
                  <a:lnTo>
                    <a:pt x="166" y="202"/>
                  </a:lnTo>
                  <a:lnTo>
                    <a:pt x="164" y="201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48" y="197"/>
                  </a:lnTo>
                  <a:lnTo>
                    <a:pt x="139" y="196"/>
                  </a:lnTo>
                  <a:lnTo>
                    <a:pt x="130" y="194"/>
                  </a:lnTo>
                  <a:lnTo>
                    <a:pt x="121" y="192"/>
                  </a:lnTo>
                  <a:lnTo>
                    <a:pt x="121" y="192"/>
                  </a:lnTo>
                  <a:lnTo>
                    <a:pt x="112" y="188"/>
                  </a:lnTo>
                  <a:lnTo>
                    <a:pt x="104" y="185"/>
                  </a:lnTo>
                  <a:lnTo>
                    <a:pt x="89" y="176"/>
                  </a:lnTo>
                  <a:lnTo>
                    <a:pt x="76" y="167"/>
                  </a:lnTo>
                  <a:lnTo>
                    <a:pt x="64" y="157"/>
                  </a:lnTo>
                  <a:lnTo>
                    <a:pt x="64" y="157"/>
                  </a:lnTo>
                  <a:lnTo>
                    <a:pt x="53" y="147"/>
                  </a:lnTo>
                  <a:lnTo>
                    <a:pt x="43" y="138"/>
                  </a:lnTo>
                  <a:lnTo>
                    <a:pt x="34" y="128"/>
                  </a:lnTo>
                  <a:lnTo>
                    <a:pt x="26" y="118"/>
                  </a:lnTo>
                  <a:lnTo>
                    <a:pt x="20" y="107"/>
                  </a:lnTo>
                  <a:lnTo>
                    <a:pt x="14" y="97"/>
                  </a:lnTo>
                  <a:lnTo>
                    <a:pt x="9" y="86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4" y="62"/>
                  </a:lnTo>
                  <a:lnTo>
                    <a:pt x="2" y="50"/>
                  </a:lnTo>
                  <a:lnTo>
                    <a:pt x="1" y="3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1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5" y="2"/>
                  </a:lnTo>
                  <a:lnTo>
                    <a:pt x="22" y="6"/>
                  </a:lnTo>
                  <a:lnTo>
                    <a:pt x="29" y="11"/>
                  </a:lnTo>
                  <a:lnTo>
                    <a:pt x="36" y="16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80" y="54"/>
                  </a:lnTo>
                  <a:lnTo>
                    <a:pt x="98" y="72"/>
                  </a:lnTo>
                  <a:lnTo>
                    <a:pt x="98" y="72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3" name="Freeform 124">
              <a:extLst>
                <a:ext uri="{FF2B5EF4-FFF2-40B4-BE49-F238E27FC236}">
                  <a16:creationId xmlns:a16="http://schemas.microsoft.com/office/drawing/2014/main" id="{48E9C214-5E61-4AB6-B921-3BD0D3133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" y="3077"/>
              <a:ext cx="308" cy="500"/>
            </a:xfrm>
            <a:custGeom>
              <a:avLst/>
              <a:gdLst>
                <a:gd name="T0" fmla="*/ 253 w 308"/>
                <a:gd name="T1" fmla="*/ 28 h 500"/>
                <a:gd name="T2" fmla="*/ 290 w 308"/>
                <a:gd name="T3" fmla="*/ 4 h 500"/>
                <a:gd name="T4" fmla="*/ 303 w 308"/>
                <a:gd name="T5" fmla="*/ 0 h 500"/>
                <a:gd name="T6" fmla="*/ 306 w 308"/>
                <a:gd name="T7" fmla="*/ 0 h 500"/>
                <a:gd name="T8" fmla="*/ 308 w 308"/>
                <a:gd name="T9" fmla="*/ 5 h 500"/>
                <a:gd name="T10" fmla="*/ 306 w 308"/>
                <a:gd name="T11" fmla="*/ 16 h 500"/>
                <a:gd name="T12" fmla="*/ 305 w 308"/>
                <a:gd name="T13" fmla="*/ 21 h 500"/>
                <a:gd name="T14" fmla="*/ 300 w 308"/>
                <a:gd name="T15" fmla="*/ 42 h 500"/>
                <a:gd name="T16" fmla="*/ 292 w 308"/>
                <a:gd name="T17" fmla="*/ 62 h 500"/>
                <a:gd name="T18" fmla="*/ 287 w 308"/>
                <a:gd name="T19" fmla="*/ 71 h 500"/>
                <a:gd name="T20" fmla="*/ 275 w 308"/>
                <a:gd name="T21" fmla="*/ 88 h 500"/>
                <a:gd name="T22" fmla="*/ 260 w 308"/>
                <a:gd name="T23" fmla="*/ 104 h 500"/>
                <a:gd name="T24" fmla="*/ 230 w 308"/>
                <a:gd name="T25" fmla="*/ 127 h 500"/>
                <a:gd name="T26" fmla="*/ 218 w 308"/>
                <a:gd name="T27" fmla="*/ 134 h 500"/>
                <a:gd name="T28" fmla="*/ 191 w 308"/>
                <a:gd name="T29" fmla="*/ 148 h 500"/>
                <a:gd name="T30" fmla="*/ 176 w 308"/>
                <a:gd name="T31" fmla="*/ 153 h 500"/>
                <a:gd name="T32" fmla="*/ 160 w 308"/>
                <a:gd name="T33" fmla="*/ 155 h 500"/>
                <a:gd name="T34" fmla="*/ 144 w 308"/>
                <a:gd name="T35" fmla="*/ 157 h 500"/>
                <a:gd name="T36" fmla="*/ 135 w 308"/>
                <a:gd name="T37" fmla="*/ 160 h 500"/>
                <a:gd name="T38" fmla="*/ 133 w 308"/>
                <a:gd name="T39" fmla="*/ 163 h 500"/>
                <a:gd name="T40" fmla="*/ 122 w 308"/>
                <a:gd name="T41" fmla="*/ 177 h 500"/>
                <a:gd name="T42" fmla="*/ 115 w 308"/>
                <a:gd name="T43" fmla="*/ 191 h 500"/>
                <a:gd name="T44" fmla="*/ 89 w 308"/>
                <a:gd name="T45" fmla="*/ 250 h 500"/>
                <a:gd name="T46" fmla="*/ 54 w 308"/>
                <a:gd name="T47" fmla="*/ 343 h 500"/>
                <a:gd name="T48" fmla="*/ 24 w 308"/>
                <a:gd name="T49" fmla="*/ 437 h 500"/>
                <a:gd name="T50" fmla="*/ 11 w 308"/>
                <a:gd name="T51" fmla="*/ 487 h 500"/>
                <a:gd name="T52" fmla="*/ 9 w 308"/>
                <a:gd name="T53" fmla="*/ 497 h 500"/>
                <a:gd name="T54" fmla="*/ 8 w 308"/>
                <a:gd name="T55" fmla="*/ 499 h 500"/>
                <a:gd name="T56" fmla="*/ 1 w 308"/>
                <a:gd name="T57" fmla="*/ 499 h 500"/>
                <a:gd name="T58" fmla="*/ 0 w 308"/>
                <a:gd name="T59" fmla="*/ 496 h 500"/>
                <a:gd name="T60" fmla="*/ 3 w 308"/>
                <a:gd name="T61" fmla="*/ 481 h 500"/>
                <a:gd name="T62" fmla="*/ 33 w 308"/>
                <a:gd name="T63" fmla="*/ 383 h 500"/>
                <a:gd name="T64" fmla="*/ 71 w 308"/>
                <a:gd name="T65" fmla="*/ 273 h 500"/>
                <a:gd name="T66" fmla="*/ 81 w 308"/>
                <a:gd name="T67" fmla="*/ 247 h 500"/>
                <a:gd name="T68" fmla="*/ 113 w 308"/>
                <a:gd name="T69" fmla="*/ 173 h 500"/>
                <a:gd name="T70" fmla="*/ 134 w 308"/>
                <a:gd name="T71" fmla="*/ 133 h 500"/>
                <a:gd name="T72" fmla="*/ 140 w 308"/>
                <a:gd name="T73" fmla="*/ 125 h 500"/>
                <a:gd name="T74" fmla="*/ 175 w 308"/>
                <a:gd name="T75" fmla="*/ 90 h 500"/>
                <a:gd name="T76" fmla="*/ 215 w 308"/>
                <a:gd name="T77" fmla="*/ 55 h 500"/>
                <a:gd name="T78" fmla="*/ 233 w 308"/>
                <a:gd name="T79" fmla="*/ 41 h 500"/>
                <a:gd name="T80" fmla="*/ 253 w 308"/>
                <a:gd name="T81" fmla="*/ 28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8" h="500">
                  <a:moveTo>
                    <a:pt x="253" y="28"/>
                  </a:moveTo>
                  <a:lnTo>
                    <a:pt x="253" y="28"/>
                  </a:lnTo>
                  <a:lnTo>
                    <a:pt x="277" y="12"/>
                  </a:lnTo>
                  <a:lnTo>
                    <a:pt x="290" y="4"/>
                  </a:lnTo>
                  <a:lnTo>
                    <a:pt x="297" y="2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7" y="2"/>
                  </a:lnTo>
                  <a:lnTo>
                    <a:pt x="308" y="5"/>
                  </a:lnTo>
                  <a:lnTo>
                    <a:pt x="308" y="9"/>
                  </a:lnTo>
                  <a:lnTo>
                    <a:pt x="306" y="16"/>
                  </a:lnTo>
                  <a:lnTo>
                    <a:pt x="305" y="21"/>
                  </a:lnTo>
                  <a:lnTo>
                    <a:pt x="305" y="21"/>
                  </a:lnTo>
                  <a:lnTo>
                    <a:pt x="303" y="31"/>
                  </a:lnTo>
                  <a:lnTo>
                    <a:pt x="300" y="42"/>
                  </a:lnTo>
                  <a:lnTo>
                    <a:pt x="296" y="5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87" y="71"/>
                  </a:lnTo>
                  <a:lnTo>
                    <a:pt x="282" y="80"/>
                  </a:lnTo>
                  <a:lnTo>
                    <a:pt x="275" y="88"/>
                  </a:lnTo>
                  <a:lnTo>
                    <a:pt x="268" y="96"/>
                  </a:lnTo>
                  <a:lnTo>
                    <a:pt x="260" y="104"/>
                  </a:lnTo>
                  <a:lnTo>
                    <a:pt x="250" y="112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18" y="134"/>
                  </a:lnTo>
                  <a:lnTo>
                    <a:pt x="205" y="141"/>
                  </a:lnTo>
                  <a:lnTo>
                    <a:pt x="191" y="148"/>
                  </a:lnTo>
                  <a:lnTo>
                    <a:pt x="176" y="153"/>
                  </a:lnTo>
                  <a:lnTo>
                    <a:pt x="176" y="153"/>
                  </a:lnTo>
                  <a:lnTo>
                    <a:pt x="168" y="154"/>
                  </a:lnTo>
                  <a:lnTo>
                    <a:pt x="160" y="155"/>
                  </a:lnTo>
                  <a:lnTo>
                    <a:pt x="144" y="157"/>
                  </a:lnTo>
                  <a:lnTo>
                    <a:pt x="144" y="157"/>
                  </a:lnTo>
                  <a:lnTo>
                    <a:pt x="136" y="159"/>
                  </a:lnTo>
                  <a:lnTo>
                    <a:pt x="135" y="160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27" y="170"/>
                  </a:lnTo>
                  <a:lnTo>
                    <a:pt x="122" y="177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04" y="215"/>
                  </a:lnTo>
                  <a:lnTo>
                    <a:pt x="89" y="250"/>
                  </a:lnTo>
                  <a:lnTo>
                    <a:pt x="72" y="295"/>
                  </a:lnTo>
                  <a:lnTo>
                    <a:pt x="54" y="343"/>
                  </a:lnTo>
                  <a:lnTo>
                    <a:pt x="38" y="392"/>
                  </a:lnTo>
                  <a:lnTo>
                    <a:pt x="24" y="437"/>
                  </a:lnTo>
                  <a:lnTo>
                    <a:pt x="14" y="473"/>
                  </a:lnTo>
                  <a:lnTo>
                    <a:pt x="11" y="487"/>
                  </a:lnTo>
                  <a:lnTo>
                    <a:pt x="9" y="497"/>
                  </a:lnTo>
                  <a:lnTo>
                    <a:pt x="9" y="497"/>
                  </a:lnTo>
                  <a:lnTo>
                    <a:pt x="9" y="498"/>
                  </a:lnTo>
                  <a:lnTo>
                    <a:pt x="8" y="499"/>
                  </a:lnTo>
                  <a:lnTo>
                    <a:pt x="4" y="500"/>
                  </a:lnTo>
                  <a:lnTo>
                    <a:pt x="1" y="499"/>
                  </a:lnTo>
                  <a:lnTo>
                    <a:pt x="0" y="498"/>
                  </a:lnTo>
                  <a:lnTo>
                    <a:pt x="0" y="496"/>
                  </a:lnTo>
                  <a:lnTo>
                    <a:pt x="0" y="496"/>
                  </a:lnTo>
                  <a:lnTo>
                    <a:pt x="3" y="481"/>
                  </a:lnTo>
                  <a:lnTo>
                    <a:pt x="10" y="455"/>
                  </a:lnTo>
                  <a:lnTo>
                    <a:pt x="33" y="383"/>
                  </a:lnTo>
                  <a:lnTo>
                    <a:pt x="59" y="306"/>
                  </a:lnTo>
                  <a:lnTo>
                    <a:pt x="71" y="273"/>
                  </a:lnTo>
                  <a:lnTo>
                    <a:pt x="81" y="247"/>
                  </a:lnTo>
                  <a:lnTo>
                    <a:pt x="81" y="247"/>
                  </a:lnTo>
                  <a:lnTo>
                    <a:pt x="97" y="208"/>
                  </a:lnTo>
                  <a:lnTo>
                    <a:pt x="113" y="173"/>
                  </a:lnTo>
                  <a:lnTo>
                    <a:pt x="127" y="144"/>
                  </a:lnTo>
                  <a:lnTo>
                    <a:pt x="134" y="13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56" y="108"/>
                  </a:lnTo>
                  <a:lnTo>
                    <a:pt x="175" y="90"/>
                  </a:lnTo>
                  <a:lnTo>
                    <a:pt x="195" y="72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33" y="41"/>
                  </a:lnTo>
                  <a:lnTo>
                    <a:pt x="253" y="28"/>
                  </a:lnTo>
                  <a:lnTo>
                    <a:pt x="253" y="28"/>
                  </a:lnTo>
                  <a:close/>
                </a:path>
              </a:pathLst>
            </a:cu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4" name="Freeform 125">
              <a:extLst>
                <a:ext uri="{FF2B5EF4-FFF2-40B4-BE49-F238E27FC236}">
                  <a16:creationId xmlns:a16="http://schemas.microsoft.com/office/drawing/2014/main" id="{29E512EB-5951-4CA3-A3D3-CC6542B15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5" y="3138"/>
              <a:ext cx="325" cy="414"/>
            </a:xfrm>
            <a:custGeom>
              <a:avLst/>
              <a:gdLst>
                <a:gd name="T0" fmla="*/ 6 w 325"/>
                <a:gd name="T1" fmla="*/ 0 h 414"/>
                <a:gd name="T2" fmla="*/ 21 w 325"/>
                <a:gd name="T3" fmla="*/ 5 h 414"/>
                <a:gd name="T4" fmla="*/ 37 w 325"/>
                <a:gd name="T5" fmla="*/ 14 h 414"/>
                <a:gd name="T6" fmla="*/ 67 w 325"/>
                <a:gd name="T7" fmla="*/ 32 h 414"/>
                <a:gd name="T8" fmla="*/ 114 w 325"/>
                <a:gd name="T9" fmla="*/ 64 h 414"/>
                <a:gd name="T10" fmla="*/ 137 w 325"/>
                <a:gd name="T11" fmla="*/ 82 h 414"/>
                <a:gd name="T12" fmla="*/ 180 w 325"/>
                <a:gd name="T13" fmla="*/ 121 h 414"/>
                <a:gd name="T14" fmla="*/ 198 w 325"/>
                <a:gd name="T15" fmla="*/ 140 h 414"/>
                <a:gd name="T16" fmla="*/ 227 w 325"/>
                <a:gd name="T17" fmla="*/ 173 h 414"/>
                <a:gd name="T18" fmla="*/ 252 w 325"/>
                <a:gd name="T19" fmla="*/ 207 h 414"/>
                <a:gd name="T20" fmla="*/ 274 w 325"/>
                <a:gd name="T21" fmla="*/ 241 h 414"/>
                <a:gd name="T22" fmla="*/ 292 w 325"/>
                <a:gd name="T23" fmla="*/ 276 h 414"/>
                <a:gd name="T24" fmla="*/ 302 w 325"/>
                <a:gd name="T25" fmla="*/ 298 h 414"/>
                <a:gd name="T26" fmla="*/ 316 w 325"/>
                <a:gd name="T27" fmla="*/ 342 h 414"/>
                <a:gd name="T28" fmla="*/ 321 w 325"/>
                <a:gd name="T29" fmla="*/ 364 h 414"/>
                <a:gd name="T30" fmla="*/ 325 w 325"/>
                <a:gd name="T31" fmla="*/ 391 h 414"/>
                <a:gd name="T32" fmla="*/ 324 w 325"/>
                <a:gd name="T33" fmla="*/ 407 h 414"/>
                <a:gd name="T34" fmla="*/ 322 w 325"/>
                <a:gd name="T35" fmla="*/ 412 h 414"/>
                <a:gd name="T36" fmla="*/ 317 w 325"/>
                <a:gd name="T37" fmla="*/ 414 h 414"/>
                <a:gd name="T38" fmla="*/ 315 w 325"/>
                <a:gd name="T39" fmla="*/ 414 h 414"/>
                <a:gd name="T40" fmla="*/ 311 w 325"/>
                <a:gd name="T41" fmla="*/ 412 h 414"/>
                <a:gd name="T42" fmla="*/ 308 w 325"/>
                <a:gd name="T43" fmla="*/ 404 h 414"/>
                <a:gd name="T44" fmla="*/ 307 w 325"/>
                <a:gd name="T45" fmla="*/ 385 h 414"/>
                <a:gd name="T46" fmla="*/ 307 w 325"/>
                <a:gd name="T47" fmla="*/ 377 h 414"/>
                <a:gd name="T48" fmla="*/ 298 w 325"/>
                <a:gd name="T49" fmla="*/ 338 h 414"/>
                <a:gd name="T50" fmla="*/ 285 w 325"/>
                <a:gd name="T51" fmla="*/ 300 h 414"/>
                <a:gd name="T52" fmla="*/ 267 w 325"/>
                <a:gd name="T53" fmla="*/ 262 h 414"/>
                <a:gd name="T54" fmla="*/ 246 w 325"/>
                <a:gd name="T55" fmla="*/ 225 h 414"/>
                <a:gd name="T56" fmla="*/ 235 w 325"/>
                <a:gd name="T57" fmla="*/ 208 h 414"/>
                <a:gd name="T58" fmla="*/ 221 w 325"/>
                <a:gd name="T59" fmla="*/ 192 h 414"/>
                <a:gd name="T60" fmla="*/ 218 w 325"/>
                <a:gd name="T61" fmla="*/ 188 h 414"/>
                <a:gd name="T62" fmla="*/ 215 w 325"/>
                <a:gd name="T63" fmla="*/ 186 h 414"/>
                <a:gd name="T64" fmla="*/ 208 w 325"/>
                <a:gd name="T65" fmla="*/ 185 h 414"/>
                <a:gd name="T66" fmla="*/ 189 w 325"/>
                <a:gd name="T67" fmla="*/ 183 h 414"/>
                <a:gd name="T68" fmla="*/ 170 w 325"/>
                <a:gd name="T69" fmla="*/ 180 h 414"/>
                <a:gd name="T70" fmla="*/ 151 w 325"/>
                <a:gd name="T71" fmla="*/ 175 h 414"/>
                <a:gd name="T72" fmla="*/ 119 w 325"/>
                <a:gd name="T73" fmla="*/ 159 h 414"/>
                <a:gd name="T74" fmla="*/ 104 w 325"/>
                <a:gd name="T75" fmla="*/ 151 h 414"/>
                <a:gd name="T76" fmla="*/ 79 w 325"/>
                <a:gd name="T77" fmla="*/ 133 h 414"/>
                <a:gd name="T78" fmla="*/ 57 w 325"/>
                <a:gd name="T79" fmla="*/ 115 h 414"/>
                <a:gd name="T80" fmla="*/ 39 w 325"/>
                <a:gd name="T81" fmla="*/ 95 h 414"/>
                <a:gd name="T82" fmla="*/ 25 w 325"/>
                <a:gd name="T83" fmla="*/ 74 h 414"/>
                <a:gd name="T84" fmla="*/ 19 w 325"/>
                <a:gd name="T85" fmla="*/ 62 h 414"/>
                <a:gd name="T86" fmla="*/ 9 w 325"/>
                <a:gd name="T87" fmla="*/ 38 h 414"/>
                <a:gd name="T88" fmla="*/ 5 w 325"/>
                <a:gd name="T89" fmla="*/ 25 h 414"/>
                <a:gd name="T90" fmla="*/ 1 w 325"/>
                <a:gd name="T91" fmla="*/ 11 h 414"/>
                <a:gd name="T92" fmla="*/ 1 w 325"/>
                <a:gd name="T93" fmla="*/ 3 h 414"/>
                <a:gd name="T94" fmla="*/ 6 w 325"/>
                <a:gd name="T95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5" h="414">
                  <a:moveTo>
                    <a:pt x="6" y="0"/>
                  </a:moveTo>
                  <a:lnTo>
                    <a:pt x="6" y="0"/>
                  </a:lnTo>
                  <a:lnTo>
                    <a:pt x="13" y="2"/>
                  </a:lnTo>
                  <a:lnTo>
                    <a:pt x="21" y="5"/>
                  </a:lnTo>
                  <a:lnTo>
                    <a:pt x="29" y="9"/>
                  </a:lnTo>
                  <a:lnTo>
                    <a:pt x="37" y="14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91" y="48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37" y="82"/>
                  </a:lnTo>
                  <a:lnTo>
                    <a:pt x="159" y="101"/>
                  </a:lnTo>
                  <a:lnTo>
                    <a:pt x="180" y="121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213" y="157"/>
                  </a:lnTo>
                  <a:lnTo>
                    <a:pt x="227" y="173"/>
                  </a:lnTo>
                  <a:lnTo>
                    <a:pt x="239" y="190"/>
                  </a:lnTo>
                  <a:lnTo>
                    <a:pt x="252" y="207"/>
                  </a:lnTo>
                  <a:lnTo>
                    <a:pt x="263" y="224"/>
                  </a:lnTo>
                  <a:lnTo>
                    <a:pt x="274" y="241"/>
                  </a:lnTo>
                  <a:lnTo>
                    <a:pt x="283" y="258"/>
                  </a:lnTo>
                  <a:lnTo>
                    <a:pt x="292" y="276"/>
                  </a:lnTo>
                  <a:lnTo>
                    <a:pt x="292" y="276"/>
                  </a:lnTo>
                  <a:lnTo>
                    <a:pt x="302" y="298"/>
                  </a:lnTo>
                  <a:lnTo>
                    <a:pt x="310" y="320"/>
                  </a:lnTo>
                  <a:lnTo>
                    <a:pt x="316" y="342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3" y="374"/>
                  </a:lnTo>
                  <a:lnTo>
                    <a:pt x="325" y="391"/>
                  </a:lnTo>
                  <a:lnTo>
                    <a:pt x="325" y="400"/>
                  </a:lnTo>
                  <a:lnTo>
                    <a:pt x="324" y="407"/>
                  </a:lnTo>
                  <a:lnTo>
                    <a:pt x="323" y="410"/>
                  </a:lnTo>
                  <a:lnTo>
                    <a:pt x="322" y="412"/>
                  </a:lnTo>
                  <a:lnTo>
                    <a:pt x="320" y="414"/>
                  </a:lnTo>
                  <a:lnTo>
                    <a:pt x="317" y="414"/>
                  </a:lnTo>
                  <a:lnTo>
                    <a:pt x="317" y="414"/>
                  </a:lnTo>
                  <a:lnTo>
                    <a:pt x="315" y="414"/>
                  </a:lnTo>
                  <a:lnTo>
                    <a:pt x="313" y="413"/>
                  </a:lnTo>
                  <a:lnTo>
                    <a:pt x="311" y="412"/>
                  </a:lnTo>
                  <a:lnTo>
                    <a:pt x="310" y="410"/>
                  </a:lnTo>
                  <a:lnTo>
                    <a:pt x="308" y="404"/>
                  </a:lnTo>
                  <a:lnTo>
                    <a:pt x="307" y="398"/>
                  </a:lnTo>
                  <a:lnTo>
                    <a:pt x="307" y="385"/>
                  </a:lnTo>
                  <a:lnTo>
                    <a:pt x="307" y="377"/>
                  </a:lnTo>
                  <a:lnTo>
                    <a:pt x="307" y="377"/>
                  </a:lnTo>
                  <a:lnTo>
                    <a:pt x="303" y="357"/>
                  </a:lnTo>
                  <a:lnTo>
                    <a:pt x="298" y="338"/>
                  </a:lnTo>
                  <a:lnTo>
                    <a:pt x="292" y="319"/>
                  </a:lnTo>
                  <a:lnTo>
                    <a:pt x="285" y="300"/>
                  </a:lnTo>
                  <a:lnTo>
                    <a:pt x="277" y="281"/>
                  </a:lnTo>
                  <a:lnTo>
                    <a:pt x="267" y="262"/>
                  </a:lnTo>
                  <a:lnTo>
                    <a:pt x="257" y="244"/>
                  </a:lnTo>
                  <a:lnTo>
                    <a:pt x="246" y="225"/>
                  </a:lnTo>
                  <a:lnTo>
                    <a:pt x="246" y="225"/>
                  </a:lnTo>
                  <a:lnTo>
                    <a:pt x="235" y="208"/>
                  </a:lnTo>
                  <a:lnTo>
                    <a:pt x="229" y="199"/>
                  </a:lnTo>
                  <a:lnTo>
                    <a:pt x="221" y="192"/>
                  </a:lnTo>
                  <a:lnTo>
                    <a:pt x="221" y="192"/>
                  </a:lnTo>
                  <a:lnTo>
                    <a:pt x="218" y="188"/>
                  </a:lnTo>
                  <a:lnTo>
                    <a:pt x="217" y="187"/>
                  </a:lnTo>
                  <a:lnTo>
                    <a:pt x="215" y="186"/>
                  </a:lnTo>
                  <a:lnTo>
                    <a:pt x="208" y="185"/>
                  </a:lnTo>
                  <a:lnTo>
                    <a:pt x="208" y="185"/>
                  </a:lnTo>
                  <a:lnTo>
                    <a:pt x="199" y="183"/>
                  </a:lnTo>
                  <a:lnTo>
                    <a:pt x="189" y="183"/>
                  </a:lnTo>
                  <a:lnTo>
                    <a:pt x="179" y="182"/>
                  </a:lnTo>
                  <a:lnTo>
                    <a:pt x="170" y="180"/>
                  </a:lnTo>
                  <a:lnTo>
                    <a:pt x="170" y="180"/>
                  </a:lnTo>
                  <a:lnTo>
                    <a:pt x="151" y="175"/>
                  </a:lnTo>
                  <a:lnTo>
                    <a:pt x="134" y="168"/>
                  </a:lnTo>
                  <a:lnTo>
                    <a:pt x="119" y="159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91" y="142"/>
                  </a:lnTo>
                  <a:lnTo>
                    <a:pt x="79" y="133"/>
                  </a:lnTo>
                  <a:lnTo>
                    <a:pt x="67" y="124"/>
                  </a:lnTo>
                  <a:lnTo>
                    <a:pt x="57" y="115"/>
                  </a:lnTo>
                  <a:lnTo>
                    <a:pt x="47" y="105"/>
                  </a:lnTo>
                  <a:lnTo>
                    <a:pt x="39" y="95"/>
                  </a:lnTo>
                  <a:lnTo>
                    <a:pt x="31" y="85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19" y="62"/>
                  </a:lnTo>
                  <a:lnTo>
                    <a:pt x="13" y="50"/>
                  </a:lnTo>
                  <a:lnTo>
                    <a:pt x="9" y="38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3" y="19"/>
                  </a:lnTo>
                  <a:lnTo>
                    <a:pt x="1" y="11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5" name="Freeform 126">
              <a:extLst>
                <a:ext uri="{FF2B5EF4-FFF2-40B4-BE49-F238E27FC236}">
                  <a16:creationId xmlns:a16="http://schemas.microsoft.com/office/drawing/2014/main" id="{17101490-06BA-4D6D-9EDE-C587CFE8C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2" y="2752"/>
              <a:ext cx="347" cy="772"/>
            </a:xfrm>
            <a:custGeom>
              <a:avLst/>
              <a:gdLst>
                <a:gd name="T0" fmla="*/ 337 w 347"/>
                <a:gd name="T1" fmla="*/ 0 h 772"/>
                <a:gd name="T2" fmla="*/ 339 w 347"/>
                <a:gd name="T3" fmla="*/ 2 h 772"/>
                <a:gd name="T4" fmla="*/ 336 w 347"/>
                <a:gd name="T5" fmla="*/ 6 h 772"/>
                <a:gd name="T6" fmla="*/ 337 w 347"/>
                <a:gd name="T7" fmla="*/ 33 h 772"/>
                <a:gd name="T8" fmla="*/ 344 w 347"/>
                <a:gd name="T9" fmla="*/ 87 h 772"/>
                <a:gd name="T10" fmla="*/ 347 w 347"/>
                <a:gd name="T11" fmla="*/ 107 h 772"/>
                <a:gd name="T12" fmla="*/ 341 w 347"/>
                <a:gd name="T13" fmla="*/ 142 h 772"/>
                <a:gd name="T14" fmla="*/ 328 w 347"/>
                <a:gd name="T15" fmla="*/ 176 h 772"/>
                <a:gd name="T16" fmla="*/ 308 w 347"/>
                <a:gd name="T17" fmla="*/ 209 h 772"/>
                <a:gd name="T18" fmla="*/ 278 w 347"/>
                <a:gd name="T19" fmla="*/ 239 h 772"/>
                <a:gd name="T20" fmla="*/ 262 w 347"/>
                <a:gd name="T21" fmla="*/ 251 h 772"/>
                <a:gd name="T22" fmla="*/ 226 w 347"/>
                <a:gd name="T23" fmla="*/ 275 h 772"/>
                <a:gd name="T24" fmla="*/ 206 w 347"/>
                <a:gd name="T25" fmla="*/ 285 h 772"/>
                <a:gd name="T26" fmla="*/ 158 w 347"/>
                <a:gd name="T27" fmla="*/ 302 h 772"/>
                <a:gd name="T28" fmla="*/ 149 w 347"/>
                <a:gd name="T29" fmla="*/ 303 h 772"/>
                <a:gd name="T30" fmla="*/ 125 w 347"/>
                <a:gd name="T31" fmla="*/ 306 h 772"/>
                <a:gd name="T32" fmla="*/ 118 w 347"/>
                <a:gd name="T33" fmla="*/ 308 h 772"/>
                <a:gd name="T34" fmla="*/ 114 w 347"/>
                <a:gd name="T35" fmla="*/ 312 h 772"/>
                <a:gd name="T36" fmla="*/ 109 w 347"/>
                <a:gd name="T37" fmla="*/ 329 h 772"/>
                <a:gd name="T38" fmla="*/ 92 w 347"/>
                <a:gd name="T39" fmla="*/ 374 h 772"/>
                <a:gd name="T40" fmla="*/ 74 w 347"/>
                <a:gd name="T41" fmla="*/ 420 h 772"/>
                <a:gd name="T42" fmla="*/ 59 w 347"/>
                <a:gd name="T43" fmla="*/ 467 h 772"/>
                <a:gd name="T44" fmla="*/ 53 w 347"/>
                <a:gd name="T45" fmla="*/ 491 h 772"/>
                <a:gd name="T46" fmla="*/ 43 w 347"/>
                <a:gd name="T47" fmla="*/ 539 h 772"/>
                <a:gd name="T48" fmla="*/ 39 w 347"/>
                <a:gd name="T49" fmla="*/ 564 h 772"/>
                <a:gd name="T50" fmla="*/ 31 w 347"/>
                <a:gd name="T51" fmla="*/ 615 h 772"/>
                <a:gd name="T52" fmla="*/ 22 w 347"/>
                <a:gd name="T53" fmla="*/ 668 h 772"/>
                <a:gd name="T54" fmla="*/ 17 w 347"/>
                <a:gd name="T55" fmla="*/ 720 h 772"/>
                <a:gd name="T56" fmla="*/ 18 w 347"/>
                <a:gd name="T57" fmla="*/ 746 h 772"/>
                <a:gd name="T58" fmla="*/ 22 w 347"/>
                <a:gd name="T59" fmla="*/ 772 h 772"/>
                <a:gd name="T60" fmla="*/ 16 w 347"/>
                <a:gd name="T61" fmla="*/ 759 h 772"/>
                <a:gd name="T62" fmla="*/ 7 w 347"/>
                <a:gd name="T63" fmla="*/ 733 h 772"/>
                <a:gd name="T64" fmla="*/ 2 w 347"/>
                <a:gd name="T65" fmla="*/ 706 h 772"/>
                <a:gd name="T66" fmla="*/ 0 w 347"/>
                <a:gd name="T67" fmla="*/ 678 h 772"/>
                <a:gd name="T68" fmla="*/ 3 w 347"/>
                <a:gd name="T69" fmla="*/ 636 h 772"/>
                <a:gd name="T70" fmla="*/ 15 w 347"/>
                <a:gd name="T71" fmla="*/ 555 h 772"/>
                <a:gd name="T72" fmla="*/ 20 w 347"/>
                <a:gd name="T73" fmla="*/ 530 h 772"/>
                <a:gd name="T74" fmla="*/ 34 w 347"/>
                <a:gd name="T75" fmla="*/ 479 h 772"/>
                <a:gd name="T76" fmla="*/ 51 w 347"/>
                <a:gd name="T77" fmla="*/ 428 h 772"/>
                <a:gd name="T78" fmla="*/ 81 w 347"/>
                <a:gd name="T79" fmla="*/ 352 h 772"/>
                <a:gd name="T80" fmla="*/ 95 w 347"/>
                <a:gd name="T81" fmla="*/ 320 h 772"/>
                <a:gd name="T82" fmla="*/ 124 w 347"/>
                <a:gd name="T83" fmla="*/ 255 h 772"/>
                <a:gd name="T84" fmla="*/ 142 w 347"/>
                <a:gd name="T85" fmla="*/ 223 h 772"/>
                <a:gd name="T86" fmla="*/ 175 w 347"/>
                <a:gd name="T87" fmla="*/ 170 h 772"/>
                <a:gd name="T88" fmla="*/ 216 w 347"/>
                <a:gd name="T89" fmla="*/ 119 h 772"/>
                <a:gd name="T90" fmla="*/ 261 w 347"/>
                <a:gd name="T91" fmla="*/ 69 h 772"/>
                <a:gd name="T92" fmla="*/ 312 w 347"/>
                <a:gd name="T93" fmla="*/ 22 h 772"/>
                <a:gd name="T94" fmla="*/ 337 w 347"/>
                <a:gd name="T95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7" h="772">
                  <a:moveTo>
                    <a:pt x="337" y="0"/>
                  </a:moveTo>
                  <a:lnTo>
                    <a:pt x="337" y="0"/>
                  </a:lnTo>
                  <a:lnTo>
                    <a:pt x="339" y="2"/>
                  </a:lnTo>
                  <a:lnTo>
                    <a:pt x="339" y="2"/>
                  </a:lnTo>
                  <a:lnTo>
                    <a:pt x="337" y="3"/>
                  </a:lnTo>
                  <a:lnTo>
                    <a:pt x="336" y="6"/>
                  </a:lnTo>
                  <a:lnTo>
                    <a:pt x="336" y="17"/>
                  </a:lnTo>
                  <a:lnTo>
                    <a:pt x="337" y="33"/>
                  </a:lnTo>
                  <a:lnTo>
                    <a:pt x="339" y="52"/>
                  </a:lnTo>
                  <a:lnTo>
                    <a:pt x="344" y="87"/>
                  </a:lnTo>
                  <a:lnTo>
                    <a:pt x="347" y="107"/>
                  </a:lnTo>
                  <a:lnTo>
                    <a:pt x="347" y="107"/>
                  </a:lnTo>
                  <a:lnTo>
                    <a:pt x="345" y="125"/>
                  </a:lnTo>
                  <a:lnTo>
                    <a:pt x="341" y="142"/>
                  </a:lnTo>
                  <a:lnTo>
                    <a:pt x="336" y="159"/>
                  </a:lnTo>
                  <a:lnTo>
                    <a:pt x="328" y="176"/>
                  </a:lnTo>
                  <a:lnTo>
                    <a:pt x="319" y="193"/>
                  </a:lnTo>
                  <a:lnTo>
                    <a:pt x="308" y="209"/>
                  </a:lnTo>
                  <a:lnTo>
                    <a:pt x="294" y="224"/>
                  </a:lnTo>
                  <a:lnTo>
                    <a:pt x="278" y="239"/>
                  </a:lnTo>
                  <a:lnTo>
                    <a:pt x="278" y="239"/>
                  </a:lnTo>
                  <a:lnTo>
                    <a:pt x="262" y="251"/>
                  </a:lnTo>
                  <a:lnTo>
                    <a:pt x="245" y="264"/>
                  </a:lnTo>
                  <a:lnTo>
                    <a:pt x="226" y="27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183" y="294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49" y="303"/>
                  </a:lnTo>
                  <a:lnTo>
                    <a:pt x="137" y="304"/>
                  </a:lnTo>
                  <a:lnTo>
                    <a:pt x="125" y="306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16" y="309"/>
                  </a:lnTo>
                  <a:lnTo>
                    <a:pt x="114" y="312"/>
                  </a:lnTo>
                  <a:lnTo>
                    <a:pt x="112" y="318"/>
                  </a:lnTo>
                  <a:lnTo>
                    <a:pt x="109" y="329"/>
                  </a:lnTo>
                  <a:lnTo>
                    <a:pt x="109" y="329"/>
                  </a:lnTo>
                  <a:lnTo>
                    <a:pt x="92" y="374"/>
                  </a:lnTo>
                  <a:lnTo>
                    <a:pt x="92" y="374"/>
                  </a:lnTo>
                  <a:lnTo>
                    <a:pt x="74" y="420"/>
                  </a:lnTo>
                  <a:lnTo>
                    <a:pt x="66" y="443"/>
                  </a:lnTo>
                  <a:lnTo>
                    <a:pt x="59" y="467"/>
                  </a:lnTo>
                  <a:lnTo>
                    <a:pt x="59" y="467"/>
                  </a:lnTo>
                  <a:lnTo>
                    <a:pt x="53" y="491"/>
                  </a:lnTo>
                  <a:lnTo>
                    <a:pt x="48" y="515"/>
                  </a:lnTo>
                  <a:lnTo>
                    <a:pt x="43" y="539"/>
                  </a:lnTo>
                  <a:lnTo>
                    <a:pt x="39" y="564"/>
                  </a:lnTo>
                  <a:lnTo>
                    <a:pt x="39" y="564"/>
                  </a:lnTo>
                  <a:lnTo>
                    <a:pt x="36" y="589"/>
                  </a:lnTo>
                  <a:lnTo>
                    <a:pt x="31" y="615"/>
                  </a:lnTo>
                  <a:lnTo>
                    <a:pt x="26" y="642"/>
                  </a:lnTo>
                  <a:lnTo>
                    <a:pt x="22" y="668"/>
                  </a:lnTo>
                  <a:lnTo>
                    <a:pt x="18" y="694"/>
                  </a:lnTo>
                  <a:lnTo>
                    <a:pt x="17" y="720"/>
                  </a:lnTo>
                  <a:lnTo>
                    <a:pt x="17" y="733"/>
                  </a:lnTo>
                  <a:lnTo>
                    <a:pt x="18" y="746"/>
                  </a:lnTo>
                  <a:lnTo>
                    <a:pt x="19" y="759"/>
                  </a:lnTo>
                  <a:lnTo>
                    <a:pt x="22" y="772"/>
                  </a:lnTo>
                  <a:lnTo>
                    <a:pt x="22" y="772"/>
                  </a:lnTo>
                  <a:lnTo>
                    <a:pt x="16" y="759"/>
                  </a:lnTo>
                  <a:lnTo>
                    <a:pt x="11" y="746"/>
                  </a:lnTo>
                  <a:lnTo>
                    <a:pt x="7" y="733"/>
                  </a:lnTo>
                  <a:lnTo>
                    <a:pt x="4" y="719"/>
                  </a:lnTo>
                  <a:lnTo>
                    <a:pt x="2" y="706"/>
                  </a:lnTo>
                  <a:lnTo>
                    <a:pt x="1" y="692"/>
                  </a:lnTo>
                  <a:lnTo>
                    <a:pt x="0" y="678"/>
                  </a:lnTo>
                  <a:lnTo>
                    <a:pt x="1" y="664"/>
                  </a:lnTo>
                  <a:lnTo>
                    <a:pt x="3" y="636"/>
                  </a:lnTo>
                  <a:lnTo>
                    <a:pt x="6" y="609"/>
                  </a:lnTo>
                  <a:lnTo>
                    <a:pt x="15" y="555"/>
                  </a:lnTo>
                  <a:lnTo>
                    <a:pt x="15" y="555"/>
                  </a:lnTo>
                  <a:lnTo>
                    <a:pt x="20" y="530"/>
                  </a:lnTo>
                  <a:lnTo>
                    <a:pt x="26" y="504"/>
                  </a:lnTo>
                  <a:lnTo>
                    <a:pt x="34" y="479"/>
                  </a:lnTo>
                  <a:lnTo>
                    <a:pt x="42" y="453"/>
                  </a:lnTo>
                  <a:lnTo>
                    <a:pt x="51" y="428"/>
                  </a:lnTo>
                  <a:lnTo>
                    <a:pt x="60" y="403"/>
                  </a:lnTo>
                  <a:lnTo>
                    <a:pt x="81" y="352"/>
                  </a:lnTo>
                  <a:lnTo>
                    <a:pt x="81" y="352"/>
                  </a:lnTo>
                  <a:lnTo>
                    <a:pt x="95" y="320"/>
                  </a:lnTo>
                  <a:lnTo>
                    <a:pt x="109" y="287"/>
                  </a:lnTo>
                  <a:lnTo>
                    <a:pt x="124" y="255"/>
                  </a:lnTo>
                  <a:lnTo>
                    <a:pt x="142" y="223"/>
                  </a:lnTo>
                  <a:lnTo>
                    <a:pt x="142" y="223"/>
                  </a:lnTo>
                  <a:lnTo>
                    <a:pt x="158" y="196"/>
                  </a:lnTo>
                  <a:lnTo>
                    <a:pt x="175" y="170"/>
                  </a:lnTo>
                  <a:lnTo>
                    <a:pt x="195" y="145"/>
                  </a:lnTo>
                  <a:lnTo>
                    <a:pt x="216" y="119"/>
                  </a:lnTo>
                  <a:lnTo>
                    <a:pt x="238" y="94"/>
                  </a:lnTo>
                  <a:lnTo>
                    <a:pt x="261" y="69"/>
                  </a:lnTo>
                  <a:lnTo>
                    <a:pt x="286" y="45"/>
                  </a:lnTo>
                  <a:lnTo>
                    <a:pt x="312" y="22"/>
                  </a:lnTo>
                  <a:lnTo>
                    <a:pt x="312" y="22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6" name="Freeform 127">
              <a:extLst>
                <a:ext uri="{FF2B5EF4-FFF2-40B4-BE49-F238E27FC236}">
                  <a16:creationId xmlns:a16="http://schemas.microsoft.com/office/drawing/2014/main" id="{B1DA3229-2E58-4D91-B2ED-2FC83D056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" y="3452"/>
              <a:ext cx="206" cy="159"/>
            </a:xfrm>
            <a:custGeom>
              <a:avLst/>
              <a:gdLst>
                <a:gd name="T0" fmla="*/ 0 w 206"/>
                <a:gd name="T1" fmla="*/ 13 h 159"/>
                <a:gd name="T2" fmla="*/ 0 w 206"/>
                <a:gd name="T3" fmla="*/ 13 h 159"/>
                <a:gd name="T4" fmla="*/ 2 w 206"/>
                <a:gd name="T5" fmla="*/ 8 h 159"/>
                <a:gd name="T6" fmla="*/ 5 w 206"/>
                <a:gd name="T7" fmla="*/ 4 h 159"/>
                <a:gd name="T8" fmla="*/ 10 w 206"/>
                <a:gd name="T9" fmla="*/ 1 h 159"/>
                <a:gd name="T10" fmla="*/ 15 w 206"/>
                <a:gd name="T11" fmla="*/ 0 h 159"/>
                <a:gd name="T12" fmla="*/ 191 w 206"/>
                <a:gd name="T13" fmla="*/ 0 h 159"/>
                <a:gd name="T14" fmla="*/ 191 w 206"/>
                <a:gd name="T15" fmla="*/ 0 h 159"/>
                <a:gd name="T16" fmla="*/ 197 w 206"/>
                <a:gd name="T17" fmla="*/ 1 h 159"/>
                <a:gd name="T18" fmla="*/ 201 w 206"/>
                <a:gd name="T19" fmla="*/ 5 h 159"/>
                <a:gd name="T20" fmla="*/ 204 w 206"/>
                <a:gd name="T21" fmla="*/ 9 h 159"/>
                <a:gd name="T22" fmla="*/ 206 w 206"/>
                <a:gd name="T23" fmla="*/ 15 h 159"/>
                <a:gd name="T24" fmla="*/ 206 w 206"/>
                <a:gd name="T25" fmla="*/ 15 h 159"/>
                <a:gd name="T26" fmla="*/ 205 w 206"/>
                <a:gd name="T27" fmla="*/ 17 h 159"/>
                <a:gd name="T28" fmla="*/ 179 w 206"/>
                <a:gd name="T29" fmla="*/ 113 h 159"/>
                <a:gd name="T30" fmla="*/ 179 w 206"/>
                <a:gd name="T31" fmla="*/ 113 h 159"/>
                <a:gd name="T32" fmla="*/ 176 w 206"/>
                <a:gd name="T33" fmla="*/ 123 h 159"/>
                <a:gd name="T34" fmla="*/ 171 w 206"/>
                <a:gd name="T35" fmla="*/ 132 h 159"/>
                <a:gd name="T36" fmla="*/ 165 w 206"/>
                <a:gd name="T37" fmla="*/ 139 h 159"/>
                <a:gd name="T38" fmla="*/ 158 w 206"/>
                <a:gd name="T39" fmla="*/ 146 h 159"/>
                <a:gd name="T40" fmla="*/ 149 w 206"/>
                <a:gd name="T41" fmla="*/ 151 h 159"/>
                <a:gd name="T42" fmla="*/ 140 w 206"/>
                <a:gd name="T43" fmla="*/ 155 h 159"/>
                <a:gd name="T44" fmla="*/ 131 w 206"/>
                <a:gd name="T45" fmla="*/ 158 h 159"/>
                <a:gd name="T46" fmla="*/ 120 w 206"/>
                <a:gd name="T47" fmla="*/ 159 h 159"/>
                <a:gd name="T48" fmla="*/ 85 w 206"/>
                <a:gd name="T49" fmla="*/ 159 h 159"/>
                <a:gd name="T50" fmla="*/ 85 w 206"/>
                <a:gd name="T51" fmla="*/ 159 h 159"/>
                <a:gd name="T52" fmla="*/ 75 w 206"/>
                <a:gd name="T53" fmla="*/ 158 h 159"/>
                <a:gd name="T54" fmla="*/ 66 w 206"/>
                <a:gd name="T55" fmla="*/ 155 h 159"/>
                <a:gd name="T56" fmla="*/ 56 w 206"/>
                <a:gd name="T57" fmla="*/ 151 h 159"/>
                <a:gd name="T58" fmla="*/ 48 w 206"/>
                <a:gd name="T59" fmla="*/ 146 h 159"/>
                <a:gd name="T60" fmla="*/ 41 w 206"/>
                <a:gd name="T61" fmla="*/ 139 h 159"/>
                <a:gd name="T62" fmla="*/ 35 w 206"/>
                <a:gd name="T63" fmla="*/ 132 h 159"/>
                <a:gd name="T64" fmla="*/ 30 w 206"/>
                <a:gd name="T65" fmla="*/ 123 h 159"/>
                <a:gd name="T66" fmla="*/ 26 w 206"/>
                <a:gd name="T67" fmla="*/ 113 h 159"/>
                <a:gd name="T68" fmla="*/ 0 w 206"/>
                <a:gd name="T69" fmla="*/ 1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6" h="159">
                  <a:moveTo>
                    <a:pt x="0" y="13"/>
                  </a:moveTo>
                  <a:lnTo>
                    <a:pt x="0" y="13"/>
                  </a:lnTo>
                  <a:lnTo>
                    <a:pt x="2" y="8"/>
                  </a:lnTo>
                  <a:lnTo>
                    <a:pt x="5" y="4"/>
                  </a:lnTo>
                  <a:lnTo>
                    <a:pt x="10" y="1"/>
                  </a:lnTo>
                  <a:lnTo>
                    <a:pt x="15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7" y="1"/>
                  </a:lnTo>
                  <a:lnTo>
                    <a:pt x="201" y="5"/>
                  </a:lnTo>
                  <a:lnTo>
                    <a:pt x="204" y="9"/>
                  </a:lnTo>
                  <a:lnTo>
                    <a:pt x="206" y="15"/>
                  </a:lnTo>
                  <a:lnTo>
                    <a:pt x="206" y="15"/>
                  </a:lnTo>
                  <a:lnTo>
                    <a:pt x="205" y="17"/>
                  </a:lnTo>
                  <a:lnTo>
                    <a:pt x="179" y="113"/>
                  </a:lnTo>
                  <a:lnTo>
                    <a:pt x="179" y="113"/>
                  </a:lnTo>
                  <a:lnTo>
                    <a:pt x="176" y="123"/>
                  </a:lnTo>
                  <a:lnTo>
                    <a:pt x="171" y="132"/>
                  </a:lnTo>
                  <a:lnTo>
                    <a:pt x="165" y="139"/>
                  </a:lnTo>
                  <a:lnTo>
                    <a:pt x="158" y="146"/>
                  </a:lnTo>
                  <a:lnTo>
                    <a:pt x="149" y="151"/>
                  </a:lnTo>
                  <a:lnTo>
                    <a:pt x="140" y="155"/>
                  </a:lnTo>
                  <a:lnTo>
                    <a:pt x="131" y="158"/>
                  </a:lnTo>
                  <a:lnTo>
                    <a:pt x="120" y="159"/>
                  </a:lnTo>
                  <a:lnTo>
                    <a:pt x="85" y="159"/>
                  </a:lnTo>
                  <a:lnTo>
                    <a:pt x="85" y="159"/>
                  </a:lnTo>
                  <a:lnTo>
                    <a:pt x="75" y="158"/>
                  </a:lnTo>
                  <a:lnTo>
                    <a:pt x="66" y="155"/>
                  </a:lnTo>
                  <a:lnTo>
                    <a:pt x="56" y="151"/>
                  </a:lnTo>
                  <a:lnTo>
                    <a:pt x="48" y="146"/>
                  </a:lnTo>
                  <a:lnTo>
                    <a:pt x="41" y="139"/>
                  </a:lnTo>
                  <a:lnTo>
                    <a:pt x="35" y="132"/>
                  </a:lnTo>
                  <a:lnTo>
                    <a:pt x="30" y="123"/>
                  </a:lnTo>
                  <a:lnTo>
                    <a:pt x="26" y="1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7" name="Freeform 128">
              <a:extLst>
                <a:ext uri="{FF2B5EF4-FFF2-40B4-BE49-F238E27FC236}">
                  <a16:creationId xmlns:a16="http://schemas.microsoft.com/office/drawing/2014/main" id="{A2A949F7-2BD7-4500-B5FD-748172A8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" y="1972"/>
              <a:ext cx="38" cy="176"/>
            </a:xfrm>
            <a:custGeom>
              <a:avLst/>
              <a:gdLst>
                <a:gd name="T0" fmla="*/ 20 w 38"/>
                <a:gd name="T1" fmla="*/ 0 h 176"/>
                <a:gd name="T2" fmla="*/ 20 w 38"/>
                <a:gd name="T3" fmla="*/ 0 h 176"/>
                <a:gd name="T4" fmla="*/ 22 w 38"/>
                <a:gd name="T5" fmla="*/ 4 h 176"/>
                <a:gd name="T6" fmla="*/ 27 w 38"/>
                <a:gd name="T7" fmla="*/ 14 h 176"/>
                <a:gd name="T8" fmla="*/ 33 w 38"/>
                <a:gd name="T9" fmla="*/ 30 h 176"/>
                <a:gd name="T10" fmla="*/ 35 w 38"/>
                <a:gd name="T11" fmla="*/ 41 h 176"/>
                <a:gd name="T12" fmla="*/ 37 w 38"/>
                <a:gd name="T13" fmla="*/ 52 h 176"/>
                <a:gd name="T14" fmla="*/ 38 w 38"/>
                <a:gd name="T15" fmla="*/ 65 h 176"/>
                <a:gd name="T16" fmla="*/ 38 w 38"/>
                <a:gd name="T17" fmla="*/ 78 h 176"/>
                <a:gd name="T18" fmla="*/ 37 w 38"/>
                <a:gd name="T19" fmla="*/ 93 h 176"/>
                <a:gd name="T20" fmla="*/ 34 w 38"/>
                <a:gd name="T21" fmla="*/ 108 h 176"/>
                <a:gd name="T22" fmla="*/ 29 w 38"/>
                <a:gd name="T23" fmla="*/ 124 h 176"/>
                <a:gd name="T24" fmla="*/ 22 w 38"/>
                <a:gd name="T25" fmla="*/ 141 h 176"/>
                <a:gd name="T26" fmla="*/ 12 w 38"/>
                <a:gd name="T27" fmla="*/ 158 h 176"/>
                <a:gd name="T28" fmla="*/ 0 w 38"/>
                <a:gd name="T29" fmla="*/ 176 h 176"/>
                <a:gd name="T30" fmla="*/ 20 w 38"/>
                <a:gd name="T3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176">
                  <a:moveTo>
                    <a:pt x="20" y="0"/>
                  </a:moveTo>
                  <a:lnTo>
                    <a:pt x="20" y="0"/>
                  </a:lnTo>
                  <a:lnTo>
                    <a:pt x="22" y="4"/>
                  </a:lnTo>
                  <a:lnTo>
                    <a:pt x="27" y="14"/>
                  </a:lnTo>
                  <a:lnTo>
                    <a:pt x="33" y="30"/>
                  </a:lnTo>
                  <a:lnTo>
                    <a:pt x="35" y="41"/>
                  </a:lnTo>
                  <a:lnTo>
                    <a:pt x="37" y="52"/>
                  </a:lnTo>
                  <a:lnTo>
                    <a:pt x="38" y="65"/>
                  </a:lnTo>
                  <a:lnTo>
                    <a:pt x="38" y="78"/>
                  </a:lnTo>
                  <a:lnTo>
                    <a:pt x="37" y="93"/>
                  </a:lnTo>
                  <a:lnTo>
                    <a:pt x="34" y="108"/>
                  </a:lnTo>
                  <a:lnTo>
                    <a:pt x="29" y="124"/>
                  </a:lnTo>
                  <a:lnTo>
                    <a:pt x="22" y="141"/>
                  </a:lnTo>
                  <a:lnTo>
                    <a:pt x="12" y="158"/>
                  </a:lnTo>
                  <a:lnTo>
                    <a:pt x="0" y="17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8" name="Freeform 129">
              <a:extLst>
                <a:ext uri="{FF2B5EF4-FFF2-40B4-BE49-F238E27FC236}">
                  <a16:creationId xmlns:a16="http://schemas.microsoft.com/office/drawing/2014/main" id="{21E098B2-C4F6-4E07-BE02-9C04FD7E8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" y="1972"/>
              <a:ext cx="38" cy="176"/>
            </a:xfrm>
            <a:custGeom>
              <a:avLst/>
              <a:gdLst>
                <a:gd name="T0" fmla="*/ 20 w 38"/>
                <a:gd name="T1" fmla="*/ 0 h 176"/>
                <a:gd name="T2" fmla="*/ 20 w 38"/>
                <a:gd name="T3" fmla="*/ 0 h 176"/>
                <a:gd name="T4" fmla="*/ 22 w 38"/>
                <a:gd name="T5" fmla="*/ 4 h 176"/>
                <a:gd name="T6" fmla="*/ 27 w 38"/>
                <a:gd name="T7" fmla="*/ 14 h 176"/>
                <a:gd name="T8" fmla="*/ 33 w 38"/>
                <a:gd name="T9" fmla="*/ 30 h 176"/>
                <a:gd name="T10" fmla="*/ 35 w 38"/>
                <a:gd name="T11" fmla="*/ 41 h 176"/>
                <a:gd name="T12" fmla="*/ 37 w 38"/>
                <a:gd name="T13" fmla="*/ 52 h 176"/>
                <a:gd name="T14" fmla="*/ 38 w 38"/>
                <a:gd name="T15" fmla="*/ 65 h 176"/>
                <a:gd name="T16" fmla="*/ 38 w 38"/>
                <a:gd name="T17" fmla="*/ 78 h 176"/>
                <a:gd name="T18" fmla="*/ 37 w 38"/>
                <a:gd name="T19" fmla="*/ 93 h 176"/>
                <a:gd name="T20" fmla="*/ 34 w 38"/>
                <a:gd name="T21" fmla="*/ 108 h 176"/>
                <a:gd name="T22" fmla="*/ 29 w 38"/>
                <a:gd name="T23" fmla="*/ 124 h 176"/>
                <a:gd name="T24" fmla="*/ 22 w 38"/>
                <a:gd name="T25" fmla="*/ 141 h 176"/>
                <a:gd name="T26" fmla="*/ 12 w 38"/>
                <a:gd name="T27" fmla="*/ 158 h 176"/>
                <a:gd name="T28" fmla="*/ 0 w 38"/>
                <a:gd name="T2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176">
                  <a:moveTo>
                    <a:pt x="20" y="0"/>
                  </a:moveTo>
                  <a:lnTo>
                    <a:pt x="20" y="0"/>
                  </a:lnTo>
                  <a:lnTo>
                    <a:pt x="22" y="4"/>
                  </a:lnTo>
                  <a:lnTo>
                    <a:pt x="27" y="14"/>
                  </a:lnTo>
                  <a:lnTo>
                    <a:pt x="33" y="30"/>
                  </a:lnTo>
                  <a:lnTo>
                    <a:pt x="35" y="41"/>
                  </a:lnTo>
                  <a:lnTo>
                    <a:pt x="37" y="52"/>
                  </a:lnTo>
                  <a:lnTo>
                    <a:pt x="38" y="65"/>
                  </a:lnTo>
                  <a:lnTo>
                    <a:pt x="38" y="78"/>
                  </a:lnTo>
                  <a:lnTo>
                    <a:pt x="37" y="93"/>
                  </a:lnTo>
                  <a:lnTo>
                    <a:pt x="34" y="108"/>
                  </a:lnTo>
                  <a:lnTo>
                    <a:pt x="29" y="124"/>
                  </a:lnTo>
                  <a:lnTo>
                    <a:pt x="22" y="141"/>
                  </a:lnTo>
                  <a:lnTo>
                    <a:pt x="12" y="158"/>
                  </a:lnTo>
                  <a:lnTo>
                    <a:pt x="0" y="17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49" name="Freeform 130">
              <a:extLst>
                <a:ext uri="{FF2B5EF4-FFF2-40B4-BE49-F238E27FC236}">
                  <a16:creationId xmlns:a16="http://schemas.microsoft.com/office/drawing/2014/main" id="{26F3E64D-E4EB-4D87-B683-C57AEBDDB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" y="1968"/>
              <a:ext cx="46" cy="184"/>
            </a:xfrm>
            <a:custGeom>
              <a:avLst/>
              <a:gdLst>
                <a:gd name="T0" fmla="*/ 4 w 46"/>
                <a:gd name="T1" fmla="*/ 184 h 184"/>
                <a:gd name="T2" fmla="*/ 4 w 46"/>
                <a:gd name="T3" fmla="*/ 184 h 184"/>
                <a:gd name="T4" fmla="*/ 2 w 46"/>
                <a:gd name="T5" fmla="*/ 183 h 184"/>
                <a:gd name="T6" fmla="*/ 2 w 46"/>
                <a:gd name="T7" fmla="*/ 183 h 184"/>
                <a:gd name="T8" fmla="*/ 1 w 46"/>
                <a:gd name="T9" fmla="*/ 182 h 184"/>
                <a:gd name="T10" fmla="*/ 0 w 46"/>
                <a:gd name="T11" fmla="*/ 181 h 184"/>
                <a:gd name="T12" fmla="*/ 0 w 46"/>
                <a:gd name="T13" fmla="*/ 179 h 184"/>
                <a:gd name="T14" fmla="*/ 1 w 46"/>
                <a:gd name="T15" fmla="*/ 178 h 184"/>
                <a:gd name="T16" fmla="*/ 1 w 46"/>
                <a:gd name="T17" fmla="*/ 178 h 184"/>
                <a:gd name="T18" fmla="*/ 12 w 46"/>
                <a:gd name="T19" fmla="*/ 160 h 184"/>
                <a:gd name="T20" fmla="*/ 22 w 46"/>
                <a:gd name="T21" fmla="*/ 144 h 184"/>
                <a:gd name="T22" fmla="*/ 28 w 46"/>
                <a:gd name="T23" fmla="*/ 127 h 184"/>
                <a:gd name="T24" fmla="*/ 33 w 46"/>
                <a:gd name="T25" fmla="*/ 112 h 184"/>
                <a:gd name="T26" fmla="*/ 36 w 46"/>
                <a:gd name="T27" fmla="*/ 97 h 184"/>
                <a:gd name="T28" fmla="*/ 38 w 46"/>
                <a:gd name="T29" fmla="*/ 83 h 184"/>
                <a:gd name="T30" fmla="*/ 38 w 46"/>
                <a:gd name="T31" fmla="*/ 70 h 184"/>
                <a:gd name="T32" fmla="*/ 37 w 46"/>
                <a:gd name="T33" fmla="*/ 57 h 184"/>
                <a:gd name="T34" fmla="*/ 35 w 46"/>
                <a:gd name="T35" fmla="*/ 46 h 184"/>
                <a:gd name="T36" fmla="*/ 33 w 46"/>
                <a:gd name="T37" fmla="*/ 36 h 184"/>
                <a:gd name="T38" fmla="*/ 28 w 46"/>
                <a:gd name="T39" fmla="*/ 20 h 184"/>
                <a:gd name="T40" fmla="*/ 23 w 46"/>
                <a:gd name="T41" fmla="*/ 10 h 184"/>
                <a:gd name="T42" fmla="*/ 21 w 46"/>
                <a:gd name="T43" fmla="*/ 6 h 184"/>
                <a:gd name="T44" fmla="*/ 21 w 46"/>
                <a:gd name="T45" fmla="*/ 6 h 184"/>
                <a:gd name="T46" fmla="*/ 20 w 46"/>
                <a:gd name="T47" fmla="*/ 5 h 184"/>
                <a:gd name="T48" fmla="*/ 20 w 46"/>
                <a:gd name="T49" fmla="*/ 3 h 184"/>
                <a:gd name="T50" fmla="*/ 21 w 46"/>
                <a:gd name="T51" fmla="*/ 2 h 184"/>
                <a:gd name="T52" fmla="*/ 22 w 46"/>
                <a:gd name="T53" fmla="*/ 1 h 184"/>
                <a:gd name="T54" fmla="*/ 22 w 46"/>
                <a:gd name="T55" fmla="*/ 1 h 184"/>
                <a:gd name="T56" fmla="*/ 23 w 46"/>
                <a:gd name="T57" fmla="*/ 0 h 184"/>
                <a:gd name="T58" fmla="*/ 25 w 46"/>
                <a:gd name="T59" fmla="*/ 0 h 184"/>
                <a:gd name="T60" fmla="*/ 26 w 46"/>
                <a:gd name="T61" fmla="*/ 1 h 184"/>
                <a:gd name="T62" fmla="*/ 27 w 46"/>
                <a:gd name="T63" fmla="*/ 2 h 184"/>
                <a:gd name="T64" fmla="*/ 27 w 46"/>
                <a:gd name="T65" fmla="*/ 2 h 184"/>
                <a:gd name="T66" fmla="*/ 30 w 46"/>
                <a:gd name="T67" fmla="*/ 6 h 184"/>
                <a:gd name="T68" fmla="*/ 35 w 46"/>
                <a:gd name="T69" fmla="*/ 17 h 184"/>
                <a:gd name="T70" fmla="*/ 38 w 46"/>
                <a:gd name="T71" fmla="*/ 25 h 184"/>
                <a:gd name="T72" fmla="*/ 40 w 46"/>
                <a:gd name="T73" fmla="*/ 34 h 184"/>
                <a:gd name="T74" fmla="*/ 43 w 46"/>
                <a:gd name="T75" fmla="*/ 44 h 184"/>
                <a:gd name="T76" fmla="*/ 45 w 46"/>
                <a:gd name="T77" fmla="*/ 56 h 184"/>
                <a:gd name="T78" fmla="*/ 46 w 46"/>
                <a:gd name="T79" fmla="*/ 69 h 184"/>
                <a:gd name="T80" fmla="*/ 46 w 46"/>
                <a:gd name="T81" fmla="*/ 83 h 184"/>
                <a:gd name="T82" fmla="*/ 44 w 46"/>
                <a:gd name="T83" fmla="*/ 98 h 184"/>
                <a:gd name="T84" fmla="*/ 41 w 46"/>
                <a:gd name="T85" fmla="*/ 113 h 184"/>
                <a:gd name="T86" fmla="*/ 36 w 46"/>
                <a:gd name="T87" fmla="*/ 130 h 184"/>
                <a:gd name="T88" fmla="*/ 29 w 46"/>
                <a:gd name="T89" fmla="*/ 147 h 184"/>
                <a:gd name="T90" fmla="*/ 19 w 46"/>
                <a:gd name="T91" fmla="*/ 164 h 184"/>
                <a:gd name="T92" fmla="*/ 7 w 46"/>
                <a:gd name="T93" fmla="*/ 182 h 184"/>
                <a:gd name="T94" fmla="*/ 7 w 46"/>
                <a:gd name="T95" fmla="*/ 182 h 184"/>
                <a:gd name="T96" fmla="*/ 6 w 46"/>
                <a:gd name="T97" fmla="*/ 184 h 184"/>
                <a:gd name="T98" fmla="*/ 4 w 46"/>
                <a:gd name="T99" fmla="*/ 184 h 184"/>
                <a:gd name="T100" fmla="*/ 4 w 46"/>
                <a:gd name="T101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" h="184">
                  <a:moveTo>
                    <a:pt x="4" y="184"/>
                  </a:moveTo>
                  <a:lnTo>
                    <a:pt x="4" y="184"/>
                  </a:lnTo>
                  <a:lnTo>
                    <a:pt x="2" y="183"/>
                  </a:lnTo>
                  <a:lnTo>
                    <a:pt x="2" y="183"/>
                  </a:lnTo>
                  <a:lnTo>
                    <a:pt x="1" y="182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2" y="160"/>
                  </a:lnTo>
                  <a:lnTo>
                    <a:pt x="22" y="144"/>
                  </a:lnTo>
                  <a:lnTo>
                    <a:pt x="28" y="127"/>
                  </a:lnTo>
                  <a:lnTo>
                    <a:pt x="33" y="112"/>
                  </a:lnTo>
                  <a:lnTo>
                    <a:pt x="36" y="97"/>
                  </a:lnTo>
                  <a:lnTo>
                    <a:pt x="38" y="83"/>
                  </a:lnTo>
                  <a:lnTo>
                    <a:pt x="38" y="70"/>
                  </a:lnTo>
                  <a:lnTo>
                    <a:pt x="37" y="57"/>
                  </a:lnTo>
                  <a:lnTo>
                    <a:pt x="35" y="46"/>
                  </a:lnTo>
                  <a:lnTo>
                    <a:pt x="33" y="36"/>
                  </a:lnTo>
                  <a:lnTo>
                    <a:pt x="28" y="20"/>
                  </a:lnTo>
                  <a:lnTo>
                    <a:pt x="23" y="10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1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6" y="1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6"/>
                  </a:lnTo>
                  <a:lnTo>
                    <a:pt x="35" y="17"/>
                  </a:lnTo>
                  <a:lnTo>
                    <a:pt x="38" y="25"/>
                  </a:lnTo>
                  <a:lnTo>
                    <a:pt x="40" y="34"/>
                  </a:lnTo>
                  <a:lnTo>
                    <a:pt x="43" y="44"/>
                  </a:lnTo>
                  <a:lnTo>
                    <a:pt x="45" y="56"/>
                  </a:lnTo>
                  <a:lnTo>
                    <a:pt x="46" y="69"/>
                  </a:lnTo>
                  <a:lnTo>
                    <a:pt x="46" y="83"/>
                  </a:lnTo>
                  <a:lnTo>
                    <a:pt x="44" y="98"/>
                  </a:lnTo>
                  <a:lnTo>
                    <a:pt x="41" y="113"/>
                  </a:lnTo>
                  <a:lnTo>
                    <a:pt x="36" y="130"/>
                  </a:lnTo>
                  <a:lnTo>
                    <a:pt x="29" y="147"/>
                  </a:lnTo>
                  <a:lnTo>
                    <a:pt x="19" y="164"/>
                  </a:lnTo>
                  <a:lnTo>
                    <a:pt x="7" y="182"/>
                  </a:lnTo>
                  <a:lnTo>
                    <a:pt x="7" y="182"/>
                  </a:lnTo>
                  <a:lnTo>
                    <a:pt x="6" y="184"/>
                  </a:lnTo>
                  <a:lnTo>
                    <a:pt x="4" y="184"/>
                  </a:lnTo>
                  <a:lnTo>
                    <a:pt x="4" y="18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0" name="Freeform 131">
              <a:extLst>
                <a:ext uri="{FF2B5EF4-FFF2-40B4-BE49-F238E27FC236}">
                  <a16:creationId xmlns:a16="http://schemas.microsoft.com/office/drawing/2014/main" id="{47E8EF74-0934-48A9-825A-4338F9997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8" y="1844"/>
              <a:ext cx="168" cy="62"/>
            </a:xfrm>
            <a:custGeom>
              <a:avLst/>
              <a:gdLst>
                <a:gd name="T0" fmla="*/ 0 w 168"/>
                <a:gd name="T1" fmla="*/ 0 h 62"/>
                <a:gd name="T2" fmla="*/ 0 w 168"/>
                <a:gd name="T3" fmla="*/ 0 h 62"/>
                <a:gd name="T4" fmla="*/ 3 w 168"/>
                <a:gd name="T5" fmla="*/ 5 h 62"/>
                <a:gd name="T6" fmla="*/ 13 w 168"/>
                <a:gd name="T7" fmla="*/ 19 h 62"/>
                <a:gd name="T8" fmla="*/ 20 w 168"/>
                <a:gd name="T9" fmla="*/ 27 h 62"/>
                <a:gd name="T10" fmla="*/ 28 w 168"/>
                <a:gd name="T11" fmla="*/ 35 h 62"/>
                <a:gd name="T12" fmla="*/ 37 w 168"/>
                <a:gd name="T13" fmla="*/ 44 h 62"/>
                <a:gd name="T14" fmla="*/ 48 w 168"/>
                <a:gd name="T15" fmla="*/ 51 h 62"/>
                <a:gd name="T16" fmla="*/ 60 w 168"/>
                <a:gd name="T17" fmla="*/ 57 h 62"/>
                <a:gd name="T18" fmla="*/ 66 w 168"/>
                <a:gd name="T19" fmla="*/ 59 h 62"/>
                <a:gd name="T20" fmla="*/ 73 w 168"/>
                <a:gd name="T21" fmla="*/ 61 h 62"/>
                <a:gd name="T22" fmla="*/ 79 w 168"/>
                <a:gd name="T23" fmla="*/ 62 h 62"/>
                <a:gd name="T24" fmla="*/ 86 w 168"/>
                <a:gd name="T25" fmla="*/ 62 h 62"/>
                <a:gd name="T26" fmla="*/ 94 w 168"/>
                <a:gd name="T27" fmla="*/ 62 h 62"/>
                <a:gd name="T28" fmla="*/ 101 w 168"/>
                <a:gd name="T29" fmla="*/ 61 h 62"/>
                <a:gd name="T30" fmla="*/ 109 w 168"/>
                <a:gd name="T31" fmla="*/ 59 h 62"/>
                <a:gd name="T32" fmla="*/ 117 w 168"/>
                <a:gd name="T33" fmla="*/ 55 h 62"/>
                <a:gd name="T34" fmla="*/ 125 w 168"/>
                <a:gd name="T35" fmla="*/ 51 h 62"/>
                <a:gd name="T36" fmla="*/ 133 w 168"/>
                <a:gd name="T37" fmla="*/ 46 h 62"/>
                <a:gd name="T38" fmla="*/ 142 w 168"/>
                <a:gd name="T39" fmla="*/ 39 h 62"/>
                <a:gd name="T40" fmla="*/ 150 w 168"/>
                <a:gd name="T41" fmla="*/ 32 h 62"/>
                <a:gd name="T42" fmla="*/ 159 w 168"/>
                <a:gd name="T43" fmla="*/ 23 h 62"/>
                <a:gd name="T44" fmla="*/ 168 w 168"/>
                <a:gd name="T45" fmla="*/ 12 h 62"/>
                <a:gd name="T46" fmla="*/ 0 w 168"/>
                <a:gd name="T4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62">
                  <a:moveTo>
                    <a:pt x="0" y="0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13" y="19"/>
                  </a:lnTo>
                  <a:lnTo>
                    <a:pt x="20" y="27"/>
                  </a:lnTo>
                  <a:lnTo>
                    <a:pt x="28" y="35"/>
                  </a:lnTo>
                  <a:lnTo>
                    <a:pt x="37" y="44"/>
                  </a:lnTo>
                  <a:lnTo>
                    <a:pt x="48" y="51"/>
                  </a:lnTo>
                  <a:lnTo>
                    <a:pt x="60" y="57"/>
                  </a:lnTo>
                  <a:lnTo>
                    <a:pt x="66" y="59"/>
                  </a:lnTo>
                  <a:lnTo>
                    <a:pt x="73" y="61"/>
                  </a:lnTo>
                  <a:lnTo>
                    <a:pt x="79" y="62"/>
                  </a:lnTo>
                  <a:lnTo>
                    <a:pt x="86" y="62"/>
                  </a:lnTo>
                  <a:lnTo>
                    <a:pt x="94" y="62"/>
                  </a:lnTo>
                  <a:lnTo>
                    <a:pt x="101" y="61"/>
                  </a:lnTo>
                  <a:lnTo>
                    <a:pt x="109" y="59"/>
                  </a:lnTo>
                  <a:lnTo>
                    <a:pt x="117" y="55"/>
                  </a:lnTo>
                  <a:lnTo>
                    <a:pt x="125" y="51"/>
                  </a:lnTo>
                  <a:lnTo>
                    <a:pt x="133" y="46"/>
                  </a:lnTo>
                  <a:lnTo>
                    <a:pt x="142" y="39"/>
                  </a:lnTo>
                  <a:lnTo>
                    <a:pt x="150" y="32"/>
                  </a:lnTo>
                  <a:lnTo>
                    <a:pt x="159" y="23"/>
                  </a:lnTo>
                  <a:lnTo>
                    <a:pt x="168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1" name="Freeform 132">
              <a:extLst>
                <a:ext uri="{FF2B5EF4-FFF2-40B4-BE49-F238E27FC236}">
                  <a16:creationId xmlns:a16="http://schemas.microsoft.com/office/drawing/2014/main" id="{CFD95EE2-0814-4EC0-A565-F1885733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8" y="1844"/>
              <a:ext cx="168" cy="62"/>
            </a:xfrm>
            <a:custGeom>
              <a:avLst/>
              <a:gdLst>
                <a:gd name="T0" fmla="*/ 0 w 168"/>
                <a:gd name="T1" fmla="*/ 0 h 62"/>
                <a:gd name="T2" fmla="*/ 0 w 168"/>
                <a:gd name="T3" fmla="*/ 0 h 62"/>
                <a:gd name="T4" fmla="*/ 3 w 168"/>
                <a:gd name="T5" fmla="*/ 5 h 62"/>
                <a:gd name="T6" fmla="*/ 13 w 168"/>
                <a:gd name="T7" fmla="*/ 19 h 62"/>
                <a:gd name="T8" fmla="*/ 20 w 168"/>
                <a:gd name="T9" fmla="*/ 27 h 62"/>
                <a:gd name="T10" fmla="*/ 28 w 168"/>
                <a:gd name="T11" fmla="*/ 35 h 62"/>
                <a:gd name="T12" fmla="*/ 37 w 168"/>
                <a:gd name="T13" fmla="*/ 44 h 62"/>
                <a:gd name="T14" fmla="*/ 48 w 168"/>
                <a:gd name="T15" fmla="*/ 51 h 62"/>
                <a:gd name="T16" fmla="*/ 60 w 168"/>
                <a:gd name="T17" fmla="*/ 57 h 62"/>
                <a:gd name="T18" fmla="*/ 66 w 168"/>
                <a:gd name="T19" fmla="*/ 59 h 62"/>
                <a:gd name="T20" fmla="*/ 73 w 168"/>
                <a:gd name="T21" fmla="*/ 61 h 62"/>
                <a:gd name="T22" fmla="*/ 79 w 168"/>
                <a:gd name="T23" fmla="*/ 62 h 62"/>
                <a:gd name="T24" fmla="*/ 86 w 168"/>
                <a:gd name="T25" fmla="*/ 62 h 62"/>
                <a:gd name="T26" fmla="*/ 94 w 168"/>
                <a:gd name="T27" fmla="*/ 62 h 62"/>
                <a:gd name="T28" fmla="*/ 101 w 168"/>
                <a:gd name="T29" fmla="*/ 61 h 62"/>
                <a:gd name="T30" fmla="*/ 109 w 168"/>
                <a:gd name="T31" fmla="*/ 59 h 62"/>
                <a:gd name="T32" fmla="*/ 117 w 168"/>
                <a:gd name="T33" fmla="*/ 55 h 62"/>
                <a:gd name="T34" fmla="*/ 125 w 168"/>
                <a:gd name="T35" fmla="*/ 51 h 62"/>
                <a:gd name="T36" fmla="*/ 133 w 168"/>
                <a:gd name="T37" fmla="*/ 46 h 62"/>
                <a:gd name="T38" fmla="*/ 142 w 168"/>
                <a:gd name="T39" fmla="*/ 39 h 62"/>
                <a:gd name="T40" fmla="*/ 150 w 168"/>
                <a:gd name="T41" fmla="*/ 32 h 62"/>
                <a:gd name="T42" fmla="*/ 159 w 168"/>
                <a:gd name="T43" fmla="*/ 23 h 62"/>
                <a:gd name="T44" fmla="*/ 168 w 168"/>
                <a:gd name="T45" fmla="*/ 1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62">
                  <a:moveTo>
                    <a:pt x="0" y="0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13" y="19"/>
                  </a:lnTo>
                  <a:lnTo>
                    <a:pt x="20" y="27"/>
                  </a:lnTo>
                  <a:lnTo>
                    <a:pt x="28" y="35"/>
                  </a:lnTo>
                  <a:lnTo>
                    <a:pt x="37" y="44"/>
                  </a:lnTo>
                  <a:lnTo>
                    <a:pt x="48" y="51"/>
                  </a:lnTo>
                  <a:lnTo>
                    <a:pt x="60" y="57"/>
                  </a:lnTo>
                  <a:lnTo>
                    <a:pt x="66" y="59"/>
                  </a:lnTo>
                  <a:lnTo>
                    <a:pt x="73" y="61"/>
                  </a:lnTo>
                  <a:lnTo>
                    <a:pt x="79" y="62"/>
                  </a:lnTo>
                  <a:lnTo>
                    <a:pt x="86" y="62"/>
                  </a:lnTo>
                  <a:lnTo>
                    <a:pt x="94" y="62"/>
                  </a:lnTo>
                  <a:lnTo>
                    <a:pt x="101" y="61"/>
                  </a:lnTo>
                  <a:lnTo>
                    <a:pt x="109" y="59"/>
                  </a:lnTo>
                  <a:lnTo>
                    <a:pt x="117" y="55"/>
                  </a:lnTo>
                  <a:lnTo>
                    <a:pt x="125" y="51"/>
                  </a:lnTo>
                  <a:lnTo>
                    <a:pt x="133" y="46"/>
                  </a:lnTo>
                  <a:lnTo>
                    <a:pt x="142" y="39"/>
                  </a:lnTo>
                  <a:lnTo>
                    <a:pt x="150" y="32"/>
                  </a:lnTo>
                  <a:lnTo>
                    <a:pt x="159" y="23"/>
                  </a:lnTo>
                  <a:lnTo>
                    <a:pt x="168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2" name="Freeform 133">
              <a:extLst>
                <a:ext uri="{FF2B5EF4-FFF2-40B4-BE49-F238E27FC236}">
                  <a16:creationId xmlns:a16="http://schemas.microsoft.com/office/drawing/2014/main" id="{BC334236-30D7-4869-9BE9-866104249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" y="1840"/>
              <a:ext cx="176" cy="70"/>
            </a:xfrm>
            <a:custGeom>
              <a:avLst/>
              <a:gdLst>
                <a:gd name="T0" fmla="*/ 91 w 176"/>
                <a:gd name="T1" fmla="*/ 70 h 70"/>
                <a:gd name="T2" fmla="*/ 84 w 176"/>
                <a:gd name="T3" fmla="*/ 70 h 70"/>
                <a:gd name="T4" fmla="*/ 66 w 176"/>
                <a:gd name="T5" fmla="*/ 66 h 70"/>
                <a:gd name="T6" fmla="*/ 50 w 176"/>
                <a:gd name="T7" fmla="*/ 59 h 70"/>
                <a:gd name="T8" fmla="*/ 36 w 176"/>
                <a:gd name="T9" fmla="*/ 48 h 70"/>
                <a:gd name="T10" fmla="*/ 14 w 176"/>
                <a:gd name="T11" fmla="*/ 26 h 70"/>
                <a:gd name="T12" fmla="*/ 0 w 176"/>
                <a:gd name="T13" fmla="*/ 6 h 70"/>
                <a:gd name="T14" fmla="*/ 0 w 176"/>
                <a:gd name="T15" fmla="*/ 4 h 70"/>
                <a:gd name="T16" fmla="*/ 1 w 176"/>
                <a:gd name="T17" fmla="*/ 2 h 70"/>
                <a:gd name="T18" fmla="*/ 2 w 176"/>
                <a:gd name="T19" fmla="*/ 0 h 70"/>
                <a:gd name="T20" fmla="*/ 5 w 176"/>
                <a:gd name="T21" fmla="*/ 0 h 70"/>
                <a:gd name="T22" fmla="*/ 8 w 176"/>
                <a:gd name="T23" fmla="*/ 2 h 70"/>
                <a:gd name="T24" fmla="*/ 13 w 176"/>
                <a:gd name="T25" fmla="*/ 11 h 70"/>
                <a:gd name="T26" fmla="*/ 29 w 176"/>
                <a:gd name="T27" fmla="*/ 31 h 70"/>
                <a:gd name="T28" fmla="*/ 47 w 176"/>
                <a:gd name="T29" fmla="*/ 47 h 70"/>
                <a:gd name="T30" fmla="*/ 61 w 176"/>
                <a:gd name="T31" fmla="*/ 55 h 70"/>
                <a:gd name="T32" fmla="*/ 77 w 176"/>
                <a:gd name="T33" fmla="*/ 61 h 70"/>
                <a:gd name="T34" fmla="*/ 85 w 176"/>
                <a:gd name="T35" fmla="*/ 62 h 70"/>
                <a:gd name="T36" fmla="*/ 106 w 176"/>
                <a:gd name="T37" fmla="*/ 60 h 70"/>
                <a:gd name="T38" fmla="*/ 127 w 176"/>
                <a:gd name="T39" fmla="*/ 52 h 70"/>
                <a:gd name="T40" fmla="*/ 148 w 176"/>
                <a:gd name="T41" fmla="*/ 36 h 70"/>
                <a:gd name="T42" fmla="*/ 169 w 176"/>
                <a:gd name="T43" fmla="*/ 14 h 70"/>
                <a:gd name="T44" fmla="*/ 170 w 176"/>
                <a:gd name="T45" fmla="*/ 12 h 70"/>
                <a:gd name="T46" fmla="*/ 173 w 176"/>
                <a:gd name="T47" fmla="*/ 12 h 70"/>
                <a:gd name="T48" fmla="*/ 175 w 176"/>
                <a:gd name="T49" fmla="*/ 13 h 70"/>
                <a:gd name="T50" fmla="*/ 176 w 176"/>
                <a:gd name="T51" fmla="*/ 16 h 70"/>
                <a:gd name="T52" fmla="*/ 175 w 176"/>
                <a:gd name="T53" fmla="*/ 19 h 70"/>
                <a:gd name="T54" fmla="*/ 165 w 176"/>
                <a:gd name="T55" fmla="*/ 31 h 70"/>
                <a:gd name="T56" fmla="*/ 144 w 176"/>
                <a:gd name="T57" fmla="*/ 50 h 70"/>
                <a:gd name="T58" fmla="*/ 123 w 176"/>
                <a:gd name="T59" fmla="*/ 63 h 70"/>
                <a:gd name="T60" fmla="*/ 101 w 176"/>
                <a:gd name="T61" fmla="*/ 70 h 70"/>
                <a:gd name="T62" fmla="*/ 91 w 176"/>
                <a:gd name="T6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70">
                  <a:moveTo>
                    <a:pt x="91" y="70"/>
                  </a:moveTo>
                  <a:lnTo>
                    <a:pt x="91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75" y="69"/>
                  </a:lnTo>
                  <a:lnTo>
                    <a:pt x="66" y="66"/>
                  </a:lnTo>
                  <a:lnTo>
                    <a:pt x="58" y="63"/>
                  </a:lnTo>
                  <a:lnTo>
                    <a:pt x="50" y="59"/>
                  </a:lnTo>
                  <a:lnTo>
                    <a:pt x="43" y="54"/>
                  </a:lnTo>
                  <a:lnTo>
                    <a:pt x="36" y="48"/>
                  </a:lnTo>
                  <a:lnTo>
                    <a:pt x="24" y="37"/>
                  </a:lnTo>
                  <a:lnTo>
                    <a:pt x="14" y="26"/>
                  </a:lnTo>
                  <a:lnTo>
                    <a:pt x="7" y="1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6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13" y="11"/>
                  </a:lnTo>
                  <a:lnTo>
                    <a:pt x="20" y="20"/>
                  </a:lnTo>
                  <a:lnTo>
                    <a:pt x="29" y="31"/>
                  </a:lnTo>
                  <a:lnTo>
                    <a:pt x="40" y="42"/>
                  </a:lnTo>
                  <a:lnTo>
                    <a:pt x="47" y="47"/>
                  </a:lnTo>
                  <a:lnTo>
                    <a:pt x="53" y="51"/>
                  </a:lnTo>
                  <a:lnTo>
                    <a:pt x="61" y="55"/>
                  </a:lnTo>
                  <a:lnTo>
                    <a:pt x="68" y="58"/>
                  </a:lnTo>
                  <a:lnTo>
                    <a:pt x="77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96" y="62"/>
                  </a:lnTo>
                  <a:lnTo>
                    <a:pt x="106" y="60"/>
                  </a:lnTo>
                  <a:lnTo>
                    <a:pt x="116" y="57"/>
                  </a:lnTo>
                  <a:lnTo>
                    <a:pt x="127" y="52"/>
                  </a:lnTo>
                  <a:lnTo>
                    <a:pt x="137" y="45"/>
                  </a:lnTo>
                  <a:lnTo>
                    <a:pt x="148" y="36"/>
                  </a:lnTo>
                  <a:lnTo>
                    <a:pt x="158" y="26"/>
                  </a:lnTo>
                  <a:lnTo>
                    <a:pt x="169" y="14"/>
                  </a:lnTo>
                  <a:lnTo>
                    <a:pt x="169" y="14"/>
                  </a:lnTo>
                  <a:lnTo>
                    <a:pt x="170" y="12"/>
                  </a:lnTo>
                  <a:lnTo>
                    <a:pt x="172" y="12"/>
                  </a:lnTo>
                  <a:lnTo>
                    <a:pt x="173" y="12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6" y="14"/>
                  </a:lnTo>
                  <a:lnTo>
                    <a:pt x="176" y="16"/>
                  </a:lnTo>
                  <a:lnTo>
                    <a:pt x="176" y="17"/>
                  </a:lnTo>
                  <a:lnTo>
                    <a:pt x="175" y="19"/>
                  </a:lnTo>
                  <a:lnTo>
                    <a:pt x="175" y="19"/>
                  </a:lnTo>
                  <a:lnTo>
                    <a:pt x="165" y="31"/>
                  </a:lnTo>
                  <a:lnTo>
                    <a:pt x="154" y="41"/>
                  </a:lnTo>
                  <a:lnTo>
                    <a:pt x="144" y="50"/>
                  </a:lnTo>
                  <a:lnTo>
                    <a:pt x="133" y="57"/>
                  </a:lnTo>
                  <a:lnTo>
                    <a:pt x="123" y="63"/>
                  </a:lnTo>
                  <a:lnTo>
                    <a:pt x="112" y="67"/>
                  </a:lnTo>
                  <a:lnTo>
                    <a:pt x="101" y="70"/>
                  </a:lnTo>
                  <a:lnTo>
                    <a:pt x="91" y="70"/>
                  </a:lnTo>
                  <a:lnTo>
                    <a:pt x="91" y="7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3" name="Freeform 134">
              <a:extLst>
                <a:ext uri="{FF2B5EF4-FFF2-40B4-BE49-F238E27FC236}">
                  <a16:creationId xmlns:a16="http://schemas.microsoft.com/office/drawing/2014/main" id="{5851BFBF-B55D-4206-B116-A51D81F333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" y="1015"/>
              <a:ext cx="1510" cy="582"/>
            </a:xfrm>
            <a:custGeom>
              <a:avLst/>
              <a:gdLst>
                <a:gd name="T0" fmla="*/ 1501 w 1510"/>
                <a:gd name="T1" fmla="*/ 561 h 582"/>
                <a:gd name="T2" fmla="*/ 1474 w 1510"/>
                <a:gd name="T3" fmla="*/ 530 h 582"/>
                <a:gd name="T4" fmla="*/ 1471 w 1510"/>
                <a:gd name="T5" fmla="*/ 509 h 582"/>
                <a:gd name="T6" fmla="*/ 1442 w 1510"/>
                <a:gd name="T7" fmla="*/ 480 h 582"/>
                <a:gd name="T8" fmla="*/ 1449 w 1510"/>
                <a:gd name="T9" fmla="*/ 475 h 582"/>
                <a:gd name="T10" fmla="*/ 1393 w 1510"/>
                <a:gd name="T11" fmla="*/ 417 h 582"/>
                <a:gd name="T12" fmla="*/ 1406 w 1510"/>
                <a:gd name="T13" fmla="*/ 432 h 582"/>
                <a:gd name="T14" fmla="*/ 1358 w 1510"/>
                <a:gd name="T15" fmla="*/ 368 h 582"/>
                <a:gd name="T16" fmla="*/ 1324 w 1510"/>
                <a:gd name="T17" fmla="*/ 346 h 582"/>
                <a:gd name="T18" fmla="*/ 1314 w 1510"/>
                <a:gd name="T19" fmla="*/ 327 h 582"/>
                <a:gd name="T20" fmla="*/ 1278 w 1510"/>
                <a:gd name="T21" fmla="*/ 308 h 582"/>
                <a:gd name="T22" fmla="*/ 1283 w 1510"/>
                <a:gd name="T23" fmla="*/ 302 h 582"/>
                <a:gd name="T24" fmla="*/ 1214 w 1510"/>
                <a:gd name="T25" fmla="*/ 261 h 582"/>
                <a:gd name="T26" fmla="*/ 1230 w 1510"/>
                <a:gd name="T27" fmla="*/ 272 h 582"/>
                <a:gd name="T28" fmla="*/ 1167 w 1510"/>
                <a:gd name="T29" fmla="*/ 222 h 582"/>
                <a:gd name="T30" fmla="*/ 1128 w 1510"/>
                <a:gd name="T31" fmla="*/ 210 h 582"/>
                <a:gd name="T32" fmla="*/ 1114 w 1510"/>
                <a:gd name="T33" fmla="*/ 193 h 582"/>
                <a:gd name="T34" fmla="*/ 1075 w 1510"/>
                <a:gd name="T35" fmla="*/ 182 h 582"/>
                <a:gd name="T36" fmla="*/ 1078 w 1510"/>
                <a:gd name="T37" fmla="*/ 175 h 582"/>
                <a:gd name="T38" fmla="*/ 1002 w 1510"/>
                <a:gd name="T39" fmla="*/ 150 h 582"/>
                <a:gd name="T40" fmla="*/ 1020 w 1510"/>
                <a:gd name="T41" fmla="*/ 158 h 582"/>
                <a:gd name="T42" fmla="*/ 949 w 1510"/>
                <a:gd name="T43" fmla="*/ 121 h 582"/>
                <a:gd name="T44" fmla="*/ 908 w 1510"/>
                <a:gd name="T45" fmla="*/ 116 h 582"/>
                <a:gd name="T46" fmla="*/ 892 w 1510"/>
                <a:gd name="T47" fmla="*/ 102 h 582"/>
                <a:gd name="T48" fmla="*/ 851 w 1510"/>
                <a:gd name="T49" fmla="*/ 98 h 582"/>
                <a:gd name="T50" fmla="*/ 853 w 1510"/>
                <a:gd name="T51" fmla="*/ 90 h 582"/>
                <a:gd name="T52" fmla="*/ 774 w 1510"/>
                <a:gd name="T53" fmla="*/ 77 h 582"/>
                <a:gd name="T54" fmla="*/ 793 w 1510"/>
                <a:gd name="T55" fmla="*/ 82 h 582"/>
                <a:gd name="T56" fmla="*/ 717 w 1510"/>
                <a:gd name="T57" fmla="*/ 55 h 582"/>
                <a:gd name="T58" fmla="*/ 677 w 1510"/>
                <a:gd name="T59" fmla="*/ 55 h 582"/>
                <a:gd name="T60" fmla="*/ 659 w 1510"/>
                <a:gd name="T61" fmla="*/ 43 h 582"/>
                <a:gd name="T62" fmla="*/ 618 w 1510"/>
                <a:gd name="T63" fmla="*/ 44 h 582"/>
                <a:gd name="T64" fmla="*/ 619 w 1510"/>
                <a:gd name="T65" fmla="*/ 36 h 582"/>
                <a:gd name="T66" fmla="*/ 539 w 1510"/>
                <a:gd name="T67" fmla="*/ 32 h 582"/>
                <a:gd name="T68" fmla="*/ 558 w 1510"/>
                <a:gd name="T69" fmla="*/ 35 h 582"/>
                <a:gd name="T70" fmla="*/ 480 w 1510"/>
                <a:gd name="T71" fmla="*/ 17 h 582"/>
                <a:gd name="T72" fmla="*/ 439 w 1510"/>
                <a:gd name="T73" fmla="*/ 21 h 582"/>
                <a:gd name="T74" fmla="*/ 420 w 1510"/>
                <a:gd name="T75" fmla="*/ 11 h 582"/>
                <a:gd name="T76" fmla="*/ 380 w 1510"/>
                <a:gd name="T77" fmla="*/ 16 h 582"/>
                <a:gd name="T78" fmla="*/ 380 w 1510"/>
                <a:gd name="T79" fmla="*/ 8 h 582"/>
                <a:gd name="T80" fmla="*/ 0 w 1510"/>
                <a:gd name="T81" fmla="*/ 5 h 582"/>
                <a:gd name="T82" fmla="*/ 0 w 1510"/>
                <a:gd name="T83" fmla="*/ 13 h 582"/>
                <a:gd name="T84" fmla="*/ 300 w 1510"/>
                <a:gd name="T85" fmla="*/ 11 h 582"/>
                <a:gd name="T86" fmla="*/ 320 w 1510"/>
                <a:gd name="T87" fmla="*/ 12 h 582"/>
                <a:gd name="T88" fmla="*/ 80 w 1510"/>
                <a:gd name="T89" fmla="*/ 1 h 582"/>
                <a:gd name="T90" fmla="*/ 60 w 1510"/>
                <a:gd name="T91" fmla="*/ 10 h 582"/>
                <a:gd name="T92" fmla="*/ 240 w 1510"/>
                <a:gd name="T93" fmla="*/ 0 h 582"/>
                <a:gd name="T94" fmla="*/ 120 w 1510"/>
                <a:gd name="T95" fmla="*/ 8 h 582"/>
                <a:gd name="T96" fmla="*/ 140 w 1510"/>
                <a:gd name="T97" fmla="*/ 8 h 582"/>
                <a:gd name="T98" fmla="*/ 200 w 1510"/>
                <a:gd name="T99" fmla="*/ 8 h 582"/>
                <a:gd name="T100" fmla="*/ 180 w 1510"/>
                <a:gd name="T101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582">
                  <a:moveTo>
                    <a:pt x="1503" y="582"/>
                  </a:moveTo>
                  <a:lnTo>
                    <a:pt x="1503" y="582"/>
                  </a:lnTo>
                  <a:lnTo>
                    <a:pt x="1494" y="565"/>
                  </a:lnTo>
                  <a:lnTo>
                    <a:pt x="1501" y="561"/>
                  </a:lnTo>
                  <a:lnTo>
                    <a:pt x="1501" y="561"/>
                  </a:lnTo>
                  <a:lnTo>
                    <a:pt x="1510" y="579"/>
                  </a:lnTo>
                  <a:lnTo>
                    <a:pt x="1503" y="582"/>
                  </a:lnTo>
                  <a:close/>
                  <a:moveTo>
                    <a:pt x="1474" y="530"/>
                  </a:moveTo>
                  <a:lnTo>
                    <a:pt x="1474" y="530"/>
                  </a:lnTo>
                  <a:lnTo>
                    <a:pt x="1464" y="513"/>
                  </a:lnTo>
                  <a:lnTo>
                    <a:pt x="1471" y="509"/>
                  </a:lnTo>
                  <a:lnTo>
                    <a:pt x="1471" y="509"/>
                  </a:lnTo>
                  <a:lnTo>
                    <a:pt x="1481" y="526"/>
                  </a:lnTo>
                  <a:lnTo>
                    <a:pt x="1474" y="530"/>
                  </a:lnTo>
                  <a:close/>
                  <a:moveTo>
                    <a:pt x="1442" y="480"/>
                  </a:moveTo>
                  <a:lnTo>
                    <a:pt x="1442" y="480"/>
                  </a:lnTo>
                  <a:lnTo>
                    <a:pt x="1430" y="464"/>
                  </a:lnTo>
                  <a:lnTo>
                    <a:pt x="1437" y="459"/>
                  </a:lnTo>
                  <a:lnTo>
                    <a:pt x="1437" y="459"/>
                  </a:lnTo>
                  <a:lnTo>
                    <a:pt x="1449" y="475"/>
                  </a:lnTo>
                  <a:lnTo>
                    <a:pt x="1442" y="480"/>
                  </a:lnTo>
                  <a:close/>
                  <a:moveTo>
                    <a:pt x="1406" y="432"/>
                  </a:moveTo>
                  <a:lnTo>
                    <a:pt x="1406" y="432"/>
                  </a:lnTo>
                  <a:lnTo>
                    <a:pt x="1393" y="417"/>
                  </a:lnTo>
                  <a:lnTo>
                    <a:pt x="1399" y="412"/>
                  </a:lnTo>
                  <a:lnTo>
                    <a:pt x="1399" y="412"/>
                  </a:lnTo>
                  <a:lnTo>
                    <a:pt x="1412" y="427"/>
                  </a:lnTo>
                  <a:lnTo>
                    <a:pt x="1406" y="432"/>
                  </a:lnTo>
                  <a:close/>
                  <a:moveTo>
                    <a:pt x="1366" y="388"/>
                  </a:moveTo>
                  <a:lnTo>
                    <a:pt x="1366" y="388"/>
                  </a:lnTo>
                  <a:lnTo>
                    <a:pt x="1352" y="374"/>
                  </a:lnTo>
                  <a:lnTo>
                    <a:pt x="1358" y="368"/>
                  </a:lnTo>
                  <a:lnTo>
                    <a:pt x="1358" y="368"/>
                  </a:lnTo>
                  <a:lnTo>
                    <a:pt x="1372" y="382"/>
                  </a:lnTo>
                  <a:lnTo>
                    <a:pt x="1366" y="388"/>
                  </a:lnTo>
                  <a:close/>
                  <a:moveTo>
                    <a:pt x="1324" y="346"/>
                  </a:moveTo>
                  <a:lnTo>
                    <a:pt x="1324" y="346"/>
                  </a:lnTo>
                  <a:lnTo>
                    <a:pt x="1309" y="333"/>
                  </a:lnTo>
                  <a:lnTo>
                    <a:pt x="1314" y="327"/>
                  </a:lnTo>
                  <a:lnTo>
                    <a:pt x="1314" y="327"/>
                  </a:lnTo>
                  <a:lnTo>
                    <a:pt x="1329" y="340"/>
                  </a:lnTo>
                  <a:lnTo>
                    <a:pt x="1324" y="346"/>
                  </a:lnTo>
                  <a:close/>
                  <a:moveTo>
                    <a:pt x="1278" y="308"/>
                  </a:moveTo>
                  <a:lnTo>
                    <a:pt x="1278" y="308"/>
                  </a:lnTo>
                  <a:lnTo>
                    <a:pt x="1262" y="296"/>
                  </a:lnTo>
                  <a:lnTo>
                    <a:pt x="1267" y="289"/>
                  </a:lnTo>
                  <a:lnTo>
                    <a:pt x="1267" y="289"/>
                  </a:lnTo>
                  <a:lnTo>
                    <a:pt x="1283" y="302"/>
                  </a:lnTo>
                  <a:lnTo>
                    <a:pt x="1278" y="308"/>
                  </a:lnTo>
                  <a:close/>
                  <a:moveTo>
                    <a:pt x="1230" y="272"/>
                  </a:moveTo>
                  <a:lnTo>
                    <a:pt x="1230" y="272"/>
                  </a:lnTo>
                  <a:lnTo>
                    <a:pt x="1214" y="261"/>
                  </a:lnTo>
                  <a:lnTo>
                    <a:pt x="1218" y="254"/>
                  </a:lnTo>
                  <a:lnTo>
                    <a:pt x="1218" y="254"/>
                  </a:lnTo>
                  <a:lnTo>
                    <a:pt x="1235" y="266"/>
                  </a:lnTo>
                  <a:lnTo>
                    <a:pt x="1230" y="272"/>
                  </a:lnTo>
                  <a:close/>
                  <a:moveTo>
                    <a:pt x="1180" y="240"/>
                  </a:moveTo>
                  <a:lnTo>
                    <a:pt x="1180" y="240"/>
                  </a:lnTo>
                  <a:lnTo>
                    <a:pt x="1163" y="229"/>
                  </a:lnTo>
                  <a:lnTo>
                    <a:pt x="1167" y="222"/>
                  </a:lnTo>
                  <a:lnTo>
                    <a:pt x="1167" y="222"/>
                  </a:lnTo>
                  <a:lnTo>
                    <a:pt x="1184" y="233"/>
                  </a:lnTo>
                  <a:lnTo>
                    <a:pt x="1180" y="240"/>
                  </a:lnTo>
                  <a:close/>
                  <a:moveTo>
                    <a:pt x="1128" y="210"/>
                  </a:moveTo>
                  <a:lnTo>
                    <a:pt x="1128" y="210"/>
                  </a:lnTo>
                  <a:lnTo>
                    <a:pt x="1110" y="200"/>
                  </a:lnTo>
                  <a:lnTo>
                    <a:pt x="1114" y="193"/>
                  </a:lnTo>
                  <a:lnTo>
                    <a:pt x="1114" y="193"/>
                  </a:lnTo>
                  <a:lnTo>
                    <a:pt x="1132" y="203"/>
                  </a:lnTo>
                  <a:lnTo>
                    <a:pt x="1128" y="210"/>
                  </a:lnTo>
                  <a:close/>
                  <a:moveTo>
                    <a:pt x="1075" y="182"/>
                  </a:moveTo>
                  <a:lnTo>
                    <a:pt x="1075" y="182"/>
                  </a:lnTo>
                  <a:lnTo>
                    <a:pt x="1057" y="174"/>
                  </a:lnTo>
                  <a:lnTo>
                    <a:pt x="1060" y="167"/>
                  </a:lnTo>
                  <a:lnTo>
                    <a:pt x="1060" y="167"/>
                  </a:lnTo>
                  <a:lnTo>
                    <a:pt x="1078" y="175"/>
                  </a:lnTo>
                  <a:lnTo>
                    <a:pt x="1075" y="182"/>
                  </a:lnTo>
                  <a:close/>
                  <a:moveTo>
                    <a:pt x="1020" y="158"/>
                  </a:moveTo>
                  <a:lnTo>
                    <a:pt x="1020" y="158"/>
                  </a:lnTo>
                  <a:lnTo>
                    <a:pt x="1002" y="150"/>
                  </a:lnTo>
                  <a:lnTo>
                    <a:pt x="1005" y="143"/>
                  </a:lnTo>
                  <a:lnTo>
                    <a:pt x="1005" y="143"/>
                  </a:lnTo>
                  <a:lnTo>
                    <a:pt x="1023" y="150"/>
                  </a:lnTo>
                  <a:lnTo>
                    <a:pt x="1020" y="158"/>
                  </a:lnTo>
                  <a:close/>
                  <a:moveTo>
                    <a:pt x="965" y="136"/>
                  </a:moveTo>
                  <a:lnTo>
                    <a:pt x="965" y="136"/>
                  </a:lnTo>
                  <a:lnTo>
                    <a:pt x="946" y="129"/>
                  </a:lnTo>
                  <a:lnTo>
                    <a:pt x="949" y="121"/>
                  </a:lnTo>
                  <a:lnTo>
                    <a:pt x="949" y="121"/>
                  </a:lnTo>
                  <a:lnTo>
                    <a:pt x="967" y="128"/>
                  </a:lnTo>
                  <a:lnTo>
                    <a:pt x="965" y="136"/>
                  </a:lnTo>
                  <a:close/>
                  <a:moveTo>
                    <a:pt x="908" y="116"/>
                  </a:moveTo>
                  <a:lnTo>
                    <a:pt x="908" y="116"/>
                  </a:lnTo>
                  <a:lnTo>
                    <a:pt x="889" y="109"/>
                  </a:lnTo>
                  <a:lnTo>
                    <a:pt x="892" y="102"/>
                  </a:lnTo>
                  <a:lnTo>
                    <a:pt x="892" y="102"/>
                  </a:lnTo>
                  <a:lnTo>
                    <a:pt x="911" y="108"/>
                  </a:lnTo>
                  <a:lnTo>
                    <a:pt x="908" y="116"/>
                  </a:lnTo>
                  <a:close/>
                  <a:moveTo>
                    <a:pt x="851" y="98"/>
                  </a:moveTo>
                  <a:lnTo>
                    <a:pt x="851" y="98"/>
                  </a:lnTo>
                  <a:lnTo>
                    <a:pt x="832" y="92"/>
                  </a:lnTo>
                  <a:lnTo>
                    <a:pt x="834" y="84"/>
                  </a:lnTo>
                  <a:lnTo>
                    <a:pt x="834" y="84"/>
                  </a:lnTo>
                  <a:lnTo>
                    <a:pt x="853" y="90"/>
                  </a:lnTo>
                  <a:lnTo>
                    <a:pt x="851" y="98"/>
                  </a:lnTo>
                  <a:close/>
                  <a:moveTo>
                    <a:pt x="793" y="82"/>
                  </a:moveTo>
                  <a:lnTo>
                    <a:pt x="793" y="82"/>
                  </a:lnTo>
                  <a:lnTo>
                    <a:pt x="774" y="77"/>
                  </a:lnTo>
                  <a:lnTo>
                    <a:pt x="776" y="69"/>
                  </a:lnTo>
                  <a:lnTo>
                    <a:pt x="776" y="69"/>
                  </a:lnTo>
                  <a:lnTo>
                    <a:pt x="795" y="74"/>
                  </a:lnTo>
                  <a:lnTo>
                    <a:pt x="793" y="82"/>
                  </a:lnTo>
                  <a:close/>
                  <a:moveTo>
                    <a:pt x="735" y="68"/>
                  </a:moveTo>
                  <a:lnTo>
                    <a:pt x="735" y="68"/>
                  </a:lnTo>
                  <a:lnTo>
                    <a:pt x="716" y="63"/>
                  </a:lnTo>
                  <a:lnTo>
                    <a:pt x="717" y="55"/>
                  </a:lnTo>
                  <a:lnTo>
                    <a:pt x="717" y="55"/>
                  </a:lnTo>
                  <a:lnTo>
                    <a:pt x="737" y="60"/>
                  </a:lnTo>
                  <a:lnTo>
                    <a:pt x="735" y="68"/>
                  </a:lnTo>
                  <a:close/>
                  <a:moveTo>
                    <a:pt x="677" y="55"/>
                  </a:moveTo>
                  <a:lnTo>
                    <a:pt x="677" y="55"/>
                  </a:lnTo>
                  <a:lnTo>
                    <a:pt x="657" y="51"/>
                  </a:lnTo>
                  <a:lnTo>
                    <a:pt x="659" y="43"/>
                  </a:lnTo>
                  <a:lnTo>
                    <a:pt x="659" y="43"/>
                  </a:lnTo>
                  <a:lnTo>
                    <a:pt x="678" y="47"/>
                  </a:lnTo>
                  <a:lnTo>
                    <a:pt x="677" y="55"/>
                  </a:lnTo>
                  <a:close/>
                  <a:moveTo>
                    <a:pt x="618" y="44"/>
                  </a:moveTo>
                  <a:lnTo>
                    <a:pt x="618" y="44"/>
                  </a:lnTo>
                  <a:lnTo>
                    <a:pt x="598" y="41"/>
                  </a:lnTo>
                  <a:lnTo>
                    <a:pt x="599" y="33"/>
                  </a:lnTo>
                  <a:lnTo>
                    <a:pt x="599" y="33"/>
                  </a:lnTo>
                  <a:lnTo>
                    <a:pt x="619" y="36"/>
                  </a:lnTo>
                  <a:lnTo>
                    <a:pt x="618" y="44"/>
                  </a:lnTo>
                  <a:close/>
                  <a:moveTo>
                    <a:pt x="558" y="35"/>
                  </a:moveTo>
                  <a:lnTo>
                    <a:pt x="558" y="35"/>
                  </a:lnTo>
                  <a:lnTo>
                    <a:pt x="539" y="32"/>
                  </a:lnTo>
                  <a:lnTo>
                    <a:pt x="540" y="24"/>
                  </a:lnTo>
                  <a:lnTo>
                    <a:pt x="540" y="24"/>
                  </a:lnTo>
                  <a:lnTo>
                    <a:pt x="560" y="27"/>
                  </a:lnTo>
                  <a:lnTo>
                    <a:pt x="558" y="35"/>
                  </a:lnTo>
                  <a:close/>
                  <a:moveTo>
                    <a:pt x="499" y="27"/>
                  </a:moveTo>
                  <a:lnTo>
                    <a:pt x="499" y="27"/>
                  </a:lnTo>
                  <a:lnTo>
                    <a:pt x="479" y="25"/>
                  </a:lnTo>
                  <a:lnTo>
                    <a:pt x="480" y="17"/>
                  </a:lnTo>
                  <a:lnTo>
                    <a:pt x="480" y="17"/>
                  </a:lnTo>
                  <a:lnTo>
                    <a:pt x="500" y="19"/>
                  </a:lnTo>
                  <a:lnTo>
                    <a:pt x="499" y="27"/>
                  </a:lnTo>
                  <a:close/>
                  <a:moveTo>
                    <a:pt x="439" y="21"/>
                  </a:moveTo>
                  <a:lnTo>
                    <a:pt x="439" y="21"/>
                  </a:lnTo>
                  <a:lnTo>
                    <a:pt x="420" y="19"/>
                  </a:lnTo>
                  <a:lnTo>
                    <a:pt x="420" y="11"/>
                  </a:lnTo>
                  <a:lnTo>
                    <a:pt x="420" y="11"/>
                  </a:lnTo>
                  <a:lnTo>
                    <a:pt x="440" y="13"/>
                  </a:lnTo>
                  <a:lnTo>
                    <a:pt x="439" y="21"/>
                  </a:lnTo>
                  <a:close/>
                  <a:moveTo>
                    <a:pt x="380" y="16"/>
                  </a:moveTo>
                  <a:lnTo>
                    <a:pt x="380" y="16"/>
                  </a:lnTo>
                  <a:lnTo>
                    <a:pt x="360" y="14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80" y="8"/>
                  </a:lnTo>
                  <a:lnTo>
                    <a:pt x="380" y="16"/>
                  </a:lnTo>
                  <a:close/>
                  <a:moveTo>
                    <a:pt x="0" y="13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20" y="4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320" y="12"/>
                  </a:moveTo>
                  <a:lnTo>
                    <a:pt x="320" y="12"/>
                  </a:lnTo>
                  <a:lnTo>
                    <a:pt x="300" y="11"/>
                  </a:lnTo>
                  <a:lnTo>
                    <a:pt x="300" y="3"/>
                  </a:lnTo>
                  <a:lnTo>
                    <a:pt x="300" y="3"/>
                  </a:lnTo>
                  <a:lnTo>
                    <a:pt x="320" y="4"/>
                  </a:lnTo>
                  <a:lnTo>
                    <a:pt x="320" y="12"/>
                  </a:lnTo>
                  <a:close/>
                  <a:moveTo>
                    <a:pt x="60" y="10"/>
                  </a:moveTo>
                  <a:lnTo>
                    <a:pt x="60" y="2"/>
                  </a:lnTo>
                  <a:lnTo>
                    <a:pt x="60" y="2"/>
                  </a:lnTo>
                  <a:lnTo>
                    <a:pt x="80" y="1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60" y="10"/>
                  </a:lnTo>
                  <a:lnTo>
                    <a:pt x="60" y="10"/>
                  </a:lnTo>
                  <a:close/>
                  <a:moveTo>
                    <a:pt x="260" y="9"/>
                  </a:moveTo>
                  <a:lnTo>
                    <a:pt x="260" y="9"/>
                  </a:lnTo>
                  <a:lnTo>
                    <a:pt x="240" y="8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60" y="1"/>
                  </a:lnTo>
                  <a:lnTo>
                    <a:pt x="260" y="9"/>
                  </a:lnTo>
                  <a:close/>
                  <a:moveTo>
                    <a:pt x="120" y="8"/>
                  </a:moveTo>
                  <a:lnTo>
                    <a:pt x="120" y="0"/>
                  </a:lnTo>
                  <a:lnTo>
                    <a:pt x="120" y="0"/>
                  </a:lnTo>
                  <a:lnTo>
                    <a:pt x="140" y="0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20" y="8"/>
                  </a:lnTo>
                  <a:lnTo>
                    <a:pt x="120" y="8"/>
                  </a:lnTo>
                  <a:close/>
                  <a:moveTo>
                    <a:pt x="200" y="8"/>
                  </a:moveTo>
                  <a:lnTo>
                    <a:pt x="200" y="8"/>
                  </a:lnTo>
                  <a:lnTo>
                    <a:pt x="180" y="8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200" y="0"/>
                  </a:lnTo>
                  <a:lnTo>
                    <a:pt x="200" y="8"/>
                  </a:lnTo>
                  <a:close/>
                </a:path>
              </a:pathLst>
            </a:custGeom>
            <a:solidFill>
              <a:srgbClr val="462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4" name="Freeform 135">
              <a:extLst>
                <a:ext uri="{FF2B5EF4-FFF2-40B4-BE49-F238E27FC236}">
                  <a16:creationId xmlns:a16="http://schemas.microsoft.com/office/drawing/2014/main" id="{E1A19C87-1BC5-4931-9FC8-E672579C9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984"/>
              <a:ext cx="64" cy="64"/>
            </a:xfrm>
            <a:custGeom>
              <a:avLst/>
              <a:gdLst>
                <a:gd name="T0" fmla="*/ 64 w 64"/>
                <a:gd name="T1" fmla="*/ 32 h 64"/>
                <a:gd name="T2" fmla="*/ 64 w 64"/>
                <a:gd name="T3" fmla="*/ 32 h 64"/>
                <a:gd name="T4" fmla="*/ 63 w 64"/>
                <a:gd name="T5" fmla="*/ 38 h 64"/>
                <a:gd name="T6" fmla="*/ 61 w 64"/>
                <a:gd name="T7" fmla="*/ 44 h 64"/>
                <a:gd name="T8" fmla="*/ 59 w 64"/>
                <a:gd name="T9" fmla="*/ 50 h 64"/>
                <a:gd name="T10" fmla="*/ 55 w 64"/>
                <a:gd name="T11" fmla="*/ 55 h 64"/>
                <a:gd name="T12" fmla="*/ 50 w 64"/>
                <a:gd name="T13" fmla="*/ 59 h 64"/>
                <a:gd name="T14" fmla="*/ 44 w 64"/>
                <a:gd name="T15" fmla="*/ 61 h 64"/>
                <a:gd name="T16" fmla="*/ 38 w 64"/>
                <a:gd name="T17" fmla="*/ 63 h 64"/>
                <a:gd name="T18" fmla="*/ 32 w 64"/>
                <a:gd name="T19" fmla="*/ 64 h 64"/>
                <a:gd name="T20" fmla="*/ 32 w 64"/>
                <a:gd name="T21" fmla="*/ 64 h 64"/>
                <a:gd name="T22" fmla="*/ 26 w 64"/>
                <a:gd name="T23" fmla="*/ 63 h 64"/>
                <a:gd name="T24" fmla="*/ 20 w 64"/>
                <a:gd name="T25" fmla="*/ 61 h 64"/>
                <a:gd name="T26" fmla="*/ 14 w 64"/>
                <a:gd name="T27" fmla="*/ 59 h 64"/>
                <a:gd name="T28" fmla="*/ 9 w 64"/>
                <a:gd name="T29" fmla="*/ 55 h 64"/>
                <a:gd name="T30" fmla="*/ 5 w 64"/>
                <a:gd name="T31" fmla="*/ 50 h 64"/>
                <a:gd name="T32" fmla="*/ 3 w 64"/>
                <a:gd name="T33" fmla="*/ 44 h 64"/>
                <a:gd name="T34" fmla="*/ 1 w 64"/>
                <a:gd name="T35" fmla="*/ 38 h 64"/>
                <a:gd name="T36" fmla="*/ 0 w 64"/>
                <a:gd name="T37" fmla="*/ 32 h 64"/>
                <a:gd name="T38" fmla="*/ 0 w 64"/>
                <a:gd name="T39" fmla="*/ 32 h 64"/>
                <a:gd name="T40" fmla="*/ 1 w 64"/>
                <a:gd name="T41" fmla="*/ 26 h 64"/>
                <a:gd name="T42" fmla="*/ 3 w 64"/>
                <a:gd name="T43" fmla="*/ 20 h 64"/>
                <a:gd name="T44" fmla="*/ 5 w 64"/>
                <a:gd name="T45" fmla="*/ 14 h 64"/>
                <a:gd name="T46" fmla="*/ 9 w 64"/>
                <a:gd name="T47" fmla="*/ 9 h 64"/>
                <a:gd name="T48" fmla="*/ 14 w 64"/>
                <a:gd name="T49" fmla="*/ 5 h 64"/>
                <a:gd name="T50" fmla="*/ 20 w 64"/>
                <a:gd name="T51" fmla="*/ 3 h 64"/>
                <a:gd name="T52" fmla="*/ 26 w 64"/>
                <a:gd name="T53" fmla="*/ 1 h 64"/>
                <a:gd name="T54" fmla="*/ 32 w 64"/>
                <a:gd name="T55" fmla="*/ 0 h 64"/>
                <a:gd name="T56" fmla="*/ 32 w 64"/>
                <a:gd name="T57" fmla="*/ 0 h 64"/>
                <a:gd name="T58" fmla="*/ 38 w 64"/>
                <a:gd name="T59" fmla="*/ 1 h 64"/>
                <a:gd name="T60" fmla="*/ 44 w 64"/>
                <a:gd name="T61" fmla="*/ 3 h 64"/>
                <a:gd name="T62" fmla="*/ 50 w 64"/>
                <a:gd name="T63" fmla="*/ 5 h 64"/>
                <a:gd name="T64" fmla="*/ 55 w 64"/>
                <a:gd name="T65" fmla="*/ 9 h 64"/>
                <a:gd name="T66" fmla="*/ 59 w 64"/>
                <a:gd name="T67" fmla="*/ 14 h 64"/>
                <a:gd name="T68" fmla="*/ 61 w 64"/>
                <a:gd name="T69" fmla="*/ 20 h 64"/>
                <a:gd name="T70" fmla="*/ 63 w 64"/>
                <a:gd name="T71" fmla="*/ 26 h 64"/>
                <a:gd name="T72" fmla="*/ 64 w 64"/>
                <a:gd name="T73" fmla="*/ 32 h 64"/>
                <a:gd name="T74" fmla="*/ 64 w 64"/>
                <a:gd name="T75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lnTo>
                    <a:pt x="64" y="32"/>
                  </a:lnTo>
                  <a:lnTo>
                    <a:pt x="63" y="38"/>
                  </a:lnTo>
                  <a:lnTo>
                    <a:pt x="61" y="44"/>
                  </a:lnTo>
                  <a:lnTo>
                    <a:pt x="59" y="50"/>
                  </a:lnTo>
                  <a:lnTo>
                    <a:pt x="55" y="55"/>
                  </a:lnTo>
                  <a:lnTo>
                    <a:pt x="50" y="59"/>
                  </a:lnTo>
                  <a:lnTo>
                    <a:pt x="44" y="61"/>
                  </a:lnTo>
                  <a:lnTo>
                    <a:pt x="38" y="63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63"/>
                  </a:lnTo>
                  <a:lnTo>
                    <a:pt x="20" y="61"/>
                  </a:lnTo>
                  <a:lnTo>
                    <a:pt x="14" y="59"/>
                  </a:lnTo>
                  <a:lnTo>
                    <a:pt x="9" y="55"/>
                  </a:lnTo>
                  <a:lnTo>
                    <a:pt x="5" y="50"/>
                  </a:lnTo>
                  <a:lnTo>
                    <a:pt x="3" y="44"/>
                  </a:lnTo>
                  <a:lnTo>
                    <a:pt x="1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8" y="1"/>
                  </a:lnTo>
                  <a:lnTo>
                    <a:pt x="44" y="3"/>
                  </a:lnTo>
                  <a:lnTo>
                    <a:pt x="50" y="5"/>
                  </a:lnTo>
                  <a:lnTo>
                    <a:pt x="55" y="9"/>
                  </a:lnTo>
                  <a:lnTo>
                    <a:pt x="59" y="14"/>
                  </a:lnTo>
                  <a:lnTo>
                    <a:pt x="61" y="20"/>
                  </a:lnTo>
                  <a:lnTo>
                    <a:pt x="63" y="26"/>
                  </a:lnTo>
                  <a:lnTo>
                    <a:pt x="64" y="32"/>
                  </a:lnTo>
                  <a:lnTo>
                    <a:pt x="64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5" name="Freeform 136">
              <a:extLst>
                <a:ext uri="{FF2B5EF4-FFF2-40B4-BE49-F238E27FC236}">
                  <a16:creationId xmlns:a16="http://schemas.microsoft.com/office/drawing/2014/main" id="{4F5ACB62-F63C-47E7-8FFC-AE26F012C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0" y="980"/>
              <a:ext cx="72" cy="72"/>
            </a:xfrm>
            <a:custGeom>
              <a:avLst/>
              <a:gdLst>
                <a:gd name="T0" fmla="*/ 36 w 72"/>
                <a:gd name="T1" fmla="*/ 72 h 72"/>
                <a:gd name="T2" fmla="*/ 22 w 72"/>
                <a:gd name="T3" fmla="*/ 69 h 72"/>
                <a:gd name="T4" fmla="*/ 11 w 72"/>
                <a:gd name="T5" fmla="*/ 61 h 72"/>
                <a:gd name="T6" fmla="*/ 3 w 72"/>
                <a:gd name="T7" fmla="*/ 50 h 72"/>
                <a:gd name="T8" fmla="*/ 0 w 72"/>
                <a:gd name="T9" fmla="*/ 36 h 72"/>
                <a:gd name="T10" fmla="*/ 1 w 72"/>
                <a:gd name="T11" fmla="*/ 29 h 72"/>
                <a:gd name="T12" fmla="*/ 6 w 72"/>
                <a:gd name="T13" fmla="*/ 16 h 72"/>
                <a:gd name="T14" fmla="*/ 16 w 72"/>
                <a:gd name="T15" fmla="*/ 6 h 72"/>
                <a:gd name="T16" fmla="*/ 29 w 72"/>
                <a:gd name="T17" fmla="*/ 1 h 72"/>
                <a:gd name="T18" fmla="*/ 36 w 72"/>
                <a:gd name="T19" fmla="*/ 0 h 72"/>
                <a:gd name="T20" fmla="*/ 50 w 72"/>
                <a:gd name="T21" fmla="*/ 3 h 72"/>
                <a:gd name="T22" fmla="*/ 61 w 72"/>
                <a:gd name="T23" fmla="*/ 11 h 72"/>
                <a:gd name="T24" fmla="*/ 69 w 72"/>
                <a:gd name="T25" fmla="*/ 22 h 72"/>
                <a:gd name="T26" fmla="*/ 72 w 72"/>
                <a:gd name="T27" fmla="*/ 36 h 72"/>
                <a:gd name="T28" fmla="*/ 71 w 72"/>
                <a:gd name="T29" fmla="*/ 43 h 72"/>
                <a:gd name="T30" fmla="*/ 66 w 72"/>
                <a:gd name="T31" fmla="*/ 56 h 72"/>
                <a:gd name="T32" fmla="*/ 56 w 72"/>
                <a:gd name="T33" fmla="*/ 66 h 72"/>
                <a:gd name="T34" fmla="*/ 43 w 72"/>
                <a:gd name="T35" fmla="*/ 71 h 72"/>
                <a:gd name="T36" fmla="*/ 36 w 72"/>
                <a:gd name="T37" fmla="*/ 72 h 72"/>
                <a:gd name="T38" fmla="*/ 36 w 72"/>
                <a:gd name="T39" fmla="*/ 8 h 72"/>
                <a:gd name="T40" fmla="*/ 25 w 72"/>
                <a:gd name="T41" fmla="*/ 10 h 72"/>
                <a:gd name="T42" fmla="*/ 16 w 72"/>
                <a:gd name="T43" fmla="*/ 16 h 72"/>
                <a:gd name="T44" fmla="*/ 10 w 72"/>
                <a:gd name="T45" fmla="*/ 25 h 72"/>
                <a:gd name="T46" fmla="*/ 8 w 72"/>
                <a:gd name="T47" fmla="*/ 36 h 72"/>
                <a:gd name="T48" fmla="*/ 9 w 72"/>
                <a:gd name="T49" fmla="*/ 42 h 72"/>
                <a:gd name="T50" fmla="*/ 13 w 72"/>
                <a:gd name="T51" fmla="*/ 52 h 72"/>
                <a:gd name="T52" fmla="*/ 20 w 72"/>
                <a:gd name="T53" fmla="*/ 59 h 72"/>
                <a:gd name="T54" fmla="*/ 30 w 72"/>
                <a:gd name="T55" fmla="*/ 63 h 72"/>
                <a:gd name="T56" fmla="*/ 36 w 72"/>
                <a:gd name="T57" fmla="*/ 64 h 72"/>
                <a:gd name="T58" fmla="*/ 47 w 72"/>
                <a:gd name="T59" fmla="*/ 62 h 72"/>
                <a:gd name="T60" fmla="*/ 56 w 72"/>
                <a:gd name="T61" fmla="*/ 56 h 72"/>
                <a:gd name="T62" fmla="*/ 62 w 72"/>
                <a:gd name="T63" fmla="*/ 47 h 72"/>
                <a:gd name="T64" fmla="*/ 64 w 72"/>
                <a:gd name="T65" fmla="*/ 36 h 72"/>
                <a:gd name="T66" fmla="*/ 63 w 72"/>
                <a:gd name="T67" fmla="*/ 30 h 72"/>
                <a:gd name="T68" fmla="*/ 59 w 72"/>
                <a:gd name="T69" fmla="*/ 20 h 72"/>
                <a:gd name="T70" fmla="*/ 52 w 72"/>
                <a:gd name="T71" fmla="*/ 13 h 72"/>
                <a:gd name="T72" fmla="*/ 42 w 72"/>
                <a:gd name="T73" fmla="*/ 9 h 72"/>
                <a:gd name="T74" fmla="*/ 36 w 72"/>
                <a:gd name="T75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lnTo>
                    <a:pt x="36" y="72"/>
                  </a:lnTo>
                  <a:lnTo>
                    <a:pt x="29" y="71"/>
                  </a:lnTo>
                  <a:lnTo>
                    <a:pt x="22" y="69"/>
                  </a:lnTo>
                  <a:lnTo>
                    <a:pt x="16" y="66"/>
                  </a:lnTo>
                  <a:lnTo>
                    <a:pt x="11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29"/>
                  </a:lnTo>
                  <a:lnTo>
                    <a:pt x="3" y="22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2" y="3"/>
                  </a:lnTo>
                  <a:lnTo>
                    <a:pt x="29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1"/>
                  </a:lnTo>
                  <a:lnTo>
                    <a:pt x="50" y="3"/>
                  </a:lnTo>
                  <a:lnTo>
                    <a:pt x="56" y="6"/>
                  </a:lnTo>
                  <a:lnTo>
                    <a:pt x="61" y="11"/>
                  </a:lnTo>
                  <a:lnTo>
                    <a:pt x="66" y="16"/>
                  </a:lnTo>
                  <a:lnTo>
                    <a:pt x="69" y="22"/>
                  </a:lnTo>
                  <a:lnTo>
                    <a:pt x="71" y="29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43"/>
                  </a:lnTo>
                  <a:lnTo>
                    <a:pt x="69" y="50"/>
                  </a:lnTo>
                  <a:lnTo>
                    <a:pt x="66" y="56"/>
                  </a:lnTo>
                  <a:lnTo>
                    <a:pt x="61" y="61"/>
                  </a:lnTo>
                  <a:lnTo>
                    <a:pt x="56" y="66"/>
                  </a:lnTo>
                  <a:lnTo>
                    <a:pt x="50" y="69"/>
                  </a:lnTo>
                  <a:lnTo>
                    <a:pt x="43" y="71"/>
                  </a:lnTo>
                  <a:lnTo>
                    <a:pt x="36" y="72"/>
                  </a:lnTo>
                  <a:lnTo>
                    <a:pt x="36" y="72"/>
                  </a:lnTo>
                  <a:close/>
                  <a:moveTo>
                    <a:pt x="36" y="8"/>
                  </a:moveTo>
                  <a:lnTo>
                    <a:pt x="36" y="8"/>
                  </a:lnTo>
                  <a:lnTo>
                    <a:pt x="30" y="9"/>
                  </a:lnTo>
                  <a:lnTo>
                    <a:pt x="25" y="10"/>
                  </a:lnTo>
                  <a:lnTo>
                    <a:pt x="20" y="13"/>
                  </a:lnTo>
                  <a:lnTo>
                    <a:pt x="16" y="16"/>
                  </a:lnTo>
                  <a:lnTo>
                    <a:pt x="13" y="20"/>
                  </a:lnTo>
                  <a:lnTo>
                    <a:pt x="10" y="25"/>
                  </a:lnTo>
                  <a:lnTo>
                    <a:pt x="9" y="3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42"/>
                  </a:lnTo>
                  <a:lnTo>
                    <a:pt x="10" y="47"/>
                  </a:lnTo>
                  <a:lnTo>
                    <a:pt x="13" y="52"/>
                  </a:lnTo>
                  <a:lnTo>
                    <a:pt x="16" y="56"/>
                  </a:lnTo>
                  <a:lnTo>
                    <a:pt x="20" y="59"/>
                  </a:lnTo>
                  <a:lnTo>
                    <a:pt x="25" y="62"/>
                  </a:lnTo>
                  <a:lnTo>
                    <a:pt x="30" y="63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42" y="63"/>
                  </a:lnTo>
                  <a:lnTo>
                    <a:pt x="47" y="62"/>
                  </a:lnTo>
                  <a:lnTo>
                    <a:pt x="52" y="59"/>
                  </a:lnTo>
                  <a:lnTo>
                    <a:pt x="56" y="56"/>
                  </a:lnTo>
                  <a:lnTo>
                    <a:pt x="59" y="52"/>
                  </a:lnTo>
                  <a:lnTo>
                    <a:pt x="62" y="47"/>
                  </a:lnTo>
                  <a:lnTo>
                    <a:pt x="63" y="4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0"/>
                  </a:lnTo>
                  <a:lnTo>
                    <a:pt x="62" y="25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2" y="13"/>
                  </a:lnTo>
                  <a:lnTo>
                    <a:pt x="47" y="10"/>
                  </a:lnTo>
                  <a:lnTo>
                    <a:pt x="42" y="9"/>
                  </a:lnTo>
                  <a:lnTo>
                    <a:pt x="36" y="8"/>
                  </a:lnTo>
                  <a:lnTo>
                    <a:pt x="3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6" name="Rectangle 137">
              <a:extLst>
                <a:ext uri="{FF2B5EF4-FFF2-40B4-BE49-F238E27FC236}">
                  <a16:creationId xmlns:a16="http://schemas.microsoft.com/office/drawing/2014/main" id="{7939D077-44EE-40AC-BBC5-2DF7A0FF0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5" y="842"/>
              <a:ext cx="272" cy="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7" name="Rectangle 138">
              <a:extLst>
                <a:ext uri="{FF2B5EF4-FFF2-40B4-BE49-F238E27FC236}">
                  <a16:creationId xmlns:a16="http://schemas.microsoft.com/office/drawing/2014/main" id="{457C0D00-C6D1-422C-B352-6A6028242B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5" y="924"/>
              <a:ext cx="272" cy="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8" name="Rectangle 139">
              <a:extLst>
                <a:ext uri="{FF2B5EF4-FFF2-40B4-BE49-F238E27FC236}">
                  <a16:creationId xmlns:a16="http://schemas.microsoft.com/office/drawing/2014/main" id="{F4CD978E-E934-4135-ABB8-02BECC5396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5" y="1005"/>
              <a:ext cx="272" cy="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59" name="Rectangle 140">
              <a:extLst>
                <a:ext uri="{FF2B5EF4-FFF2-40B4-BE49-F238E27FC236}">
                  <a16:creationId xmlns:a16="http://schemas.microsoft.com/office/drawing/2014/main" id="{F1C68A19-7C41-4D36-B566-6F4036DD40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5" y="1087"/>
              <a:ext cx="272" cy="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0" name="Freeform 141">
              <a:extLst>
                <a:ext uri="{FF2B5EF4-FFF2-40B4-BE49-F238E27FC236}">
                  <a16:creationId xmlns:a16="http://schemas.microsoft.com/office/drawing/2014/main" id="{8A1DBB54-A2EC-4266-9002-E830B9F89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6" y="3148"/>
              <a:ext cx="64" cy="64"/>
            </a:xfrm>
            <a:custGeom>
              <a:avLst/>
              <a:gdLst>
                <a:gd name="T0" fmla="*/ 64 w 64"/>
                <a:gd name="T1" fmla="*/ 32 h 64"/>
                <a:gd name="T2" fmla="*/ 64 w 64"/>
                <a:gd name="T3" fmla="*/ 32 h 64"/>
                <a:gd name="T4" fmla="*/ 63 w 64"/>
                <a:gd name="T5" fmla="*/ 38 h 64"/>
                <a:gd name="T6" fmla="*/ 61 w 64"/>
                <a:gd name="T7" fmla="*/ 44 h 64"/>
                <a:gd name="T8" fmla="*/ 59 w 64"/>
                <a:gd name="T9" fmla="*/ 50 h 64"/>
                <a:gd name="T10" fmla="*/ 55 w 64"/>
                <a:gd name="T11" fmla="*/ 55 h 64"/>
                <a:gd name="T12" fmla="*/ 50 w 64"/>
                <a:gd name="T13" fmla="*/ 59 h 64"/>
                <a:gd name="T14" fmla="*/ 44 w 64"/>
                <a:gd name="T15" fmla="*/ 61 h 64"/>
                <a:gd name="T16" fmla="*/ 38 w 64"/>
                <a:gd name="T17" fmla="*/ 63 h 64"/>
                <a:gd name="T18" fmla="*/ 32 w 64"/>
                <a:gd name="T19" fmla="*/ 64 h 64"/>
                <a:gd name="T20" fmla="*/ 32 w 64"/>
                <a:gd name="T21" fmla="*/ 64 h 64"/>
                <a:gd name="T22" fmla="*/ 26 w 64"/>
                <a:gd name="T23" fmla="*/ 63 h 64"/>
                <a:gd name="T24" fmla="*/ 20 w 64"/>
                <a:gd name="T25" fmla="*/ 61 h 64"/>
                <a:gd name="T26" fmla="*/ 14 w 64"/>
                <a:gd name="T27" fmla="*/ 59 h 64"/>
                <a:gd name="T28" fmla="*/ 9 w 64"/>
                <a:gd name="T29" fmla="*/ 55 h 64"/>
                <a:gd name="T30" fmla="*/ 5 w 64"/>
                <a:gd name="T31" fmla="*/ 50 h 64"/>
                <a:gd name="T32" fmla="*/ 3 w 64"/>
                <a:gd name="T33" fmla="*/ 44 h 64"/>
                <a:gd name="T34" fmla="*/ 1 w 64"/>
                <a:gd name="T35" fmla="*/ 38 h 64"/>
                <a:gd name="T36" fmla="*/ 0 w 64"/>
                <a:gd name="T37" fmla="*/ 32 h 64"/>
                <a:gd name="T38" fmla="*/ 0 w 64"/>
                <a:gd name="T39" fmla="*/ 32 h 64"/>
                <a:gd name="T40" fmla="*/ 1 w 64"/>
                <a:gd name="T41" fmla="*/ 26 h 64"/>
                <a:gd name="T42" fmla="*/ 3 w 64"/>
                <a:gd name="T43" fmla="*/ 20 h 64"/>
                <a:gd name="T44" fmla="*/ 5 w 64"/>
                <a:gd name="T45" fmla="*/ 14 h 64"/>
                <a:gd name="T46" fmla="*/ 9 w 64"/>
                <a:gd name="T47" fmla="*/ 9 h 64"/>
                <a:gd name="T48" fmla="*/ 14 w 64"/>
                <a:gd name="T49" fmla="*/ 5 h 64"/>
                <a:gd name="T50" fmla="*/ 20 w 64"/>
                <a:gd name="T51" fmla="*/ 3 h 64"/>
                <a:gd name="T52" fmla="*/ 26 w 64"/>
                <a:gd name="T53" fmla="*/ 1 h 64"/>
                <a:gd name="T54" fmla="*/ 32 w 64"/>
                <a:gd name="T55" fmla="*/ 0 h 64"/>
                <a:gd name="T56" fmla="*/ 32 w 64"/>
                <a:gd name="T57" fmla="*/ 0 h 64"/>
                <a:gd name="T58" fmla="*/ 38 w 64"/>
                <a:gd name="T59" fmla="*/ 1 h 64"/>
                <a:gd name="T60" fmla="*/ 44 w 64"/>
                <a:gd name="T61" fmla="*/ 3 h 64"/>
                <a:gd name="T62" fmla="*/ 50 w 64"/>
                <a:gd name="T63" fmla="*/ 5 h 64"/>
                <a:gd name="T64" fmla="*/ 55 w 64"/>
                <a:gd name="T65" fmla="*/ 9 h 64"/>
                <a:gd name="T66" fmla="*/ 59 w 64"/>
                <a:gd name="T67" fmla="*/ 14 h 64"/>
                <a:gd name="T68" fmla="*/ 61 w 64"/>
                <a:gd name="T69" fmla="*/ 20 h 64"/>
                <a:gd name="T70" fmla="*/ 63 w 64"/>
                <a:gd name="T71" fmla="*/ 26 h 64"/>
                <a:gd name="T72" fmla="*/ 64 w 64"/>
                <a:gd name="T73" fmla="*/ 32 h 64"/>
                <a:gd name="T74" fmla="*/ 64 w 64"/>
                <a:gd name="T75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lnTo>
                    <a:pt x="64" y="32"/>
                  </a:lnTo>
                  <a:lnTo>
                    <a:pt x="63" y="38"/>
                  </a:lnTo>
                  <a:lnTo>
                    <a:pt x="61" y="44"/>
                  </a:lnTo>
                  <a:lnTo>
                    <a:pt x="59" y="50"/>
                  </a:lnTo>
                  <a:lnTo>
                    <a:pt x="55" y="55"/>
                  </a:lnTo>
                  <a:lnTo>
                    <a:pt x="50" y="59"/>
                  </a:lnTo>
                  <a:lnTo>
                    <a:pt x="44" y="61"/>
                  </a:lnTo>
                  <a:lnTo>
                    <a:pt x="38" y="63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63"/>
                  </a:lnTo>
                  <a:lnTo>
                    <a:pt x="20" y="61"/>
                  </a:lnTo>
                  <a:lnTo>
                    <a:pt x="14" y="59"/>
                  </a:lnTo>
                  <a:lnTo>
                    <a:pt x="9" y="55"/>
                  </a:lnTo>
                  <a:lnTo>
                    <a:pt x="5" y="50"/>
                  </a:lnTo>
                  <a:lnTo>
                    <a:pt x="3" y="44"/>
                  </a:lnTo>
                  <a:lnTo>
                    <a:pt x="1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8" y="1"/>
                  </a:lnTo>
                  <a:lnTo>
                    <a:pt x="44" y="3"/>
                  </a:lnTo>
                  <a:lnTo>
                    <a:pt x="50" y="5"/>
                  </a:lnTo>
                  <a:lnTo>
                    <a:pt x="55" y="9"/>
                  </a:lnTo>
                  <a:lnTo>
                    <a:pt x="59" y="14"/>
                  </a:lnTo>
                  <a:lnTo>
                    <a:pt x="61" y="20"/>
                  </a:lnTo>
                  <a:lnTo>
                    <a:pt x="63" y="26"/>
                  </a:lnTo>
                  <a:lnTo>
                    <a:pt x="64" y="32"/>
                  </a:lnTo>
                  <a:lnTo>
                    <a:pt x="64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1" name="Freeform 142">
              <a:extLst>
                <a:ext uri="{FF2B5EF4-FFF2-40B4-BE49-F238E27FC236}">
                  <a16:creationId xmlns:a16="http://schemas.microsoft.com/office/drawing/2014/main" id="{26865CBB-02CF-4F35-AA39-EE8D7D04FF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2" y="3144"/>
              <a:ext cx="72" cy="72"/>
            </a:xfrm>
            <a:custGeom>
              <a:avLst/>
              <a:gdLst>
                <a:gd name="T0" fmla="*/ 36 w 72"/>
                <a:gd name="T1" fmla="*/ 72 h 72"/>
                <a:gd name="T2" fmla="*/ 22 w 72"/>
                <a:gd name="T3" fmla="*/ 69 h 72"/>
                <a:gd name="T4" fmla="*/ 11 w 72"/>
                <a:gd name="T5" fmla="*/ 61 h 72"/>
                <a:gd name="T6" fmla="*/ 3 w 72"/>
                <a:gd name="T7" fmla="*/ 50 h 72"/>
                <a:gd name="T8" fmla="*/ 0 w 72"/>
                <a:gd name="T9" fmla="*/ 36 h 72"/>
                <a:gd name="T10" fmla="*/ 1 w 72"/>
                <a:gd name="T11" fmla="*/ 29 h 72"/>
                <a:gd name="T12" fmla="*/ 6 w 72"/>
                <a:gd name="T13" fmla="*/ 16 h 72"/>
                <a:gd name="T14" fmla="*/ 16 w 72"/>
                <a:gd name="T15" fmla="*/ 6 h 72"/>
                <a:gd name="T16" fmla="*/ 29 w 72"/>
                <a:gd name="T17" fmla="*/ 1 h 72"/>
                <a:gd name="T18" fmla="*/ 36 w 72"/>
                <a:gd name="T19" fmla="*/ 0 h 72"/>
                <a:gd name="T20" fmla="*/ 50 w 72"/>
                <a:gd name="T21" fmla="*/ 3 h 72"/>
                <a:gd name="T22" fmla="*/ 61 w 72"/>
                <a:gd name="T23" fmla="*/ 11 h 72"/>
                <a:gd name="T24" fmla="*/ 69 w 72"/>
                <a:gd name="T25" fmla="*/ 22 h 72"/>
                <a:gd name="T26" fmla="*/ 72 w 72"/>
                <a:gd name="T27" fmla="*/ 36 h 72"/>
                <a:gd name="T28" fmla="*/ 71 w 72"/>
                <a:gd name="T29" fmla="*/ 43 h 72"/>
                <a:gd name="T30" fmla="*/ 66 w 72"/>
                <a:gd name="T31" fmla="*/ 56 h 72"/>
                <a:gd name="T32" fmla="*/ 56 w 72"/>
                <a:gd name="T33" fmla="*/ 66 h 72"/>
                <a:gd name="T34" fmla="*/ 43 w 72"/>
                <a:gd name="T35" fmla="*/ 71 h 72"/>
                <a:gd name="T36" fmla="*/ 36 w 72"/>
                <a:gd name="T37" fmla="*/ 72 h 72"/>
                <a:gd name="T38" fmla="*/ 36 w 72"/>
                <a:gd name="T39" fmla="*/ 8 h 72"/>
                <a:gd name="T40" fmla="*/ 25 w 72"/>
                <a:gd name="T41" fmla="*/ 10 h 72"/>
                <a:gd name="T42" fmla="*/ 16 w 72"/>
                <a:gd name="T43" fmla="*/ 16 h 72"/>
                <a:gd name="T44" fmla="*/ 10 w 72"/>
                <a:gd name="T45" fmla="*/ 25 h 72"/>
                <a:gd name="T46" fmla="*/ 8 w 72"/>
                <a:gd name="T47" fmla="*/ 36 h 72"/>
                <a:gd name="T48" fmla="*/ 9 w 72"/>
                <a:gd name="T49" fmla="*/ 42 h 72"/>
                <a:gd name="T50" fmla="*/ 13 w 72"/>
                <a:gd name="T51" fmla="*/ 52 h 72"/>
                <a:gd name="T52" fmla="*/ 20 w 72"/>
                <a:gd name="T53" fmla="*/ 59 h 72"/>
                <a:gd name="T54" fmla="*/ 30 w 72"/>
                <a:gd name="T55" fmla="*/ 63 h 72"/>
                <a:gd name="T56" fmla="*/ 36 w 72"/>
                <a:gd name="T57" fmla="*/ 64 h 72"/>
                <a:gd name="T58" fmla="*/ 47 w 72"/>
                <a:gd name="T59" fmla="*/ 62 h 72"/>
                <a:gd name="T60" fmla="*/ 56 w 72"/>
                <a:gd name="T61" fmla="*/ 56 h 72"/>
                <a:gd name="T62" fmla="*/ 62 w 72"/>
                <a:gd name="T63" fmla="*/ 47 h 72"/>
                <a:gd name="T64" fmla="*/ 64 w 72"/>
                <a:gd name="T65" fmla="*/ 36 h 72"/>
                <a:gd name="T66" fmla="*/ 63 w 72"/>
                <a:gd name="T67" fmla="*/ 30 h 72"/>
                <a:gd name="T68" fmla="*/ 59 w 72"/>
                <a:gd name="T69" fmla="*/ 20 h 72"/>
                <a:gd name="T70" fmla="*/ 52 w 72"/>
                <a:gd name="T71" fmla="*/ 13 h 72"/>
                <a:gd name="T72" fmla="*/ 42 w 72"/>
                <a:gd name="T73" fmla="*/ 9 h 72"/>
                <a:gd name="T74" fmla="*/ 36 w 72"/>
                <a:gd name="T75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lnTo>
                    <a:pt x="36" y="72"/>
                  </a:lnTo>
                  <a:lnTo>
                    <a:pt x="29" y="71"/>
                  </a:lnTo>
                  <a:lnTo>
                    <a:pt x="22" y="69"/>
                  </a:lnTo>
                  <a:lnTo>
                    <a:pt x="16" y="66"/>
                  </a:lnTo>
                  <a:lnTo>
                    <a:pt x="11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29"/>
                  </a:lnTo>
                  <a:lnTo>
                    <a:pt x="3" y="22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2" y="3"/>
                  </a:lnTo>
                  <a:lnTo>
                    <a:pt x="29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1"/>
                  </a:lnTo>
                  <a:lnTo>
                    <a:pt x="50" y="3"/>
                  </a:lnTo>
                  <a:lnTo>
                    <a:pt x="56" y="6"/>
                  </a:lnTo>
                  <a:lnTo>
                    <a:pt x="61" y="11"/>
                  </a:lnTo>
                  <a:lnTo>
                    <a:pt x="66" y="16"/>
                  </a:lnTo>
                  <a:lnTo>
                    <a:pt x="69" y="22"/>
                  </a:lnTo>
                  <a:lnTo>
                    <a:pt x="71" y="29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43"/>
                  </a:lnTo>
                  <a:lnTo>
                    <a:pt x="69" y="50"/>
                  </a:lnTo>
                  <a:lnTo>
                    <a:pt x="66" y="56"/>
                  </a:lnTo>
                  <a:lnTo>
                    <a:pt x="61" y="61"/>
                  </a:lnTo>
                  <a:lnTo>
                    <a:pt x="56" y="66"/>
                  </a:lnTo>
                  <a:lnTo>
                    <a:pt x="50" y="69"/>
                  </a:lnTo>
                  <a:lnTo>
                    <a:pt x="43" y="71"/>
                  </a:lnTo>
                  <a:lnTo>
                    <a:pt x="36" y="72"/>
                  </a:lnTo>
                  <a:lnTo>
                    <a:pt x="36" y="72"/>
                  </a:lnTo>
                  <a:close/>
                  <a:moveTo>
                    <a:pt x="36" y="8"/>
                  </a:moveTo>
                  <a:lnTo>
                    <a:pt x="36" y="8"/>
                  </a:lnTo>
                  <a:lnTo>
                    <a:pt x="30" y="9"/>
                  </a:lnTo>
                  <a:lnTo>
                    <a:pt x="25" y="10"/>
                  </a:lnTo>
                  <a:lnTo>
                    <a:pt x="20" y="13"/>
                  </a:lnTo>
                  <a:lnTo>
                    <a:pt x="16" y="16"/>
                  </a:lnTo>
                  <a:lnTo>
                    <a:pt x="13" y="20"/>
                  </a:lnTo>
                  <a:lnTo>
                    <a:pt x="10" y="25"/>
                  </a:lnTo>
                  <a:lnTo>
                    <a:pt x="9" y="3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42"/>
                  </a:lnTo>
                  <a:lnTo>
                    <a:pt x="10" y="47"/>
                  </a:lnTo>
                  <a:lnTo>
                    <a:pt x="13" y="52"/>
                  </a:lnTo>
                  <a:lnTo>
                    <a:pt x="16" y="56"/>
                  </a:lnTo>
                  <a:lnTo>
                    <a:pt x="20" y="59"/>
                  </a:lnTo>
                  <a:lnTo>
                    <a:pt x="25" y="62"/>
                  </a:lnTo>
                  <a:lnTo>
                    <a:pt x="30" y="63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42" y="63"/>
                  </a:lnTo>
                  <a:lnTo>
                    <a:pt x="47" y="62"/>
                  </a:lnTo>
                  <a:lnTo>
                    <a:pt x="52" y="59"/>
                  </a:lnTo>
                  <a:lnTo>
                    <a:pt x="56" y="56"/>
                  </a:lnTo>
                  <a:lnTo>
                    <a:pt x="59" y="52"/>
                  </a:lnTo>
                  <a:lnTo>
                    <a:pt x="62" y="47"/>
                  </a:lnTo>
                  <a:lnTo>
                    <a:pt x="63" y="4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0"/>
                  </a:lnTo>
                  <a:lnTo>
                    <a:pt x="62" y="25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2" y="13"/>
                  </a:lnTo>
                  <a:lnTo>
                    <a:pt x="47" y="10"/>
                  </a:lnTo>
                  <a:lnTo>
                    <a:pt x="42" y="9"/>
                  </a:lnTo>
                  <a:lnTo>
                    <a:pt x="36" y="8"/>
                  </a:lnTo>
                  <a:lnTo>
                    <a:pt x="3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2" name="Freeform 143">
              <a:extLst>
                <a:ext uri="{FF2B5EF4-FFF2-40B4-BE49-F238E27FC236}">
                  <a16:creationId xmlns:a16="http://schemas.microsoft.com/office/drawing/2014/main" id="{BA7F207A-C5CC-4AC4-B964-BD572199C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3" y="3447"/>
              <a:ext cx="137" cy="248"/>
            </a:xfrm>
            <a:custGeom>
              <a:avLst/>
              <a:gdLst>
                <a:gd name="T0" fmla="*/ 4 w 137"/>
                <a:gd name="T1" fmla="*/ 244 h 248"/>
                <a:gd name="T2" fmla="*/ 0 w 137"/>
                <a:gd name="T3" fmla="*/ 229 h 248"/>
                <a:gd name="T4" fmla="*/ 1 w 137"/>
                <a:gd name="T5" fmla="*/ 213 h 248"/>
                <a:gd name="T6" fmla="*/ 2 w 137"/>
                <a:gd name="T7" fmla="*/ 207 h 248"/>
                <a:gd name="T8" fmla="*/ 11 w 137"/>
                <a:gd name="T9" fmla="*/ 191 h 248"/>
                <a:gd name="T10" fmla="*/ 24 w 137"/>
                <a:gd name="T11" fmla="*/ 176 h 248"/>
                <a:gd name="T12" fmla="*/ 43 w 137"/>
                <a:gd name="T13" fmla="*/ 163 h 248"/>
                <a:gd name="T14" fmla="*/ 68 w 137"/>
                <a:gd name="T15" fmla="*/ 151 h 248"/>
                <a:gd name="T16" fmla="*/ 81 w 137"/>
                <a:gd name="T17" fmla="*/ 145 h 248"/>
                <a:gd name="T18" fmla="*/ 104 w 137"/>
                <a:gd name="T19" fmla="*/ 128 h 248"/>
                <a:gd name="T20" fmla="*/ 120 w 137"/>
                <a:gd name="T21" fmla="*/ 106 h 248"/>
                <a:gd name="T22" fmla="*/ 130 w 137"/>
                <a:gd name="T23" fmla="*/ 78 h 248"/>
                <a:gd name="T24" fmla="*/ 132 w 137"/>
                <a:gd name="T25" fmla="*/ 63 h 248"/>
                <a:gd name="T26" fmla="*/ 133 w 137"/>
                <a:gd name="T27" fmla="*/ 39 h 248"/>
                <a:gd name="T28" fmla="*/ 128 w 137"/>
                <a:gd name="T29" fmla="*/ 6 h 248"/>
                <a:gd name="T30" fmla="*/ 132 w 137"/>
                <a:gd name="T31" fmla="*/ 0 h 248"/>
                <a:gd name="T32" fmla="*/ 133 w 137"/>
                <a:gd name="T33" fmla="*/ 5 h 248"/>
                <a:gd name="T34" fmla="*/ 137 w 137"/>
                <a:gd name="T35" fmla="*/ 39 h 248"/>
                <a:gd name="T36" fmla="*/ 136 w 137"/>
                <a:gd name="T37" fmla="*/ 64 h 248"/>
                <a:gd name="T38" fmla="*/ 131 w 137"/>
                <a:gd name="T39" fmla="*/ 90 h 248"/>
                <a:gd name="T40" fmla="*/ 119 w 137"/>
                <a:gd name="T41" fmla="*/ 115 h 248"/>
                <a:gd name="T42" fmla="*/ 105 w 137"/>
                <a:gd name="T43" fmla="*/ 133 h 248"/>
                <a:gd name="T44" fmla="*/ 93 w 137"/>
                <a:gd name="T45" fmla="*/ 143 h 248"/>
                <a:gd name="T46" fmla="*/ 78 w 137"/>
                <a:gd name="T47" fmla="*/ 152 h 248"/>
                <a:gd name="T48" fmla="*/ 69 w 137"/>
                <a:gd name="T49" fmla="*/ 156 h 248"/>
                <a:gd name="T50" fmla="*/ 46 w 137"/>
                <a:gd name="T51" fmla="*/ 167 h 248"/>
                <a:gd name="T52" fmla="*/ 28 w 137"/>
                <a:gd name="T53" fmla="*/ 179 h 248"/>
                <a:gd name="T54" fmla="*/ 15 w 137"/>
                <a:gd name="T55" fmla="*/ 193 h 248"/>
                <a:gd name="T56" fmla="*/ 7 w 137"/>
                <a:gd name="T57" fmla="*/ 208 h 248"/>
                <a:gd name="T58" fmla="*/ 5 w 137"/>
                <a:gd name="T59" fmla="*/ 216 h 248"/>
                <a:gd name="T60" fmla="*/ 5 w 137"/>
                <a:gd name="T61" fmla="*/ 229 h 248"/>
                <a:gd name="T62" fmla="*/ 8 w 137"/>
                <a:gd name="T63" fmla="*/ 243 h 248"/>
                <a:gd name="T64" fmla="*/ 6 w 137"/>
                <a:gd name="T65" fmla="*/ 248 h 248"/>
                <a:gd name="T66" fmla="*/ 4 w 137"/>
                <a:gd name="T67" fmla="*/ 24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" h="248">
                  <a:moveTo>
                    <a:pt x="4" y="244"/>
                  </a:moveTo>
                  <a:lnTo>
                    <a:pt x="4" y="244"/>
                  </a:lnTo>
                  <a:lnTo>
                    <a:pt x="2" y="238"/>
                  </a:lnTo>
                  <a:lnTo>
                    <a:pt x="0" y="229"/>
                  </a:lnTo>
                  <a:lnTo>
                    <a:pt x="0" y="219"/>
                  </a:lnTo>
                  <a:lnTo>
                    <a:pt x="1" y="213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6" y="199"/>
                  </a:lnTo>
                  <a:lnTo>
                    <a:pt x="11" y="191"/>
                  </a:lnTo>
                  <a:lnTo>
                    <a:pt x="17" y="183"/>
                  </a:lnTo>
                  <a:lnTo>
                    <a:pt x="24" y="176"/>
                  </a:lnTo>
                  <a:lnTo>
                    <a:pt x="33" y="169"/>
                  </a:lnTo>
                  <a:lnTo>
                    <a:pt x="43" y="163"/>
                  </a:lnTo>
                  <a:lnTo>
                    <a:pt x="55" y="157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81" y="145"/>
                  </a:lnTo>
                  <a:lnTo>
                    <a:pt x="93" y="137"/>
                  </a:lnTo>
                  <a:lnTo>
                    <a:pt x="104" y="128"/>
                  </a:lnTo>
                  <a:lnTo>
                    <a:pt x="113" y="118"/>
                  </a:lnTo>
                  <a:lnTo>
                    <a:pt x="120" y="106"/>
                  </a:lnTo>
                  <a:lnTo>
                    <a:pt x="125" y="93"/>
                  </a:lnTo>
                  <a:lnTo>
                    <a:pt x="130" y="78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3" y="51"/>
                  </a:lnTo>
                  <a:lnTo>
                    <a:pt x="133" y="39"/>
                  </a:lnTo>
                  <a:lnTo>
                    <a:pt x="131" y="20"/>
                  </a:lnTo>
                  <a:lnTo>
                    <a:pt x="128" y="6"/>
                  </a:lnTo>
                  <a:lnTo>
                    <a:pt x="127" y="1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5"/>
                  </a:lnTo>
                  <a:lnTo>
                    <a:pt x="135" y="19"/>
                  </a:lnTo>
                  <a:lnTo>
                    <a:pt x="137" y="39"/>
                  </a:lnTo>
                  <a:lnTo>
                    <a:pt x="137" y="51"/>
                  </a:lnTo>
                  <a:lnTo>
                    <a:pt x="136" y="64"/>
                  </a:lnTo>
                  <a:lnTo>
                    <a:pt x="134" y="77"/>
                  </a:lnTo>
                  <a:lnTo>
                    <a:pt x="131" y="90"/>
                  </a:lnTo>
                  <a:lnTo>
                    <a:pt x="126" y="103"/>
                  </a:lnTo>
                  <a:lnTo>
                    <a:pt x="119" y="115"/>
                  </a:lnTo>
                  <a:lnTo>
                    <a:pt x="110" y="127"/>
                  </a:lnTo>
                  <a:lnTo>
                    <a:pt x="105" y="133"/>
                  </a:lnTo>
                  <a:lnTo>
                    <a:pt x="99" y="138"/>
                  </a:lnTo>
                  <a:lnTo>
                    <a:pt x="93" y="143"/>
                  </a:lnTo>
                  <a:lnTo>
                    <a:pt x="86" y="148"/>
                  </a:lnTo>
                  <a:lnTo>
                    <a:pt x="78" y="152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57" y="161"/>
                  </a:lnTo>
                  <a:lnTo>
                    <a:pt x="46" y="167"/>
                  </a:lnTo>
                  <a:lnTo>
                    <a:pt x="36" y="173"/>
                  </a:lnTo>
                  <a:lnTo>
                    <a:pt x="28" y="179"/>
                  </a:lnTo>
                  <a:lnTo>
                    <a:pt x="20" y="186"/>
                  </a:lnTo>
                  <a:lnTo>
                    <a:pt x="15" y="193"/>
                  </a:lnTo>
                  <a:lnTo>
                    <a:pt x="10" y="201"/>
                  </a:lnTo>
                  <a:lnTo>
                    <a:pt x="7" y="208"/>
                  </a:lnTo>
                  <a:lnTo>
                    <a:pt x="7" y="208"/>
                  </a:lnTo>
                  <a:lnTo>
                    <a:pt x="5" y="216"/>
                  </a:lnTo>
                  <a:lnTo>
                    <a:pt x="4" y="223"/>
                  </a:lnTo>
                  <a:lnTo>
                    <a:pt x="5" y="229"/>
                  </a:lnTo>
                  <a:lnTo>
                    <a:pt x="6" y="235"/>
                  </a:lnTo>
                  <a:lnTo>
                    <a:pt x="8" y="243"/>
                  </a:lnTo>
                  <a:lnTo>
                    <a:pt x="10" y="246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4" y="244"/>
                  </a:lnTo>
                  <a:lnTo>
                    <a:pt x="4" y="2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3" name="Freeform 144">
              <a:extLst>
                <a:ext uri="{FF2B5EF4-FFF2-40B4-BE49-F238E27FC236}">
                  <a16:creationId xmlns:a16="http://schemas.microsoft.com/office/drawing/2014/main" id="{1461FF71-B4C4-45EF-87AE-92A82C526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3" y="1740"/>
              <a:ext cx="225" cy="165"/>
            </a:xfrm>
            <a:custGeom>
              <a:avLst/>
              <a:gdLst>
                <a:gd name="T0" fmla="*/ 0 w 225"/>
                <a:gd name="T1" fmla="*/ 160 h 165"/>
                <a:gd name="T2" fmla="*/ 3 w 225"/>
                <a:gd name="T3" fmla="*/ 145 h 165"/>
                <a:gd name="T4" fmla="*/ 11 w 225"/>
                <a:gd name="T5" fmla="*/ 131 h 165"/>
                <a:gd name="T6" fmla="*/ 16 w 225"/>
                <a:gd name="T7" fmla="*/ 127 h 165"/>
                <a:gd name="T8" fmla="*/ 30 w 225"/>
                <a:gd name="T9" fmla="*/ 116 h 165"/>
                <a:gd name="T10" fmla="*/ 49 w 225"/>
                <a:gd name="T11" fmla="*/ 109 h 165"/>
                <a:gd name="T12" fmla="*/ 72 w 225"/>
                <a:gd name="T13" fmla="*/ 106 h 165"/>
                <a:gd name="T14" fmla="*/ 99 w 225"/>
                <a:gd name="T15" fmla="*/ 107 h 165"/>
                <a:gd name="T16" fmla="*/ 114 w 225"/>
                <a:gd name="T17" fmla="*/ 107 h 165"/>
                <a:gd name="T18" fmla="*/ 142 w 225"/>
                <a:gd name="T19" fmla="*/ 103 h 165"/>
                <a:gd name="T20" fmla="*/ 166 w 225"/>
                <a:gd name="T21" fmla="*/ 90 h 165"/>
                <a:gd name="T22" fmla="*/ 188 w 225"/>
                <a:gd name="T23" fmla="*/ 70 h 165"/>
                <a:gd name="T24" fmla="*/ 197 w 225"/>
                <a:gd name="T25" fmla="*/ 57 h 165"/>
                <a:gd name="T26" fmla="*/ 208 w 225"/>
                <a:gd name="T27" fmla="*/ 37 h 165"/>
                <a:gd name="T28" fmla="*/ 219 w 225"/>
                <a:gd name="T29" fmla="*/ 5 h 165"/>
                <a:gd name="T30" fmla="*/ 225 w 225"/>
                <a:gd name="T31" fmla="*/ 1 h 165"/>
                <a:gd name="T32" fmla="*/ 224 w 225"/>
                <a:gd name="T33" fmla="*/ 6 h 165"/>
                <a:gd name="T34" fmla="*/ 212 w 225"/>
                <a:gd name="T35" fmla="*/ 39 h 165"/>
                <a:gd name="T36" fmla="*/ 200 w 225"/>
                <a:gd name="T37" fmla="*/ 60 h 165"/>
                <a:gd name="T38" fmla="*/ 184 w 225"/>
                <a:gd name="T39" fmla="*/ 81 h 165"/>
                <a:gd name="T40" fmla="*/ 162 w 225"/>
                <a:gd name="T41" fmla="*/ 98 h 165"/>
                <a:gd name="T42" fmla="*/ 141 w 225"/>
                <a:gd name="T43" fmla="*/ 107 h 165"/>
                <a:gd name="T44" fmla="*/ 125 w 225"/>
                <a:gd name="T45" fmla="*/ 111 h 165"/>
                <a:gd name="T46" fmla="*/ 108 w 225"/>
                <a:gd name="T47" fmla="*/ 112 h 165"/>
                <a:gd name="T48" fmla="*/ 99 w 225"/>
                <a:gd name="T49" fmla="*/ 112 h 165"/>
                <a:gd name="T50" fmla="*/ 73 w 225"/>
                <a:gd name="T51" fmla="*/ 111 h 165"/>
                <a:gd name="T52" fmla="*/ 51 w 225"/>
                <a:gd name="T53" fmla="*/ 114 h 165"/>
                <a:gd name="T54" fmla="*/ 33 w 225"/>
                <a:gd name="T55" fmla="*/ 120 h 165"/>
                <a:gd name="T56" fmla="*/ 19 w 225"/>
                <a:gd name="T57" fmla="*/ 130 h 165"/>
                <a:gd name="T58" fmla="*/ 14 w 225"/>
                <a:gd name="T59" fmla="*/ 136 h 165"/>
                <a:gd name="T60" fmla="*/ 8 w 225"/>
                <a:gd name="T61" fmla="*/ 148 h 165"/>
                <a:gd name="T62" fmla="*/ 5 w 225"/>
                <a:gd name="T63" fmla="*/ 161 h 165"/>
                <a:gd name="T64" fmla="*/ 0 w 225"/>
                <a:gd name="T65" fmla="*/ 165 h 165"/>
                <a:gd name="T66" fmla="*/ 0 w 225"/>
                <a:gd name="T67" fmla="*/ 16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5" h="165">
                  <a:moveTo>
                    <a:pt x="0" y="160"/>
                  </a:moveTo>
                  <a:lnTo>
                    <a:pt x="0" y="160"/>
                  </a:lnTo>
                  <a:lnTo>
                    <a:pt x="1" y="154"/>
                  </a:lnTo>
                  <a:lnTo>
                    <a:pt x="3" y="145"/>
                  </a:lnTo>
                  <a:lnTo>
                    <a:pt x="8" y="136"/>
                  </a:lnTo>
                  <a:lnTo>
                    <a:pt x="11" y="131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22" y="121"/>
                  </a:lnTo>
                  <a:lnTo>
                    <a:pt x="30" y="116"/>
                  </a:lnTo>
                  <a:lnTo>
                    <a:pt x="39" y="112"/>
                  </a:lnTo>
                  <a:lnTo>
                    <a:pt x="49" y="109"/>
                  </a:lnTo>
                  <a:lnTo>
                    <a:pt x="60" y="107"/>
                  </a:lnTo>
                  <a:lnTo>
                    <a:pt x="72" y="106"/>
                  </a:lnTo>
                  <a:lnTo>
                    <a:pt x="85" y="106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14" y="107"/>
                  </a:lnTo>
                  <a:lnTo>
                    <a:pt x="128" y="106"/>
                  </a:lnTo>
                  <a:lnTo>
                    <a:pt x="142" y="103"/>
                  </a:lnTo>
                  <a:lnTo>
                    <a:pt x="155" y="97"/>
                  </a:lnTo>
                  <a:lnTo>
                    <a:pt x="166" y="90"/>
                  </a:lnTo>
                  <a:lnTo>
                    <a:pt x="177" y="81"/>
                  </a:lnTo>
                  <a:lnTo>
                    <a:pt x="188" y="70"/>
                  </a:lnTo>
                  <a:lnTo>
                    <a:pt x="197" y="57"/>
                  </a:lnTo>
                  <a:lnTo>
                    <a:pt x="197" y="57"/>
                  </a:lnTo>
                  <a:lnTo>
                    <a:pt x="203" y="47"/>
                  </a:lnTo>
                  <a:lnTo>
                    <a:pt x="208" y="37"/>
                  </a:lnTo>
                  <a:lnTo>
                    <a:pt x="215" y="18"/>
                  </a:lnTo>
                  <a:lnTo>
                    <a:pt x="219" y="5"/>
                  </a:lnTo>
                  <a:lnTo>
                    <a:pt x="221" y="0"/>
                  </a:lnTo>
                  <a:lnTo>
                    <a:pt x="225" y="1"/>
                  </a:lnTo>
                  <a:lnTo>
                    <a:pt x="225" y="1"/>
                  </a:lnTo>
                  <a:lnTo>
                    <a:pt x="224" y="6"/>
                  </a:lnTo>
                  <a:lnTo>
                    <a:pt x="220" y="20"/>
                  </a:lnTo>
                  <a:lnTo>
                    <a:pt x="212" y="39"/>
                  </a:lnTo>
                  <a:lnTo>
                    <a:pt x="207" y="49"/>
                  </a:lnTo>
                  <a:lnTo>
                    <a:pt x="200" y="60"/>
                  </a:lnTo>
                  <a:lnTo>
                    <a:pt x="193" y="71"/>
                  </a:lnTo>
                  <a:lnTo>
                    <a:pt x="184" y="81"/>
                  </a:lnTo>
                  <a:lnTo>
                    <a:pt x="173" y="90"/>
                  </a:lnTo>
                  <a:lnTo>
                    <a:pt x="162" y="98"/>
                  </a:lnTo>
                  <a:lnTo>
                    <a:pt x="148" y="105"/>
                  </a:lnTo>
                  <a:lnTo>
                    <a:pt x="141" y="107"/>
                  </a:lnTo>
                  <a:lnTo>
                    <a:pt x="134" y="109"/>
                  </a:lnTo>
                  <a:lnTo>
                    <a:pt x="125" y="111"/>
                  </a:lnTo>
                  <a:lnTo>
                    <a:pt x="117" y="112"/>
                  </a:lnTo>
                  <a:lnTo>
                    <a:pt x="108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85" y="111"/>
                  </a:lnTo>
                  <a:lnTo>
                    <a:pt x="73" y="111"/>
                  </a:lnTo>
                  <a:lnTo>
                    <a:pt x="61" y="112"/>
                  </a:lnTo>
                  <a:lnTo>
                    <a:pt x="51" y="114"/>
                  </a:lnTo>
                  <a:lnTo>
                    <a:pt x="41" y="116"/>
                  </a:lnTo>
                  <a:lnTo>
                    <a:pt x="33" y="120"/>
                  </a:lnTo>
                  <a:lnTo>
                    <a:pt x="25" y="125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14" y="136"/>
                  </a:lnTo>
                  <a:lnTo>
                    <a:pt x="10" y="142"/>
                  </a:lnTo>
                  <a:lnTo>
                    <a:pt x="8" y="148"/>
                  </a:lnTo>
                  <a:lnTo>
                    <a:pt x="6" y="153"/>
                  </a:lnTo>
                  <a:lnTo>
                    <a:pt x="5" y="161"/>
                  </a:lnTo>
                  <a:lnTo>
                    <a:pt x="5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0"/>
                  </a:lnTo>
                  <a:lnTo>
                    <a:pt x="0" y="1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4" name="Freeform 145">
              <a:extLst>
                <a:ext uri="{FF2B5EF4-FFF2-40B4-BE49-F238E27FC236}">
                  <a16:creationId xmlns:a16="http://schemas.microsoft.com/office/drawing/2014/main" id="{10218CAA-D5F5-488D-8176-31A2CBC4F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3" y="545"/>
              <a:ext cx="124" cy="251"/>
            </a:xfrm>
            <a:custGeom>
              <a:avLst/>
              <a:gdLst>
                <a:gd name="T0" fmla="*/ 119 w 124"/>
                <a:gd name="T1" fmla="*/ 250 h 251"/>
                <a:gd name="T2" fmla="*/ 105 w 124"/>
                <a:gd name="T3" fmla="*/ 244 h 251"/>
                <a:gd name="T4" fmla="*/ 92 w 124"/>
                <a:gd name="T5" fmla="*/ 234 h 251"/>
                <a:gd name="T6" fmla="*/ 89 w 124"/>
                <a:gd name="T7" fmla="*/ 229 h 251"/>
                <a:gd name="T8" fmla="*/ 81 w 124"/>
                <a:gd name="T9" fmla="*/ 212 h 251"/>
                <a:gd name="T10" fmla="*/ 78 w 124"/>
                <a:gd name="T11" fmla="*/ 193 h 251"/>
                <a:gd name="T12" fmla="*/ 79 w 124"/>
                <a:gd name="T13" fmla="*/ 170 h 251"/>
                <a:gd name="T14" fmla="*/ 84 w 124"/>
                <a:gd name="T15" fmla="*/ 143 h 251"/>
                <a:gd name="T16" fmla="*/ 87 w 124"/>
                <a:gd name="T17" fmla="*/ 128 h 251"/>
                <a:gd name="T18" fmla="*/ 87 w 124"/>
                <a:gd name="T19" fmla="*/ 100 h 251"/>
                <a:gd name="T20" fmla="*/ 79 w 124"/>
                <a:gd name="T21" fmla="*/ 74 h 251"/>
                <a:gd name="T22" fmla="*/ 63 w 124"/>
                <a:gd name="T23" fmla="*/ 50 h 251"/>
                <a:gd name="T24" fmla="*/ 52 w 124"/>
                <a:gd name="T25" fmla="*/ 38 h 251"/>
                <a:gd name="T26" fmla="*/ 34 w 124"/>
                <a:gd name="T27" fmla="*/ 23 h 251"/>
                <a:gd name="T28" fmla="*/ 5 w 124"/>
                <a:gd name="T29" fmla="*/ 7 h 251"/>
                <a:gd name="T30" fmla="*/ 2 w 124"/>
                <a:gd name="T31" fmla="*/ 0 h 251"/>
                <a:gd name="T32" fmla="*/ 7 w 124"/>
                <a:gd name="T33" fmla="*/ 3 h 251"/>
                <a:gd name="T34" fmla="*/ 37 w 124"/>
                <a:gd name="T35" fmla="*/ 20 h 251"/>
                <a:gd name="T36" fmla="*/ 56 w 124"/>
                <a:gd name="T37" fmla="*/ 35 h 251"/>
                <a:gd name="T38" fmla="*/ 73 w 124"/>
                <a:gd name="T39" fmla="*/ 55 h 251"/>
                <a:gd name="T40" fmla="*/ 87 w 124"/>
                <a:gd name="T41" fmla="*/ 80 h 251"/>
                <a:gd name="T42" fmla="*/ 92 w 124"/>
                <a:gd name="T43" fmla="*/ 102 h 251"/>
                <a:gd name="T44" fmla="*/ 93 w 124"/>
                <a:gd name="T45" fmla="*/ 118 h 251"/>
                <a:gd name="T46" fmla="*/ 91 w 124"/>
                <a:gd name="T47" fmla="*/ 135 h 251"/>
                <a:gd name="T48" fmla="*/ 88 w 124"/>
                <a:gd name="T49" fmla="*/ 144 h 251"/>
                <a:gd name="T50" fmla="*/ 83 w 124"/>
                <a:gd name="T51" fmla="*/ 170 h 251"/>
                <a:gd name="T52" fmla="*/ 82 w 124"/>
                <a:gd name="T53" fmla="*/ 192 h 251"/>
                <a:gd name="T54" fmla="*/ 85 w 124"/>
                <a:gd name="T55" fmla="*/ 211 h 251"/>
                <a:gd name="T56" fmla="*/ 92 w 124"/>
                <a:gd name="T57" fmla="*/ 226 h 251"/>
                <a:gd name="T58" fmla="*/ 97 w 124"/>
                <a:gd name="T59" fmla="*/ 232 h 251"/>
                <a:gd name="T60" fmla="*/ 108 w 124"/>
                <a:gd name="T61" fmla="*/ 240 h 251"/>
                <a:gd name="T62" fmla="*/ 121 w 124"/>
                <a:gd name="T63" fmla="*/ 246 h 251"/>
                <a:gd name="T64" fmla="*/ 123 w 124"/>
                <a:gd name="T65" fmla="*/ 251 h 251"/>
                <a:gd name="T66" fmla="*/ 119 w 124"/>
                <a:gd name="T67" fmla="*/ 25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" h="251">
                  <a:moveTo>
                    <a:pt x="119" y="250"/>
                  </a:moveTo>
                  <a:lnTo>
                    <a:pt x="119" y="250"/>
                  </a:lnTo>
                  <a:lnTo>
                    <a:pt x="113" y="248"/>
                  </a:lnTo>
                  <a:lnTo>
                    <a:pt x="105" y="244"/>
                  </a:lnTo>
                  <a:lnTo>
                    <a:pt x="96" y="238"/>
                  </a:lnTo>
                  <a:lnTo>
                    <a:pt x="92" y="234"/>
                  </a:lnTo>
                  <a:lnTo>
                    <a:pt x="89" y="229"/>
                  </a:lnTo>
                  <a:lnTo>
                    <a:pt x="89" y="229"/>
                  </a:lnTo>
                  <a:lnTo>
                    <a:pt x="84" y="221"/>
                  </a:lnTo>
                  <a:lnTo>
                    <a:pt x="81" y="212"/>
                  </a:lnTo>
                  <a:lnTo>
                    <a:pt x="79" y="203"/>
                  </a:lnTo>
                  <a:lnTo>
                    <a:pt x="78" y="193"/>
                  </a:lnTo>
                  <a:lnTo>
                    <a:pt x="77" y="182"/>
                  </a:lnTo>
                  <a:lnTo>
                    <a:pt x="79" y="170"/>
                  </a:lnTo>
                  <a:lnTo>
                    <a:pt x="81" y="157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7" y="128"/>
                  </a:lnTo>
                  <a:lnTo>
                    <a:pt x="88" y="114"/>
                  </a:lnTo>
                  <a:lnTo>
                    <a:pt x="87" y="100"/>
                  </a:lnTo>
                  <a:lnTo>
                    <a:pt x="84" y="87"/>
                  </a:lnTo>
                  <a:lnTo>
                    <a:pt x="79" y="74"/>
                  </a:lnTo>
                  <a:lnTo>
                    <a:pt x="72" y="61"/>
                  </a:lnTo>
                  <a:lnTo>
                    <a:pt x="63" y="50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43" y="30"/>
                  </a:lnTo>
                  <a:lnTo>
                    <a:pt x="34" y="23"/>
                  </a:lnTo>
                  <a:lnTo>
                    <a:pt x="17" y="13"/>
                  </a:lnTo>
                  <a:lnTo>
                    <a:pt x="5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2" y="0"/>
                  </a:lnTo>
                  <a:lnTo>
                    <a:pt x="7" y="3"/>
                  </a:lnTo>
                  <a:lnTo>
                    <a:pt x="20" y="9"/>
                  </a:lnTo>
                  <a:lnTo>
                    <a:pt x="37" y="20"/>
                  </a:lnTo>
                  <a:lnTo>
                    <a:pt x="46" y="27"/>
                  </a:lnTo>
                  <a:lnTo>
                    <a:pt x="56" y="35"/>
                  </a:lnTo>
                  <a:lnTo>
                    <a:pt x="65" y="45"/>
                  </a:lnTo>
                  <a:lnTo>
                    <a:pt x="73" y="55"/>
                  </a:lnTo>
                  <a:lnTo>
                    <a:pt x="81" y="67"/>
                  </a:lnTo>
                  <a:lnTo>
                    <a:pt x="87" y="80"/>
                  </a:lnTo>
                  <a:lnTo>
                    <a:pt x="91" y="94"/>
                  </a:lnTo>
                  <a:lnTo>
                    <a:pt x="92" y="102"/>
                  </a:lnTo>
                  <a:lnTo>
                    <a:pt x="93" y="110"/>
                  </a:lnTo>
                  <a:lnTo>
                    <a:pt x="93" y="118"/>
                  </a:lnTo>
                  <a:lnTo>
                    <a:pt x="92" y="126"/>
                  </a:lnTo>
                  <a:lnTo>
                    <a:pt x="91" y="135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5" y="157"/>
                  </a:lnTo>
                  <a:lnTo>
                    <a:pt x="83" y="170"/>
                  </a:lnTo>
                  <a:lnTo>
                    <a:pt x="82" y="181"/>
                  </a:lnTo>
                  <a:lnTo>
                    <a:pt x="82" y="192"/>
                  </a:lnTo>
                  <a:lnTo>
                    <a:pt x="83" y="202"/>
                  </a:lnTo>
                  <a:lnTo>
                    <a:pt x="85" y="211"/>
                  </a:lnTo>
                  <a:lnTo>
                    <a:pt x="88" y="219"/>
                  </a:lnTo>
                  <a:lnTo>
                    <a:pt x="92" y="226"/>
                  </a:lnTo>
                  <a:lnTo>
                    <a:pt x="92" y="226"/>
                  </a:lnTo>
                  <a:lnTo>
                    <a:pt x="97" y="232"/>
                  </a:lnTo>
                  <a:lnTo>
                    <a:pt x="102" y="237"/>
                  </a:lnTo>
                  <a:lnTo>
                    <a:pt x="108" y="240"/>
                  </a:lnTo>
                  <a:lnTo>
                    <a:pt x="113" y="243"/>
                  </a:lnTo>
                  <a:lnTo>
                    <a:pt x="121" y="246"/>
                  </a:lnTo>
                  <a:lnTo>
                    <a:pt x="124" y="246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19" y="250"/>
                  </a:lnTo>
                  <a:lnTo>
                    <a:pt x="119" y="2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5" name="Freeform 146">
              <a:extLst>
                <a:ext uri="{FF2B5EF4-FFF2-40B4-BE49-F238E27FC236}">
                  <a16:creationId xmlns:a16="http://schemas.microsoft.com/office/drawing/2014/main" id="{C761E593-1D9C-4516-AB7F-41D59DB31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0" y="1584"/>
              <a:ext cx="64" cy="64"/>
            </a:xfrm>
            <a:custGeom>
              <a:avLst/>
              <a:gdLst>
                <a:gd name="T0" fmla="*/ 64 w 64"/>
                <a:gd name="T1" fmla="*/ 32 h 64"/>
                <a:gd name="T2" fmla="*/ 64 w 64"/>
                <a:gd name="T3" fmla="*/ 32 h 64"/>
                <a:gd name="T4" fmla="*/ 63 w 64"/>
                <a:gd name="T5" fmla="*/ 38 h 64"/>
                <a:gd name="T6" fmla="*/ 61 w 64"/>
                <a:gd name="T7" fmla="*/ 44 h 64"/>
                <a:gd name="T8" fmla="*/ 59 w 64"/>
                <a:gd name="T9" fmla="*/ 50 h 64"/>
                <a:gd name="T10" fmla="*/ 55 w 64"/>
                <a:gd name="T11" fmla="*/ 55 h 64"/>
                <a:gd name="T12" fmla="*/ 50 w 64"/>
                <a:gd name="T13" fmla="*/ 59 h 64"/>
                <a:gd name="T14" fmla="*/ 44 w 64"/>
                <a:gd name="T15" fmla="*/ 61 h 64"/>
                <a:gd name="T16" fmla="*/ 38 w 64"/>
                <a:gd name="T17" fmla="*/ 63 h 64"/>
                <a:gd name="T18" fmla="*/ 32 w 64"/>
                <a:gd name="T19" fmla="*/ 64 h 64"/>
                <a:gd name="T20" fmla="*/ 32 w 64"/>
                <a:gd name="T21" fmla="*/ 64 h 64"/>
                <a:gd name="T22" fmla="*/ 26 w 64"/>
                <a:gd name="T23" fmla="*/ 63 h 64"/>
                <a:gd name="T24" fmla="*/ 20 w 64"/>
                <a:gd name="T25" fmla="*/ 61 h 64"/>
                <a:gd name="T26" fmla="*/ 14 w 64"/>
                <a:gd name="T27" fmla="*/ 59 h 64"/>
                <a:gd name="T28" fmla="*/ 9 w 64"/>
                <a:gd name="T29" fmla="*/ 55 h 64"/>
                <a:gd name="T30" fmla="*/ 5 w 64"/>
                <a:gd name="T31" fmla="*/ 50 h 64"/>
                <a:gd name="T32" fmla="*/ 3 w 64"/>
                <a:gd name="T33" fmla="*/ 44 h 64"/>
                <a:gd name="T34" fmla="*/ 1 w 64"/>
                <a:gd name="T35" fmla="*/ 38 h 64"/>
                <a:gd name="T36" fmla="*/ 0 w 64"/>
                <a:gd name="T37" fmla="*/ 32 h 64"/>
                <a:gd name="T38" fmla="*/ 0 w 64"/>
                <a:gd name="T39" fmla="*/ 32 h 64"/>
                <a:gd name="T40" fmla="*/ 1 w 64"/>
                <a:gd name="T41" fmla="*/ 26 h 64"/>
                <a:gd name="T42" fmla="*/ 3 w 64"/>
                <a:gd name="T43" fmla="*/ 20 h 64"/>
                <a:gd name="T44" fmla="*/ 5 w 64"/>
                <a:gd name="T45" fmla="*/ 14 h 64"/>
                <a:gd name="T46" fmla="*/ 9 w 64"/>
                <a:gd name="T47" fmla="*/ 9 h 64"/>
                <a:gd name="T48" fmla="*/ 14 w 64"/>
                <a:gd name="T49" fmla="*/ 5 h 64"/>
                <a:gd name="T50" fmla="*/ 20 w 64"/>
                <a:gd name="T51" fmla="*/ 3 h 64"/>
                <a:gd name="T52" fmla="*/ 26 w 64"/>
                <a:gd name="T53" fmla="*/ 1 h 64"/>
                <a:gd name="T54" fmla="*/ 32 w 64"/>
                <a:gd name="T55" fmla="*/ 0 h 64"/>
                <a:gd name="T56" fmla="*/ 32 w 64"/>
                <a:gd name="T57" fmla="*/ 0 h 64"/>
                <a:gd name="T58" fmla="*/ 38 w 64"/>
                <a:gd name="T59" fmla="*/ 1 h 64"/>
                <a:gd name="T60" fmla="*/ 44 w 64"/>
                <a:gd name="T61" fmla="*/ 3 h 64"/>
                <a:gd name="T62" fmla="*/ 50 w 64"/>
                <a:gd name="T63" fmla="*/ 5 h 64"/>
                <a:gd name="T64" fmla="*/ 55 w 64"/>
                <a:gd name="T65" fmla="*/ 9 h 64"/>
                <a:gd name="T66" fmla="*/ 59 w 64"/>
                <a:gd name="T67" fmla="*/ 14 h 64"/>
                <a:gd name="T68" fmla="*/ 61 w 64"/>
                <a:gd name="T69" fmla="*/ 20 h 64"/>
                <a:gd name="T70" fmla="*/ 63 w 64"/>
                <a:gd name="T71" fmla="*/ 26 h 64"/>
                <a:gd name="T72" fmla="*/ 64 w 64"/>
                <a:gd name="T73" fmla="*/ 32 h 64"/>
                <a:gd name="T74" fmla="*/ 64 w 64"/>
                <a:gd name="T75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lnTo>
                    <a:pt x="64" y="32"/>
                  </a:lnTo>
                  <a:lnTo>
                    <a:pt x="63" y="38"/>
                  </a:lnTo>
                  <a:lnTo>
                    <a:pt x="61" y="44"/>
                  </a:lnTo>
                  <a:lnTo>
                    <a:pt x="59" y="50"/>
                  </a:lnTo>
                  <a:lnTo>
                    <a:pt x="55" y="55"/>
                  </a:lnTo>
                  <a:lnTo>
                    <a:pt x="50" y="59"/>
                  </a:lnTo>
                  <a:lnTo>
                    <a:pt x="44" y="61"/>
                  </a:lnTo>
                  <a:lnTo>
                    <a:pt x="38" y="63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63"/>
                  </a:lnTo>
                  <a:lnTo>
                    <a:pt x="20" y="61"/>
                  </a:lnTo>
                  <a:lnTo>
                    <a:pt x="14" y="59"/>
                  </a:lnTo>
                  <a:lnTo>
                    <a:pt x="9" y="55"/>
                  </a:lnTo>
                  <a:lnTo>
                    <a:pt x="5" y="50"/>
                  </a:lnTo>
                  <a:lnTo>
                    <a:pt x="3" y="44"/>
                  </a:lnTo>
                  <a:lnTo>
                    <a:pt x="1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8" y="1"/>
                  </a:lnTo>
                  <a:lnTo>
                    <a:pt x="44" y="3"/>
                  </a:lnTo>
                  <a:lnTo>
                    <a:pt x="50" y="5"/>
                  </a:lnTo>
                  <a:lnTo>
                    <a:pt x="55" y="9"/>
                  </a:lnTo>
                  <a:lnTo>
                    <a:pt x="59" y="14"/>
                  </a:lnTo>
                  <a:lnTo>
                    <a:pt x="61" y="20"/>
                  </a:lnTo>
                  <a:lnTo>
                    <a:pt x="63" y="26"/>
                  </a:lnTo>
                  <a:lnTo>
                    <a:pt x="64" y="32"/>
                  </a:lnTo>
                  <a:lnTo>
                    <a:pt x="64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6" name="Freeform 147">
              <a:extLst>
                <a:ext uri="{FF2B5EF4-FFF2-40B4-BE49-F238E27FC236}">
                  <a16:creationId xmlns:a16="http://schemas.microsoft.com/office/drawing/2014/main" id="{8D0E2D6F-6260-4F67-982C-979EF59F6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6" y="1580"/>
              <a:ext cx="72" cy="72"/>
            </a:xfrm>
            <a:custGeom>
              <a:avLst/>
              <a:gdLst>
                <a:gd name="T0" fmla="*/ 36 w 72"/>
                <a:gd name="T1" fmla="*/ 72 h 72"/>
                <a:gd name="T2" fmla="*/ 22 w 72"/>
                <a:gd name="T3" fmla="*/ 69 h 72"/>
                <a:gd name="T4" fmla="*/ 11 w 72"/>
                <a:gd name="T5" fmla="*/ 61 h 72"/>
                <a:gd name="T6" fmla="*/ 3 w 72"/>
                <a:gd name="T7" fmla="*/ 50 h 72"/>
                <a:gd name="T8" fmla="*/ 0 w 72"/>
                <a:gd name="T9" fmla="*/ 36 h 72"/>
                <a:gd name="T10" fmla="*/ 1 w 72"/>
                <a:gd name="T11" fmla="*/ 29 h 72"/>
                <a:gd name="T12" fmla="*/ 6 w 72"/>
                <a:gd name="T13" fmla="*/ 16 h 72"/>
                <a:gd name="T14" fmla="*/ 16 w 72"/>
                <a:gd name="T15" fmla="*/ 6 h 72"/>
                <a:gd name="T16" fmla="*/ 29 w 72"/>
                <a:gd name="T17" fmla="*/ 1 h 72"/>
                <a:gd name="T18" fmla="*/ 36 w 72"/>
                <a:gd name="T19" fmla="*/ 0 h 72"/>
                <a:gd name="T20" fmla="*/ 50 w 72"/>
                <a:gd name="T21" fmla="*/ 3 h 72"/>
                <a:gd name="T22" fmla="*/ 61 w 72"/>
                <a:gd name="T23" fmla="*/ 11 h 72"/>
                <a:gd name="T24" fmla="*/ 69 w 72"/>
                <a:gd name="T25" fmla="*/ 22 h 72"/>
                <a:gd name="T26" fmla="*/ 72 w 72"/>
                <a:gd name="T27" fmla="*/ 36 h 72"/>
                <a:gd name="T28" fmla="*/ 71 w 72"/>
                <a:gd name="T29" fmla="*/ 43 h 72"/>
                <a:gd name="T30" fmla="*/ 66 w 72"/>
                <a:gd name="T31" fmla="*/ 56 h 72"/>
                <a:gd name="T32" fmla="*/ 56 w 72"/>
                <a:gd name="T33" fmla="*/ 66 h 72"/>
                <a:gd name="T34" fmla="*/ 43 w 72"/>
                <a:gd name="T35" fmla="*/ 71 h 72"/>
                <a:gd name="T36" fmla="*/ 36 w 72"/>
                <a:gd name="T37" fmla="*/ 72 h 72"/>
                <a:gd name="T38" fmla="*/ 36 w 72"/>
                <a:gd name="T39" fmla="*/ 8 h 72"/>
                <a:gd name="T40" fmla="*/ 25 w 72"/>
                <a:gd name="T41" fmla="*/ 10 h 72"/>
                <a:gd name="T42" fmla="*/ 16 w 72"/>
                <a:gd name="T43" fmla="*/ 16 h 72"/>
                <a:gd name="T44" fmla="*/ 10 w 72"/>
                <a:gd name="T45" fmla="*/ 25 h 72"/>
                <a:gd name="T46" fmla="*/ 8 w 72"/>
                <a:gd name="T47" fmla="*/ 36 h 72"/>
                <a:gd name="T48" fmla="*/ 9 w 72"/>
                <a:gd name="T49" fmla="*/ 42 h 72"/>
                <a:gd name="T50" fmla="*/ 13 w 72"/>
                <a:gd name="T51" fmla="*/ 52 h 72"/>
                <a:gd name="T52" fmla="*/ 20 w 72"/>
                <a:gd name="T53" fmla="*/ 59 h 72"/>
                <a:gd name="T54" fmla="*/ 30 w 72"/>
                <a:gd name="T55" fmla="*/ 63 h 72"/>
                <a:gd name="T56" fmla="*/ 36 w 72"/>
                <a:gd name="T57" fmla="*/ 64 h 72"/>
                <a:gd name="T58" fmla="*/ 47 w 72"/>
                <a:gd name="T59" fmla="*/ 62 h 72"/>
                <a:gd name="T60" fmla="*/ 56 w 72"/>
                <a:gd name="T61" fmla="*/ 56 h 72"/>
                <a:gd name="T62" fmla="*/ 62 w 72"/>
                <a:gd name="T63" fmla="*/ 47 h 72"/>
                <a:gd name="T64" fmla="*/ 64 w 72"/>
                <a:gd name="T65" fmla="*/ 36 h 72"/>
                <a:gd name="T66" fmla="*/ 63 w 72"/>
                <a:gd name="T67" fmla="*/ 30 h 72"/>
                <a:gd name="T68" fmla="*/ 59 w 72"/>
                <a:gd name="T69" fmla="*/ 20 h 72"/>
                <a:gd name="T70" fmla="*/ 52 w 72"/>
                <a:gd name="T71" fmla="*/ 13 h 72"/>
                <a:gd name="T72" fmla="*/ 42 w 72"/>
                <a:gd name="T73" fmla="*/ 9 h 72"/>
                <a:gd name="T74" fmla="*/ 36 w 72"/>
                <a:gd name="T75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lnTo>
                    <a:pt x="36" y="72"/>
                  </a:lnTo>
                  <a:lnTo>
                    <a:pt x="29" y="71"/>
                  </a:lnTo>
                  <a:lnTo>
                    <a:pt x="22" y="69"/>
                  </a:lnTo>
                  <a:lnTo>
                    <a:pt x="16" y="66"/>
                  </a:lnTo>
                  <a:lnTo>
                    <a:pt x="11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29"/>
                  </a:lnTo>
                  <a:lnTo>
                    <a:pt x="3" y="22"/>
                  </a:lnTo>
                  <a:lnTo>
                    <a:pt x="6" y="16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2" y="3"/>
                  </a:lnTo>
                  <a:lnTo>
                    <a:pt x="29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1"/>
                  </a:lnTo>
                  <a:lnTo>
                    <a:pt x="50" y="3"/>
                  </a:lnTo>
                  <a:lnTo>
                    <a:pt x="56" y="6"/>
                  </a:lnTo>
                  <a:lnTo>
                    <a:pt x="61" y="11"/>
                  </a:lnTo>
                  <a:lnTo>
                    <a:pt x="66" y="16"/>
                  </a:lnTo>
                  <a:lnTo>
                    <a:pt x="69" y="22"/>
                  </a:lnTo>
                  <a:lnTo>
                    <a:pt x="71" y="29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43"/>
                  </a:lnTo>
                  <a:lnTo>
                    <a:pt x="69" y="50"/>
                  </a:lnTo>
                  <a:lnTo>
                    <a:pt x="66" y="56"/>
                  </a:lnTo>
                  <a:lnTo>
                    <a:pt x="61" y="61"/>
                  </a:lnTo>
                  <a:lnTo>
                    <a:pt x="56" y="66"/>
                  </a:lnTo>
                  <a:lnTo>
                    <a:pt x="50" y="69"/>
                  </a:lnTo>
                  <a:lnTo>
                    <a:pt x="43" y="71"/>
                  </a:lnTo>
                  <a:lnTo>
                    <a:pt x="36" y="72"/>
                  </a:lnTo>
                  <a:lnTo>
                    <a:pt x="36" y="72"/>
                  </a:lnTo>
                  <a:close/>
                  <a:moveTo>
                    <a:pt x="36" y="8"/>
                  </a:moveTo>
                  <a:lnTo>
                    <a:pt x="36" y="8"/>
                  </a:lnTo>
                  <a:lnTo>
                    <a:pt x="30" y="9"/>
                  </a:lnTo>
                  <a:lnTo>
                    <a:pt x="25" y="10"/>
                  </a:lnTo>
                  <a:lnTo>
                    <a:pt x="20" y="13"/>
                  </a:lnTo>
                  <a:lnTo>
                    <a:pt x="16" y="16"/>
                  </a:lnTo>
                  <a:lnTo>
                    <a:pt x="13" y="20"/>
                  </a:lnTo>
                  <a:lnTo>
                    <a:pt x="10" y="25"/>
                  </a:lnTo>
                  <a:lnTo>
                    <a:pt x="9" y="3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42"/>
                  </a:lnTo>
                  <a:lnTo>
                    <a:pt x="10" y="47"/>
                  </a:lnTo>
                  <a:lnTo>
                    <a:pt x="13" y="52"/>
                  </a:lnTo>
                  <a:lnTo>
                    <a:pt x="16" y="56"/>
                  </a:lnTo>
                  <a:lnTo>
                    <a:pt x="20" y="59"/>
                  </a:lnTo>
                  <a:lnTo>
                    <a:pt x="25" y="62"/>
                  </a:lnTo>
                  <a:lnTo>
                    <a:pt x="30" y="63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42" y="63"/>
                  </a:lnTo>
                  <a:lnTo>
                    <a:pt x="47" y="62"/>
                  </a:lnTo>
                  <a:lnTo>
                    <a:pt x="52" y="59"/>
                  </a:lnTo>
                  <a:lnTo>
                    <a:pt x="56" y="56"/>
                  </a:lnTo>
                  <a:lnTo>
                    <a:pt x="59" y="52"/>
                  </a:lnTo>
                  <a:lnTo>
                    <a:pt x="62" y="47"/>
                  </a:lnTo>
                  <a:lnTo>
                    <a:pt x="63" y="4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0"/>
                  </a:lnTo>
                  <a:lnTo>
                    <a:pt x="62" y="25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2" y="13"/>
                  </a:lnTo>
                  <a:lnTo>
                    <a:pt x="47" y="10"/>
                  </a:lnTo>
                  <a:lnTo>
                    <a:pt x="42" y="9"/>
                  </a:lnTo>
                  <a:lnTo>
                    <a:pt x="36" y="8"/>
                  </a:lnTo>
                  <a:lnTo>
                    <a:pt x="36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7" name="Freeform 148">
              <a:extLst>
                <a:ext uri="{FF2B5EF4-FFF2-40B4-BE49-F238E27FC236}">
                  <a16:creationId xmlns:a16="http://schemas.microsoft.com/office/drawing/2014/main" id="{AB5B97FE-EEF7-41EC-A4CD-D06155414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3" y="2055"/>
              <a:ext cx="178" cy="174"/>
            </a:xfrm>
            <a:custGeom>
              <a:avLst/>
              <a:gdLst>
                <a:gd name="T0" fmla="*/ 178 w 178"/>
                <a:gd name="T1" fmla="*/ 37 h 174"/>
                <a:gd name="T2" fmla="*/ 178 w 178"/>
                <a:gd name="T3" fmla="*/ 37 h 174"/>
                <a:gd name="T4" fmla="*/ 177 w 178"/>
                <a:gd name="T5" fmla="*/ 49 h 174"/>
                <a:gd name="T6" fmla="*/ 174 w 178"/>
                <a:gd name="T7" fmla="*/ 60 h 174"/>
                <a:gd name="T8" fmla="*/ 171 w 178"/>
                <a:gd name="T9" fmla="*/ 73 h 174"/>
                <a:gd name="T10" fmla="*/ 166 w 178"/>
                <a:gd name="T11" fmla="*/ 86 h 174"/>
                <a:gd name="T12" fmla="*/ 163 w 178"/>
                <a:gd name="T13" fmla="*/ 91 h 174"/>
                <a:gd name="T14" fmla="*/ 159 w 178"/>
                <a:gd name="T15" fmla="*/ 96 h 174"/>
                <a:gd name="T16" fmla="*/ 155 w 178"/>
                <a:gd name="T17" fmla="*/ 99 h 174"/>
                <a:gd name="T18" fmla="*/ 150 w 178"/>
                <a:gd name="T19" fmla="*/ 102 h 174"/>
                <a:gd name="T20" fmla="*/ 145 w 178"/>
                <a:gd name="T21" fmla="*/ 102 h 174"/>
                <a:gd name="T22" fmla="*/ 139 w 178"/>
                <a:gd name="T23" fmla="*/ 101 h 174"/>
                <a:gd name="T24" fmla="*/ 139 w 178"/>
                <a:gd name="T25" fmla="*/ 101 h 174"/>
                <a:gd name="T26" fmla="*/ 132 w 178"/>
                <a:gd name="T27" fmla="*/ 119 h 174"/>
                <a:gd name="T28" fmla="*/ 123 w 178"/>
                <a:gd name="T29" fmla="*/ 135 h 174"/>
                <a:gd name="T30" fmla="*/ 123 w 178"/>
                <a:gd name="T31" fmla="*/ 136 h 174"/>
                <a:gd name="T32" fmla="*/ 123 w 178"/>
                <a:gd name="T33" fmla="*/ 136 h 174"/>
                <a:gd name="T34" fmla="*/ 117 w 178"/>
                <a:gd name="T35" fmla="*/ 145 h 174"/>
                <a:gd name="T36" fmla="*/ 111 w 178"/>
                <a:gd name="T37" fmla="*/ 153 h 174"/>
                <a:gd name="T38" fmla="*/ 106 w 178"/>
                <a:gd name="T39" fmla="*/ 159 h 174"/>
                <a:gd name="T40" fmla="*/ 101 w 178"/>
                <a:gd name="T41" fmla="*/ 164 h 174"/>
                <a:gd name="T42" fmla="*/ 96 w 178"/>
                <a:gd name="T43" fmla="*/ 168 h 174"/>
                <a:gd name="T44" fmla="*/ 91 w 178"/>
                <a:gd name="T45" fmla="*/ 170 h 174"/>
                <a:gd name="T46" fmla="*/ 84 w 178"/>
                <a:gd name="T47" fmla="*/ 173 h 174"/>
                <a:gd name="T48" fmla="*/ 84 w 178"/>
                <a:gd name="T49" fmla="*/ 173 h 174"/>
                <a:gd name="T50" fmla="*/ 82 w 178"/>
                <a:gd name="T51" fmla="*/ 174 h 174"/>
                <a:gd name="T52" fmla="*/ 82 w 178"/>
                <a:gd name="T53" fmla="*/ 174 h 174"/>
                <a:gd name="T54" fmla="*/ 74 w 178"/>
                <a:gd name="T55" fmla="*/ 174 h 174"/>
                <a:gd name="T56" fmla="*/ 74 w 178"/>
                <a:gd name="T57" fmla="*/ 174 h 174"/>
                <a:gd name="T58" fmla="*/ 74 w 178"/>
                <a:gd name="T59" fmla="*/ 174 h 174"/>
                <a:gd name="T60" fmla="*/ 69 w 178"/>
                <a:gd name="T61" fmla="*/ 173 h 174"/>
                <a:gd name="T62" fmla="*/ 64 w 178"/>
                <a:gd name="T63" fmla="*/ 171 h 174"/>
                <a:gd name="T64" fmla="*/ 59 w 178"/>
                <a:gd name="T65" fmla="*/ 169 h 174"/>
                <a:gd name="T66" fmla="*/ 55 w 178"/>
                <a:gd name="T67" fmla="*/ 166 h 174"/>
                <a:gd name="T68" fmla="*/ 46 w 178"/>
                <a:gd name="T69" fmla="*/ 159 h 174"/>
                <a:gd name="T70" fmla="*/ 39 w 178"/>
                <a:gd name="T71" fmla="*/ 149 h 174"/>
                <a:gd name="T72" fmla="*/ 32 w 178"/>
                <a:gd name="T73" fmla="*/ 139 h 174"/>
                <a:gd name="T74" fmla="*/ 26 w 178"/>
                <a:gd name="T75" fmla="*/ 127 h 174"/>
                <a:gd name="T76" fmla="*/ 21 w 178"/>
                <a:gd name="T77" fmla="*/ 114 h 174"/>
                <a:gd name="T78" fmla="*/ 16 w 178"/>
                <a:gd name="T79" fmla="*/ 102 h 174"/>
                <a:gd name="T80" fmla="*/ 9 w 178"/>
                <a:gd name="T81" fmla="*/ 77 h 174"/>
                <a:gd name="T82" fmla="*/ 4 w 178"/>
                <a:gd name="T83" fmla="*/ 55 h 174"/>
                <a:gd name="T84" fmla="*/ 0 w 178"/>
                <a:gd name="T85" fmla="*/ 34 h 174"/>
                <a:gd name="T86" fmla="*/ 0 w 178"/>
                <a:gd name="T87" fmla="*/ 34 h 174"/>
                <a:gd name="T88" fmla="*/ 5 w 178"/>
                <a:gd name="T89" fmla="*/ 27 h 174"/>
                <a:gd name="T90" fmla="*/ 10 w 178"/>
                <a:gd name="T91" fmla="*/ 21 h 174"/>
                <a:gd name="T92" fmla="*/ 16 w 178"/>
                <a:gd name="T93" fmla="*/ 16 h 174"/>
                <a:gd name="T94" fmla="*/ 22 w 178"/>
                <a:gd name="T95" fmla="*/ 12 h 174"/>
                <a:gd name="T96" fmla="*/ 29 w 178"/>
                <a:gd name="T97" fmla="*/ 8 h 174"/>
                <a:gd name="T98" fmla="*/ 35 w 178"/>
                <a:gd name="T99" fmla="*/ 5 h 174"/>
                <a:gd name="T100" fmla="*/ 42 w 178"/>
                <a:gd name="T101" fmla="*/ 3 h 174"/>
                <a:gd name="T102" fmla="*/ 49 w 178"/>
                <a:gd name="T103" fmla="*/ 2 h 174"/>
                <a:gd name="T104" fmla="*/ 64 w 178"/>
                <a:gd name="T105" fmla="*/ 0 h 174"/>
                <a:gd name="T106" fmla="*/ 78 w 178"/>
                <a:gd name="T107" fmla="*/ 1 h 174"/>
                <a:gd name="T108" fmla="*/ 93 w 178"/>
                <a:gd name="T109" fmla="*/ 3 h 174"/>
                <a:gd name="T110" fmla="*/ 108 w 178"/>
                <a:gd name="T111" fmla="*/ 6 h 174"/>
                <a:gd name="T112" fmla="*/ 122 w 178"/>
                <a:gd name="T113" fmla="*/ 11 h 174"/>
                <a:gd name="T114" fmla="*/ 135 w 178"/>
                <a:gd name="T115" fmla="*/ 16 h 174"/>
                <a:gd name="T116" fmla="*/ 157 w 178"/>
                <a:gd name="T117" fmla="*/ 26 h 174"/>
                <a:gd name="T118" fmla="*/ 172 w 178"/>
                <a:gd name="T119" fmla="*/ 34 h 174"/>
                <a:gd name="T120" fmla="*/ 178 w 178"/>
                <a:gd name="T121" fmla="*/ 37 h 174"/>
                <a:gd name="T122" fmla="*/ 178 w 178"/>
                <a:gd name="T123" fmla="*/ 3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74">
                  <a:moveTo>
                    <a:pt x="178" y="37"/>
                  </a:moveTo>
                  <a:lnTo>
                    <a:pt x="178" y="37"/>
                  </a:lnTo>
                  <a:lnTo>
                    <a:pt x="177" y="49"/>
                  </a:lnTo>
                  <a:lnTo>
                    <a:pt x="174" y="60"/>
                  </a:lnTo>
                  <a:lnTo>
                    <a:pt x="171" y="73"/>
                  </a:lnTo>
                  <a:lnTo>
                    <a:pt x="166" y="86"/>
                  </a:lnTo>
                  <a:lnTo>
                    <a:pt x="163" y="91"/>
                  </a:lnTo>
                  <a:lnTo>
                    <a:pt x="159" y="96"/>
                  </a:lnTo>
                  <a:lnTo>
                    <a:pt x="155" y="99"/>
                  </a:lnTo>
                  <a:lnTo>
                    <a:pt x="150" y="102"/>
                  </a:lnTo>
                  <a:lnTo>
                    <a:pt x="145" y="102"/>
                  </a:lnTo>
                  <a:lnTo>
                    <a:pt x="139" y="101"/>
                  </a:lnTo>
                  <a:lnTo>
                    <a:pt x="139" y="101"/>
                  </a:lnTo>
                  <a:lnTo>
                    <a:pt x="132" y="119"/>
                  </a:lnTo>
                  <a:lnTo>
                    <a:pt x="123" y="135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17" y="145"/>
                  </a:lnTo>
                  <a:lnTo>
                    <a:pt x="111" y="153"/>
                  </a:lnTo>
                  <a:lnTo>
                    <a:pt x="106" y="159"/>
                  </a:lnTo>
                  <a:lnTo>
                    <a:pt x="101" y="164"/>
                  </a:lnTo>
                  <a:lnTo>
                    <a:pt x="96" y="168"/>
                  </a:lnTo>
                  <a:lnTo>
                    <a:pt x="91" y="170"/>
                  </a:lnTo>
                  <a:lnTo>
                    <a:pt x="84" y="173"/>
                  </a:lnTo>
                  <a:lnTo>
                    <a:pt x="84" y="173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69" y="173"/>
                  </a:lnTo>
                  <a:lnTo>
                    <a:pt x="64" y="171"/>
                  </a:lnTo>
                  <a:lnTo>
                    <a:pt x="59" y="169"/>
                  </a:lnTo>
                  <a:lnTo>
                    <a:pt x="55" y="166"/>
                  </a:lnTo>
                  <a:lnTo>
                    <a:pt x="46" y="159"/>
                  </a:lnTo>
                  <a:lnTo>
                    <a:pt x="39" y="149"/>
                  </a:lnTo>
                  <a:lnTo>
                    <a:pt x="32" y="139"/>
                  </a:lnTo>
                  <a:lnTo>
                    <a:pt x="26" y="127"/>
                  </a:lnTo>
                  <a:lnTo>
                    <a:pt x="21" y="114"/>
                  </a:lnTo>
                  <a:lnTo>
                    <a:pt x="16" y="102"/>
                  </a:lnTo>
                  <a:lnTo>
                    <a:pt x="9" y="77"/>
                  </a:lnTo>
                  <a:lnTo>
                    <a:pt x="4" y="5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5" y="27"/>
                  </a:lnTo>
                  <a:lnTo>
                    <a:pt x="10" y="21"/>
                  </a:lnTo>
                  <a:lnTo>
                    <a:pt x="16" y="16"/>
                  </a:lnTo>
                  <a:lnTo>
                    <a:pt x="22" y="12"/>
                  </a:lnTo>
                  <a:lnTo>
                    <a:pt x="29" y="8"/>
                  </a:lnTo>
                  <a:lnTo>
                    <a:pt x="35" y="5"/>
                  </a:lnTo>
                  <a:lnTo>
                    <a:pt x="42" y="3"/>
                  </a:lnTo>
                  <a:lnTo>
                    <a:pt x="49" y="2"/>
                  </a:lnTo>
                  <a:lnTo>
                    <a:pt x="64" y="0"/>
                  </a:lnTo>
                  <a:lnTo>
                    <a:pt x="78" y="1"/>
                  </a:lnTo>
                  <a:lnTo>
                    <a:pt x="93" y="3"/>
                  </a:lnTo>
                  <a:lnTo>
                    <a:pt x="108" y="6"/>
                  </a:lnTo>
                  <a:lnTo>
                    <a:pt x="122" y="11"/>
                  </a:lnTo>
                  <a:lnTo>
                    <a:pt x="135" y="16"/>
                  </a:lnTo>
                  <a:lnTo>
                    <a:pt x="157" y="26"/>
                  </a:lnTo>
                  <a:lnTo>
                    <a:pt x="172" y="34"/>
                  </a:lnTo>
                  <a:lnTo>
                    <a:pt x="178" y="37"/>
                  </a:lnTo>
                  <a:lnTo>
                    <a:pt x="178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8" name="Freeform 149">
              <a:extLst>
                <a:ext uri="{FF2B5EF4-FFF2-40B4-BE49-F238E27FC236}">
                  <a16:creationId xmlns:a16="http://schemas.microsoft.com/office/drawing/2014/main" id="{A571881C-99FD-4B9F-94FD-89F42C583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1" y="2157"/>
              <a:ext cx="92" cy="112"/>
            </a:xfrm>
            <a:custGeom>
              <a:avLst/>
              <a:gdLst>
                <a:gd name="T0" fmla="*/ 92 w 92"/>
                <a:gd name="T1" fmla="*/ 100 h 112"/>
                <a:gd name="T2" fmla="*/ 0 w 92"/>
                <a:gd name="T3" fmla="*/ 112 h 112"/>
                <a:gd name="T4" fmla="*/ 0 w 92"/>
                <a:gd name="T5" fmla="*/ 112 h 112"/>
                <a:gd name="T6" fmla="*/ 2 w 92"/>
                <a:gd name="T7" fmla="*/ 109 h 112"/>
                <a:gd name="T8" fmla="*/ 4 w 92"/>
                <a:gd name="T9" fmla="*/ 100 h 112"/>
                <a:gd name="T10" fmla="*/ 7 w 92"/>
                <a:gd name="T11" fmla="*/ 87 h 112"/>
                <a:gd name="T12" fmla="*/ 7 w 92"/>
                <a:gd name="T13" fmla="*/ 80 h 112"/>
                <a:gd name="T14" fmla="*/ 6 w 92"/>
                <a:gd name="T15" fmla="*/ 72 h 112"/>
                <a:gd name="T16" fmla="*/ 6 w 92"/>
                <a:gd name="T17" fmla="*/ 72 h 112"/>
                <a:gd name="T18" fmla="*/ 6 w 92"/>
                <a:gd name="T19" fmla="*/ 72 h 112"/>
                <a:gd name="T20" fmla="*/ 9 w 92"/>
                <a:gd name="T21" fmla="*/ 72 h 112"/>
                <a:gd name="T22" fmla="*/ 14 w 92"/>
                <a:gd name="T23" fmla="*/ 72 h 112"/>
                <a:gd name="T24" fmla="*/ 14 w 92"/>
                <a:gd name="T25" fmla="*/ 72 h 112"/>
                <a:gd name="T26" fmla="*/ 16 w 92"/>
                <a:gd name="T27" fmla="*/ 71 h 112"/>
                <a:gd name="T28" fmla="*/ 16 w 92"/>
                <a:gd name="T29" fmla="*/ 71 h 112"/>
                <a:gd name="T30" fmla="*/ 21 w 92"/>
                <a:gd name="T31" fmla="*/ 70 h 112"/>
                <a:gd name="T32" fmla="*/ 27 w 92"/>
                <a:gd name="T33" fmla="*/ 67 h 112"/>
                <a:gd name="T34" fmla="*/ 32 w 92"/>
                <a:gd name="T35" fmla="*/ 63 h 112"/>
                <a:gd name="T36" fmla="*/ 37 w 92"/>
                <a:gd name="T37" fmla="*/ 59 h 112"/>
                <a:gd name="T38" fmla="*/ 42 w 92"/>
                <a:gd name="T39" fmla="*/ 53 h 112"/>
                <a:gd name="T40" fmla="*/ 47 w 92"/>
                <a:gd name="T41" fmla="*/ 47 h 112"/>
                <a:gd name="T42" fmla="*/ 55 w 92"/>
                <a:gd name="T43" fmla="*/ 34 h 112"/>
                <a:gd name="T44" fmla="*/ 55 w 92"/>
                <a:gd name="T45" fmla="*/ 33 h 112"/>
                <a:gd name="T46" fmla="*/ 55 w 92"/>
                <a:gd name="T47" fmla="*/ 33 h 112"/>
                <a:gd name="T48" fmla="*/ 63 w 92"/>
                <a:gd name="T49" fmla="*/ 19 h 112"/>
                <a:gd name="T50" fmla="*/ 71 w 92"/>
                <a:gd name="T51" fmla="*/ 0 h 112"/>
                <a:gd name="T52" fmla="*/ 71 w 92"/>
                <a:gd name="T53" fmla="*/ 0 h 112"/>
                <a:gd name="T54" fmla="*/ 72 w 92"/>
                <a:gd name="T55" fmla="*/ 13 h 112"/>
                <a:gd name="T56" fmla="*/ 75 w 92"/>
                <a:gd name="T57" fmla="*/ 42 h 112"/>
                <a:gd name="T58" fmla="*/ 78 w 92"/>
                <a:gd name="T59" fmla="*/ 59 h 112"/>
                <a:gd name="T60" fmla="*/ 81 w 92"/>
                <a:gd name="T61" fmla="*/ 75 h 112"/>
                <a:gd name="T62" fmla="*/ 86 w 92"/>
                <a:gd name="T63" fmla="*/ 89 h 112"/>
                <a:gd name="T64" fmla="*/ 89 w 92"/>
                <a:gd name="T65" fmla="*/ 95 h 112"/>
                <a:gd name="T66" fmla="*/ 92 w 92"/>
                <a:gd name="T67" fmla="*/ 100 h 112"/>
                <a:gd name="T68" fmla="*/ 92 w 92"/>
                <a:gd name="T69" fmla="*/ 10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2" h="112">
                  <a:moveTo>
                    <a:pt x="92" y="100"/>
                  </a:moveTo>
                  <a:lnTo>
                    <a:pt x="0" y="112"/>
                  </a:lnTo>
                  <a:lnTo>
                    <a:pt x="0" y="112"/>
                  </a:lnTo>
                  <a:lnTo>
                    <a:pt x="2" y="109"/>
                  </a:lnTo>
                  <a:lnTo>
                    <a:pt x="4" y="100"/>
                  </a:lnTo>
                  <a:lnTo>
                    <a:pt x="7" y="87"/>
                  </a:lnTo>
                  <a:lnTo>
                    <a:pt x="7" y="8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21" y="70"/>
                  </a:lnTo>
                  <a:lnTo>
                    <a:pt x="27" y="67"/>
                  </a:lnTo>
                  <a:lnTo>
                    <a:pt x="32" y="63"/>
                  </a:lnTo>
                  <a:lnTo>
                    <a:pt x="37" y="59"/>
                  </a:lnTo>
                  <a:lnTo>
                    <a:pt x="42" y="53"/>
                  </a:lnTo>
                  <a:lnTo>
                    <a:pt x="47" y="47"/>
                  </a:lnTo>
                  <a:lnTo>
                    <a:pt x="55" y="34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63" y="19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13"/>
                  </a:lnTo>
                  <a:lnTo>
                    <a:pt x="75" y="42"/>
                  </a:lnTo>
                  <a:lnTo>
                    <a:pt x="78" y="59"/>
                  </a:lnTo>
                  <a:lnTo>
                    <a:pt x="81" y="75"/>
                  </a:lnTo>
                  <a:lnTo>
                    <a:pt x="86" y="89"/>
                  </a:lnTo>
                  <a:lnTo>
                    <a:pt x="89" y="95"/>
                  </a:lnTo>
                  <a:lnTo>
                    <a:pt x="92" y="100"/>
                  </a:lnTo>
                  <a:lnTo>
                    <a:pt x="92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69" name="Freeform 150">
              <a:extLst>
                <a:ext uri="{FF2B5EF4-FFF2-40B4-BE49-F238E27FC236}">
                  <a16:creationId xmlns:a16="http://schemas.microsoft.com/office/drawing/2014/main" id="{7384EF94-2D80-4998-8F4A-2580C2808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7" y="2191"/>
              <a:ext cx="39" cy="37"/>
            </a:xfrm>
            <a:custGeom>
              <a:avLst/>
              <a:gdLst>
                <a:gd name="T0" fmla="*/ 39 w 39"/>
                <a:gd name="T1" fmla="*/ 0 h 37"/>
                <a:gd name="T2" fmla="*/ 39 w 39"/>
                <a:gd name="T3" fmla="*/ 0 h 37"/>
                <a:gd name="T4" fmla="*/ 31 w 39"/>
                <a:gd name="T5" fmla="*/ 13 h 37"/>
                <a:gd name="T6" fmla="*/ 26 w 39"/>
                <a:gd name="T7" fmla="*/ 19 h 37"/>
                <a:gd name="T8" fmla="*/ 21 w 39"/>
                <a:gd name="T9" fmla="*/ 25 h 37"/>
                <a:gd name="T10" fmla="*/ 16 w 39"/>
                <a:gd name="T11" fmla="*/ 29 h 37"/>
                <a:gd name="T12" fmla="*/ 11 w 39"/>
                <a:gd name="T13" fmla="*/ 33 h 37"/>
                <a:gd name="T14" fmla="*/ 5 w 39"/>
                <a:gd name="T15" fmla="*/ 36 h 37"/>
                <a:gd name="T16" fmla="*/ 0 w 39"/>
                <a:gd name="T17" fmla="*/ 37 h 37"/>
                <a:gd name="T18" fmla="*/ 0 w 39"/>
                <a:gd name="T19" fmla="*/ 37 h 37"/>
                <a:gd name="T20" fmla="*/ 7 w 39"/>
                <a:gd name="T21" fmla="*/ 34 h 37"/>
                <a:gd name="T22" fmla="*/ 12 w 39"/>
                <a:gd name="T23" fmla="*/ 32 h 37"/>
                <a:gd name="T24" fmla="*/ 17 w 39"/>
                <a:gd name="T25" fmla="*/ 28 h 37"/>
                <a:gd name="T26" fmla="*/ 22 w 39"/>
                <a:gd name="T27" fmla="*/ 23 h 37"/>
                <a:gd name="T28" fmla="*/ 27 w 39"/>
                <a:gd name="T29" fmla="*/ 17 h 37"/>
                <a:gd name="T30" fmla="*/ 33 w 39"/>
                <a:gd name="T31" fmla="*/ 9 h 37"/>
                <a:gd name="T32" fmla="*/ 39 w 39"/>
                <a:gd name="T33" fmla="*/ 0 h 37"/>
                <a:gd name="T34" fmla="*/ 39 w 39"/>
                <a:gd name="T3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7">
                  <a:moveTo>
                    <a:pt x="39" y="0"/>
                  </a:moveTo>
                  <a:lnTo>
                    <a:pt x="39" y="0"/>
                  </a:lnTo>
                  <a:lnTo>
                    <a:pt x="31" y="13"/>
                  </a:lnTo>
                  <a:lnTo>
                    <a:pt x="26" y="19"/>
                  </a:lnTo>
                  <a:lnTo>
                    <a:pt x="21" y="25"/>
                  </a:lnTo>
                  <a:lnTo>
                    <a:pt x="16" y="29"/>
                  </a:lnTo>
                  <a:lnTo>
                    <a:pt x="11" y="33"/>
                  </a:lnTo>
                  <a:lnTo>
                    <a:pt x="5" y="3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7" y="34"/>
                  </a:lnTo>
                  <a:lnTo>
                    <a:pt x="12" y="32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7" y="17"/>
                  </a:lnTo>
                  <a:lnTo>
                    <a:pt x="33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0" name="Freeform 151">
              <a:extLst>
                <a:ext uri="{FF2B5EF4-FFF2-40B4-BE49-F238E27FC236}">
                  <a16:creationId xmlns:a16="http://schemas.microsoft.com/office/drawing/2014/main" id="{1440839E-C71E-4246-91A2-E1CA86B1F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5" y="2228"/>
              <a:ext cx="2" cy="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2 w 2"/>
                <a:gd name="T7" fmla="*/ 0 h 1"/>
                <a:gd name="T8" fmla="*/ 0 w 2"/>
                <a:gd name="T9" fmla="*/ 1 h 1"/>
                <a:gd name="T10" fmla="*/ 0 w 2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1" name="Freeform 152">
              <a:extLst>
                <a:ext uri="{FF2B5EF4-FFF2-40B4-BE49-F238E27FC236}">
                  <a16:creationId xmlns:a16="http://schemas.microsoft.com/office/drawing/2014/main" id="{A79B33DB-E91E-4331-8222-BB1C44181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" y="2189"/>
              <a:ext cx="53" cy="44"/>
            </a:xfrm>
            <a:custGeom>
              <a:avLst/>
              <a:gdLst>
                <a:gd name="T0" fmla="*/ 3 w 53"/>
                <a:gd name="T1" fmla="*/ 44 h 44"/>
                <a:gd name="T2" fmla="*/ 3 w 53"/>
                <a:gd name="T3" fmla="*/ 44 h 44"/>
                <a:gd name="T4" fmla="*/ 0 w 53"/>
                <a:gd name="T5" fmla="*/ 44 h 44"/>
                <a:gd name="T6" fmla="*/ 1 w 53"/>
                <a:gd name="T7" fmla="*/ 36 h 44"/>
                <a:gd name="T8" fmla="*/ 1 w 53"/>
                <a:gd name="T9" fmla="*/ 36 h 44"/>
                <a:gd name="T10" fmla="*/ 8 w 53"/>
                <a:gd name="T11" fmla="*/ 36 h 44"/>
                <a:gd name="T12" fmla="*/ 8 w 53"/>
                <a:gd name="T13" fmla="*/ 36 h 44"/>
                <a:gd name="T14" fmla="*/ 9 w 53"/>
                <a:gd name="T15" fmla="*/ 35 h 44"/>
                <a:gd name="T16" fmla="*/ 9 w 53"/>
                <a:gd name="T17" fmla="*/ 35 h 44"/>
                <a:gd name="T18" fmla="*/ 13 w 53"/>
                <a:gd name="T19" fmla="*/ 34 h 44"/>
                <a:gd name="T20" fmla="*/ 18 w 53"/>
                <a:gd name="T21" fmla="*/ 32 h 44"/>
                <a:gd name="T22" fmla="*/ 23 w 53"/>
                <a:gd name="T23" fmla="*/ 29 h 44"/>
                <a:gd name="T24" fmla="*/ 27 w 53"/>
                <a:gd name="T25" fmla="*/ 25 h 44"/>
                <a:gd name="T26" fmla="*/ 37 w 53"/>
                <a:gd name="T27" fmla="*/ 14 h 44"/>
                <a:gd name="T28" fmla="*/ 46 w 53"/>
                <a:gd name="T29" fmla="*/ 0 h 44"/>
                <a:gd name="T30" fmla="*/ 53 w 53"/>
                <a:gd name="T31" fmla="*/ 4 h 44"/>
                <a:gd name="T32" fmla="*/ 53 w 53"/>
                <a:gd name="T33" fmla="*/ 4 h 44"/>
                <a:gd name="T34" fmla="*/ 43 w 53"/>
                <a:gd name="T35" fmla="*/ 19 h 44"/>
                <a:gd name="T36" fmla="*/ 38 w 53"/>
                <a:gd name="T37" fmla="*/ 26 h 44"/>
                <a:gd name="T38" fmla="*/ 32 w 53"/>
                <a:gd name="T39" fmla="*/ 31 h 44"/>
                <a:gd name="T40" fmla="*/ 27 w 53"/>
                <a:gd name="T41" fmla="*/ 35 h 44"/>
                <a:gd name="T42" fmla="*/ 22 w 53"/>
                <a:gd name="T43" fmla="*/ 39 h 44"/>
                <a:gd name="T44" fmla="*/ 16 w 53"/>
                <a:gd name="T45" fmla="*/ 42 h 44"/>
                <a:gd name="T46" fmla="*/ 11 w 53"/>
                <a:gd name="T47" fmla="*/ 43 h 44"/>
                <a:gd name="T48" fmla="*/ 11 w 53"/>
                <a:gd name="T49" fmla="*/ 43 h 44"/>
                <a:gd name="T50" fmla="*/ 9 w 53"/>
                <a:gd name="T51" fmla="*/ 44 h 44"/>
                <a:gd name="T52" fmla="*/ 9 w 53"/>
                <a:gd name="T53" fmla="*/ 44 h 44"/>
                <a:gd name="T54" fmla="*/ 3 w 53"/>
                <a:gd name="T55" fmla="*/ 44 h 44"/>
                <a:gd name="T56" fmla="*/ 3 w 53"/>
                <a:gd name="T5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3" h="44">
                  <a:moveTo>
                    <a:pt x="3" y="44"/>
                  </a:moveTo>
                  <a:lnTo>
                    <a:pt x="3" y="44"/>
                  </a:lnTo>
                  <a:lnTo>
                    <a:pt x="0" y="44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3" y="34"/>
                  </a:lnTo>
                  <a:lnTo>
                    <a:pt x="18" y="32"/>
                  </a:lnTo>
                  <a:lnTo>
                    <a:pt x="23" y="29"/>
                  </a:lnTo>
                  <a:lnTo>
                    <a:pt x="27" y="25"/>
                  </a:lnTo>
                  <a:lnTo>
                    <a:pt x="37" y="14"/>
                  </a:lnTo>
                  <a:lnTo>
                    <a:pt x="46" y="0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3" y="19"/>
                  </a:lnTo>
                  <a:lnTo>
                    <a:pt x="38" y="26"/>
                  </a:lnTo>
                  <a:lnTo>
                    <a:pt x="32" y="31"/>
                  </a:lnTo>
                  <a:lnTo>
                    <a:pt x="27" y="35"/>
                  </a:lnTo>
                  <a:lnTo>
                    <a:pt x="22" y="39"/>
                  </a:lnTo>
                  <a:lnTo>
                    <a:pt x="16" y="42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3" y="44"/>
                  </a:lnTo>
                  <a:lnTo>
                    <a:pt x="3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2" name="Freeform 153">
              <a:extLst>
                <a:ext uri="{FF2B5EF4-FFF2-40B4-BE49-F238E27FC236}">
                  <a16:creationId xmlns:a16="http://schemas.microsoft.com/office/drawing/2014/main" id="{60992768-32D6-48B7-BF80-8FB67F38C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" y="2052"/>
              <a:ext cx="186" cy="181"/>
            </a:xfrm>
            <a:custGeom>
              <a:avLst/>
              <a:gdLst>
                <a:gd name="T0" fmla="*/ 78 w 186"/>
                <a:gd name="T1" fmla="*/ 181 h 181"/>
                <a:gd name="T2" fmla="*/ 67 w 186"/>
                <a:gd name="T3" fmla="*/ 178 h 181"/>
                <a:gd name="T4" fmla="*/ 58 w 186"/>
                <a:gd name="T5" fmla="*/ 173 h 181"/>
                <a:gd name="T6" fmla="*/ 41 w 186"/>
                <a:gd name="T7" fmla="*/ 156 h 181"/>
                <a:gd name="T8" fmla="*/ 28 w 186"/>
                <a:gd name="T9" fmla="*/ 134 h 181"/>
                <a:gd name="T10" fmla="*/ 17 w 186"/>
                <a:gd name="T11" fmla="*/ 109 h 181"/>
                <a:gd name="T12" fmla="*/ 4 w 186"/>
                <a:gd name="T13" fmla="*/ 61 h 181"/>
                <a:gd name="T14" fmla="*/ 0 w 186"/>
                <a:gd name="T15" fmla="*/ 37 h 181"/>
                <a:gd name="T16" fmla="*/ 1 w 186"/>
                <a:gd name="T17" fmla="*/ 35 h 181"/>
                <a:gd name="T18" fmla="*/ 6 w 186"/>
                <a:gd name="T19" fmla="*/ 28 h 181"/>
                <a:gd name="T20" fmla="*/ 17 w 186"/>
                <a:gd name="T21" fmla="*/ 16 h 181"/>
                <a:gd name="T22" fmla="*/ 30 w 186"/>
                <a:gd name="T23" fmla="*/ 8 h 181"/>
                <a:gd name="T24" fmla="*/ 44 w 186"/>
                <a:gd name="T25" fmla="*/ 3 h 181"/>
                <a:gd name="T26" fmla="*/ 66 w 186"/>
                <a:gd name="T27" fmla="*/ 0 h 181"/>
                <a:gd name="T28" fmla="*/ 96 w 186"/>
                <a:gd name="T29" fmla="*/ 2 h 181"/>
                <a:gd name="T30" fmla="*/ 126 w 186"/>
                <a:gd name="T31" fmla="*/ 10 h 181"/>
                <a:gd name="T32" fmla="*/ 162 w 186"/>
                <a:gd name="T33" fmla="*/ 25 h 181"/>
                <a:gd name="T34" fmla="*/ 184 w 186"/>
                <a:gd name="T35" fmla="*/ 37 h 181"/>
                <a:gd name="T36" fmla="*/ 186 w 186"/>
                <a:gd name="T37" fmla="*/ 40 h 181"/>
                <a:gd name="T38" fmla="*/ 185 w 186"/>
                <a:gd name="T39" fmla="*/ 49 h 181"/>
                <a:gd name="T40" fmla="*/ 181 w 186"/>
                <a:gd name="T41" fmla="*/ 69 h 181"/>
                <a:gd name="T42" fmla="*/ 174 w 186"/>
                <a:gd name="T43" fmla="*/ 90 h 181"/>
                <a:gd name="T44" fmla="*/ 165 w 186"/>
                <a:gd name="T45" fmla="*/ 103 h 181"/>
                <a:gd name="T46" fmla="*/ 161 w 186"/>
                <a:gd name="T47" fmla="*/ 106 h 181"/>
                <a:gd name="T48" fmla="*/ 154 w 186"/>
                <a:gd name="T49" fmla="*/ 109 h 181"/>
                <a:gd name="T50" fmla="*/ 145 w 186"/>
                <a:gd name="T51" fmla="*/ 109 h 181"/>
                <a:gd name="T52" fmla="*/ 138 w 186"/>
                <a:gd name="T53" fmla="*/ 126 h 181"/>
                <a:gd name="T54" fmla="*/ 124 w 186"/>
                <a:gd name="T55" fmla="*/ 136 h 181"/>
                <a:gd name="T56" fmla="*/ 132 w 186"/>
                <a:gd name="T57" fmla="*/ 121 h 181"/>
                <a:gd name="T58" fmla="*/ 141 w 186"/>
                <a:gd name="T59" fmla="*/ 99 h 181"/>
                <a:gd name="T60" fmla="*/ 144 w 186"/>
                <a:gd name="T61" fmla="*/ 101 h 181"/>
                <a:gd name="T62" fmla="*/ 151 w 186"/>
                <a:gd name="T63" fmla="*/ 101 h 181"/>
                <a:gd name="T64" fmla="*/ 157 w 186"/>
                <a:gd name="T65" fmla="*/ 99 h 181"/>
                <a:gd name="T66" fmla="*/ 161 w 186"/>
                <a:gd name="T67" fmla="*/ 94 h 181"/>
                <a:gd name="T68" fmla="*/ 169 w 186"/>
                <a:gd name="T69" fmla="*/ 81 h 181"/>
                <a:gd name="T70" fmla="*/ 176 w 186"/>
                <a:gd name="T71" fmla="*/ 56 h 181"/>
                <a:gd name="T72" fmla="*/ 178 w 186"/>
                <a:gd name="T73" fmla="*/ 42 h 181"/>
                <a:gd name="T74" fmla="*/ 151 w 186"/>
                <a:gd name="T75" fmla="*/ 28 h 181"/>
                <a:gd name="T76" fmla="*/ 116 w 186"/>
                <a:gd name="T77" fmla="*/ 15 h 181"/>
                <a:gd name="T78" fmla="*/ 90 w 186"/>
                <a:gd name="T79" fmla="*/ 9 h 181"/>
                <a:gd name="T80" fmla="*/ 64 w 186"/>
                <a:gd name="T81" fmla="*/ 8 h 181"/>
                <a:gd name="T82" fmla="*/ 39 w 186"/>
                <a:gd name="T83" fmla="*/ 13 h 181"/>
                <a:gd name="T84" fmla="*/ 28 w 186"/>
                <a:gd name="T85" fmla="*/ 19 h 181"/>
                <a:gd name="T86" fmla="*/ 17 w 186"/>
                <a:gd name="T87" fmla="*/ 27 h 181"/>
                <a:gd name="T88" fmla="*/ 8 w 186"/>
                <a:gd name="T89" fmla="*/ 38 h 181"/>
                <a:gd name="T90" fmla="*/ 10 w 186"/>
                <a:gd name="T91" fmla="*/ 48 h 181"/>
                <a:gd name="T92" fmla="*/ 18 w 186"/>
                <a:gd name="T93" fmla="*/ 85 h 181"/>
                <a:gd name="T94" fmla="*/ 30 w 186"/>
                <a:gd name="T95" fmla="*/ 120 h 181"/>
                <a:gd name="T96" fmla="*/ 41 w 186"/>
                <a:gd name="T97" fmla="*/ 142 h 181"/>
                <a:gd name="T98" fmla="*/ 54 w 186"/>
                <a:gd name="T99" fmla="*/ 160 h 181"/>
                <a:gd name="T100" fmla="*/ 70 w 186"/>
                <a:gd name="T101" fmla="*/ 171 h 181"/>
                <a:gd name="T102" fmla="*/ 79 w 186"/>
                <a:gd name="T103" fmla="*/ 17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" h="181">
                  <a:moveTo>
                    <a:pt x="78" y="181"/>
                  </a:moveTo>
                  <a:lnTo>
                    <a:pt x="78" y="181"/>
                  </a:lnTo>
                  <a:lnTo>
                    <a:pt x="72" y="180"/>
                  </a:lnTo>
                  <a:lnTo>
                    <a:pt x="67" y="178"/>
                  </a:lnTo>
                  <a:lnTo>
                    <a:pt x="62" y="176"/>
                  </a:lnTo>
                  <a:lnTo>
                    <a:pt x="58" y="173"/>
                  </a:lnTo>
                  <a:lnTo>
                    <a:pt x="49" y="166"/>
                  </a:lnTo>
                  <a:lnTo>
                    <a:pt x="41" y="156"/>
                  </a:lnTo>
                  <a:lnTo>
                    <a:pt x="34" y="146"/>
                  </a:lnTo>
                  <a:lnTo>
                    <a:pt x="28" y="134"/>
                  </a:lnTo>
                  <a:lnTo>
                    <a:pt x="22" y="122"/>
                  </a:lnTo>
                  <a:lnTo>
                    <a:pt x="17" y="109"/>
                  </a:lnTo>
                  <a:lnTo>
                    <a:pt x="9" y="84"/>
                  </a:lnTo>
                  <a:lnTo>
                    <a:pt x="4" y="61"/>
                  </a:lnTo>
                  <a:lnTo>
                    <a:pt x="1" y="45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6" y="28"/>
                  </a:lnTo>
                  <a:lnTo>
                    <a:pt x="11" y="22"/>
                  </a:lnTo>
                  <a:lnTo>
                    <a:pt x="17" y="16"/>
                  </a:lnTo>
                  <a:lnTo>
                    <a:pt x="23" y="12"/>
                  </a:lnTo>
                  <a:lnTo>
                    <a:pt x="30" y="8"/>
                  </a:lnTo>
                  <a:lnTo>
                    <a:pt x="37" y="5"/>
                  </a:lnTo>
                  <a:lnTo>
                    <a:pt x="44" y="3"/>
                  </a:lnTo>
                  <a:lnTo>
                    <a:pt x="51" y="1"/>
                  </a:lnTo>
                  <a:lnTo>
                    <a:pt x="66" y="0"/>
                  </a:lnTo>
                  <a:lnTo>
                    <a:pt x="81" y="0"/>
                  </a:lnTo>
                  <a:lnTo>
                    <a:pt x="96" y="2"/>
                  </a:lnTo>
                  <a:lnTo>
                    <a:pt x="111" y="5"/>
                  </a:lnTo>
                  <a:lnTo>
                    <a:pt x="126" y="10"/>
                  </a:lnTo>
                  <a:lnTo>
                    <a:pt x="139" y="15"/>
                  </a:lnTo>
                  <a:lnTo>
                    <a:pt x="162" y="25"/>
                  </a:lnTo>
                  <a:lnTo>
                    <a:pt x="178" y="33"/>
                  </a:lnTo>
                  <a:lnTo>
                    <a:pt x="184" y="37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85" y="49"/>
                  </a:lnTo>
                  <a:lnTo>
                    <a:pt x="183" y="58"/>
                  </a:lnTo>
                  <a:lnTo>
                    <a:pt x="181" y="69"/>
                  </a:lnTo>
                  <a:lnTo>
                    <a:pt x="178" y="79"/>
                  </a:lnTo>
                  <a:lnTo>
                    <a:pt x="174" y="90"/>
                  </a:lnTo>
                  <a:lnTo>
                    <a:pt x="168" y="99"/>
                  </a:lnTo>
                  <a:lnTo>
                    <a:pt x="165" y="103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57" y="108"/>
                  </a:lnTo>
                  <a:lnTo>
                    <a:pt x="154" y="109"/>
                  </a:lnTo>
                  <a:lnTo>
                    <a:pt x="150" y="109"/>
                  </a:lnTo>
                  <a:lnTo>
                    <a:pt x="145" y="109"/>
                  </a:lnTo>
                  <a:lnTo>
                    <a:pt x="145" y="109"/>
                  </a:lnTo>
                  <a:lnTo>
                    <a:pt x="138" y="126"/>
                  </a:lnTo>
                  <a:lnTo>
                    <a:pt x="131" y="140"/>
                  </a:lnTo>
                  <a:lnTo>
                    <a:pt x="124" y="136"/>
                  </a:lnTo>
                  <a:lnTo>
                    <a:pt x="124" y="136"/>
                  </a:lnTo>
                  <a:lnTo>
                    <a:pt x="132" y="121"/>
                  </a:lnTo>
                  <a:lnTo>
                    <a:pt x="139" y="103"/>
                  </a:lnTo>
                  <a:lnTo>
                    <a:pt x="141" y="99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8" y="101"/>
                  </a:lnTo>
                  <a:lnTo>
                    <a:pt x="151" y="101"/>
                  </a:lnTo>
                  <a:lnTo>
                    <a:pt x="154" y="100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61" y="94"/>
                  </a:lnTo>
                  <a:lnTo>
                    <a:pt x="165" y="88"/>
                  </a:lnTo>
                  <a:lnTo>
                    <a:pt x="169" y="81"/>
                  </a:lnTo>
                  <a:lnTo>
                    <a:pt x="172" y="73"/>
                  </a:lnTo>
                  <a:lnTo>
                    <a:pt x="176" y="56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68" y="36"/>
                  </a:lnTo>
                  <a:lnTo>
                    <a:pt x="151" y="28"/>
                  </a:lnTo>
                  <a:lnTo>
                    <a:pt x="129" y="19"/>
                  </a:lnTo>
                  <a:lnTo>
                    <a:pt x="116" y="15"/>
                  </a:lnTo>
                  <a:lnTo>
                    <a:pt x="104" y="12"/>
                  </a:lnTo>
                  <a:lnTo>
                    <a:pt x="90" y="9"/>
                  </a:lnTo>
                  <a:lnTo>
                    <a:pt x="77" y="8"/>
                  </a:lnTo>
                  <a:lnTo>
                    <a:pt x="64" y="8"/>
                  </a:lnTo>
                  <a:lnTo>
                    <a:pt x="51" y="9"/>
                  </a:lnTo>
                  <a:lnTo>
                    <a:pt x="39" y="13"/>
                  </a:lnTo>
                  <a:lnTo>
                    <a:pt x="33" y="15"/>
                  </a:lnTo>
                  <a:lnTo>
                    <a:pt x="28" y="19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0" y="48"/>
                  </a:lnTo>
                  <a:lnTo>
                    <a:pt x="13" y="64"/>
                  </a:lnTo>
                  <a:lnTo>
                    <a:pt x="18" y="85"/>
                  </a:lnTo>
                  <a:lnTo>
                    <a:pt x="26" y="109"/>
                  </a:lnTo>
                  <a:lnTo>
                    <a:pt x="30" y="120"/>
                  </a:lnTo>
                  <a:lnTo>
                    <a:pt x="35" y="132"/>
                  </a:lnTo>
                  <a:lnTo>
                    <a:pt x="41" y="142"/>
                  </a:lnTo>
                  <a:lnTo>
                    <a:pt x="47" y="151"/>
                  </a:lnTo>
                  <a:lnTo>
                    <a:pt x="54" y="160"/>
                  </a:lnTo>
                  <a:lnTo>
                    <a:pt x="61" y="166"/>
                  </a:lnTo>
                  <a:lnTo>
                    <a:pt x="70" y="171"/>
                  </a:lnTo>
                  <a:lnTo>
                    <a:pt x="74" y="172"/>
                  </a:lnTo>
                  <a:lnTo>
                    <a:pt x="79" y="173"/>
                  </a:lnTo>
                  <a:lnTo>
                    <a:pt x="78" y="1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3" name="Freeform 154">
              <a:extLst>
                <a:ext uri="{FF2B5EF4-FFF2-40B4-BE49-F238E27FC236}">
                  <a16:creationId xmlns:a16="http://schemas.microsoft.com/office/drawing/2014/main" id="{39E1C29A-3A44-40BC-B4F6-9192D21623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7" y="2153"/>
              <a:ext cx="100" cy="120"/>
            </a:xfrm>
            <a:custGeom>
              <a:avLst/>
              <a:gdLst>
                <a:gd name="T0" fmla="*/ 4 w 100"/>
                <a:gd name="T1" fmla="*/ 120 h 120"/>
                <a:gd name="T2" fmla="*/ 1 w 100"/>
                <a:gd name="T3" fmla="*/ 119 h 120"/>
                <a:gd name="T4" fmla="*/ 0 w 100"/>
                <a:gd name="T5" fmla="*/ 117 h 120"/>
                <a:gd name="T6" fmla="*/ 1 w 100"/>
                <a:gd name="T7" fmla="*/ 114 h 120"/>
                <a:gd name="T8" fmla="*/ 4 w 100"/>
                <a:gd name="T9" fmla="*/ 103 h 120"/>
                <a:gd name="T10" fmla="*/ 7 w 100"/>
                <a:gd name="T11" fmla="*/ 84 h 120"/>
                <a:gd name="T12" fmla="*/ 6 w 100"/>
                <a:gd name="T13" fmla="*/ 76 h 120"/>
                <a:gd name="T14" fmla="*/ 8 w 100"/>
                <a:gd name="T15" fmla="*/ 73 h 120"/>
                <a:gd name="T16" fmla="*/ 9 w 100"/>
                <a:gd name="T17" fmla="*/ 72 h 120"/>
                <a:gd name="T18" fmla="*/ 11 w 100"/>
                <a:gd name="T19" fmla="*/ 72 h 120"/>
                <a:gd name="T20" fmla="*/ 13 w 100"/>
                <a:gd name="T21" fmla="*/ 72 h 120"/>
                <a:gd name="T22" fmla="*/ 17 w 100"/>
                <a:gd name="T23" fmla="*/ 72 h 120"/>
                <a:gd name="T24" fmla="*/ 19 w 100"/>
                <a:gd name="T25" fmla="*/ 71 h 120"/>
                <a:gd name="T26" fmla="*/ 30 w 100"/>
                <a:gd name="T27" fmla="*/ 66 h 120"/>
                <a:gd name="T28" fmla="*/ 40 w 100"/>
                <a:gd name="T29" fmla="*/ 58 h 120"/>
                <a:gd name="T30" fmla="*/ 50 w 100"/>
                <a:gd name="T31" fmla="*/ 45 h 120"/>
                <a:gd name="T32" fmla="*/ 56 w 100"/>
                <a:gd name="T33" fmla="*/ 35 h 120"/>
                <a:gd name="T34" fmla="*/ 56 w 100"/>
                <a:gd name="T35" fmla="*/ 35 h 120"/>
                <a:gd name="T36" fmla="*/ 72 w 100"/>
                <a:gd name="T37" fmla="*/ 3 h 120"/>
                <a:gd name="T38" fmla="*/ 73 w 100"/>
                <a:gd name="T39" fmla="*/ 1 h 120"/>
                <a:gd name="T40" fmla="*/ 76 w 100"/>
                <a:gd name="T41" fmla="*/ 0 h 120"/>
                <a:gd name="T42" fmla="*/ 79 w 100"/>
                <a:gd name="T43" fmla="*/ 4 h 120"/>
                <a:gd name="T44" fmla="*/ 80 w 100"/>
                <a:gd name="T45" fmla="*/ 17 h 120"/>
                <a:gd name="T46" fmla="*/ 86 w 100"/>
                <a:gd name="T47" fmla="*/ 62 h 120"/>
                <a:gd name="T48" fmla="*/ 94 w 100"/>
                <a:gd name="T49" fmla="*/ 91 h 120"/>
                <a:gd name="T50" fmla="*/ 99 w 100"/>
                <a:gd name="T51" fmla="*/ 101 h 120"/>
                <a:gd name="T52" fmla="*/ 100 w 100"/>
                <a:gd name="T53" fmla="*/ 103 h 120"/>
                <a:gd name="T54" fmla="*/ 100 w 100"/>
                <a:gd name="T55" fmla="*/ 105 h 120"/>
                <a:gd name="T56" fmla="*/ 97 w 100"/>
                <a:gd name="T57" fmla="*/ 108 h 120"/>
                <a:gd name="T58" fmla="*/ 4 w 100"/>
                <a:gd name="T59" fmla="*/ 120 h 120"/>
                <a:gd name="T60" fmla="*/ 15 w 100"/>
                <a:gd name="T61" fmla="*/ 80 h 120"/>
                <a:gd name="T62" fmla="*/ 14 w 100"/>
                <a:gd name="T63" fmla="*/ 98 h 120"/>
                <a:gd name="T64" fmla="*/ 10 w 100"/>
                <a:gd name="T65" fmla="*/ 111 h 120"/>
                <a:gd name="T66" fmla="*/ 89 w 100"/>
                <a:gd name="T67" fmla="*/ 101 h 120"/>
                <a:gd name="T68" fmla="*/ 82 w 100"/>
                <a:gd name="T69" fmla="*/ 83 h 120"/>
                <a:gd name="T70" fmla="*/ 78 w 100"/>
                <a:gd name="T71" fmla="*/ 62 h 120"/>
                <a:gd name="T72" fmla="*/ 72 w 100"/>
                <a:gd name="T73" fmla="*/ 21 h 120"/>
                <a:gd name="T74" fmla="*/ 63 w 100"/>
                <a:gd name="T75" fmla="*/ 39 h 120"/>
                <a:gd name="T76" fmla="*/ 63 w 100"/>
                <a:gd name="T77" fmla="*/ 40 h 120"/>
                <a:gd name="T78" fmla="*/ 56 w 100"/>
                <a:gd name="T79" fmla="*/ 49 h 120"/>
                <a:gd name="T80" fmla="*/ 45 w 100"/>
                <a:gd name="T81" fmla="*/ 64 h 120"/>
                <a:gd name="T82" fmla="*/ 34 w 100"/>
                <a:gd name="T83" fmla="*/ 73 h 120"/>
                <a:gd name="T84" fmla="*/ 21 w 100"/>
                <a:gd name="T85" fmla="*/ 79 h 120"/>
                <a:gd name="T86" fmla="*/ 19 w 100"/>
                <a:gd name="T87" fmla="*/ 80 h 120"/>
                <a:gd name="T88" fmla="*/ 15 w 100"/>
                <a:gd name="T89" fmla="*/ 80 h 120"/>
                <a:gd name="T90" fmla="*/ 59 w 100"/>
                <a:gd name="T91" fmla="*/ 37 h 120"/>
                <a:gd name="T92" fmla="*/ 59 w 100"/>
                <a:gd name="T93" fmla="*/ 3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20">
                  <a:moveTo>
                    <a:pt x="4" y="120"/>
                  </a:moveTo>
                  <a:lnTo>
                    <a:pt x="4" y="120"/>
                  </a:lnTo>
                  <a:lnTo>
                    <a:pt x="2" y="120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0" y="117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2" y="111"/>
                  </a:lnTo>
                  <a:lnTo>
                    <a:pt x="4" y="103"/>
                  </a:lnTo>
                  <a:lnTo>
                    <a:pt x="7" y="91"/>
                  </a:lnTo>
                  <a:lnTo>
                    <a:pt x="7" y="8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4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9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3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26" y="69"/>
                  </a:lnTo>
                  <a:lnTo>
                    <a:pt x="30" y="66"/>
                  </a:lnTo>
                  <a:lnTo>
                    <a:pt x="35" y="62"/>
                  </a:lnTo>
                  <a:lnTo>
                    <a:pt x="40" y="58"/>
                  </a:lnTo>
                  <a:lnTo>
                    <a:pt x="45" y="52"/>
                  </a:lnTo>
                  <a:lnTo>
                    <a:pt x="50" y="45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64" y="20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0" y="17"/>
                  </a:lnTo>
                  <a:lnTo>
                    <a:pt x="83" y="45"/>
                  </a:lnTo>
                  <a:lnTo>
                    <a:pt x="86" y="62"/>
                  </a:lnTo>
                  <a:lnTo>
                    <a:pt x="89" y="78"/>
                  </a:lnTo>
                  <a:lnTo>
                    <a:pt x="94" y="91"/>
                  </a:lnTo>
                  <a:lnTo>
                    <a:pt x="96" y="97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00" y="103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99" y="107"/>
                  </a:lnTo>
                  <a:lnTo>
                    <a:pt x="97" y="108"/>
                  </a:lnTo>
                  <a:lnTo>
                    <a:pt x="5" y="120"/>
                  </a:lnTo>
                  <a:lnTo>
                    <a:pt x="4" y="120"/>
                  </a:lnTo>
                  <a:close/>
                  <a:moveTo>
                    <a:pt x="15" y="80"/>
                  </a:moveTo>
                  <a:lnTo>
                    <a:pt x="15" y="80"/>
                  </a:lnTo>
                  <a:lnTo>
                    <a:pt x="15" y="90"/>
                  </a:lnTo>
                  <a:lnTo>
                    <a:pt x="14" y="98"/>
                  </a:lnTo>
                  <a:lnTo>
                    <a:pt x="12" y="105"/>
                  </a:lnTo>
                  <a:lnTo>
                    <a:pt x="10" y="111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86" y="93"/>
                  </a:lnTo>
                  <a:lnTo>
                    <a:pt x="82" y="83"/>
                  </a:lnTo>
                  <a:lnTo>
                    <a:pt x="80" y="73"/>
                  </a:lnTo>
                  <a:lnTo>
                    <a:pt x="78" y="62"/>
                  </a:lnTo>
                  <a:lnTo>
                    <a:pt x="74" y="40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63" y="39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6" y="49"/>
                  </a:lnTo>
                  <a:lnTo>
                    <a:pt x="50" y="57"/>
                  </a:lnTo>
                  <a:lnTo>
                    <a:pt x="45" y="64"/>
                  </a:lnTo>
                  <a:lnTo>
                    <a:pt x="39" y="69"/>
                  </a:lnTo>
                  <a:lnTo>
                    <a:pt x="34" y="73"/>
                  </a:lnTo>
                  <a:lnTo>
                    <a:pt x="29" y="76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15" y="80"/>
                  </a:lnTo>
                  <a:lnTo>
                    <a:pt x="15" y="80"/>
                  </a:lnTo>
                  <a:close/>
                  <a:moveTo>
                    <a:pt x="59" y="37"/>
                  </a:moveTo>
                  <a:lnTo>
                    <a:pt x="59" y="37"/>
                  </a:lnTo>
                  <a:lnTo>
                    <a:pt x="5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4" name="Freeform 155">
              <a:extLst>
                <a:ext uri="{FF2B5EF4-FFF2-40B4-BE49-F238E27FC236}">
                  <a16:creationId xmlns:a16="http://schemas.microsoft.com/office/drawing/2014/main" id="{CD0677FB-1FD2-401F-89EC-73CDEEA37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" y="1952"/>
              <a:ext cx="257" cy="227"/>
            </a:xfrm>
            <a:custGeom>
              <a:avLst/>
              <a:gdLst>
                <a:gd name="T0" fmla="*/ 244 w 257"/>
                <a:gd name="T1" fmla="*/ 177 h 227"/>
                <a:gd name="T2" fmla="*/ 256 w 257"/>
                <a:gd name="T3" fmla="*/ 130 h 227"/>
                <a:gd name="T4" fmla="*/ 253 w 257"/>
                <a:gd name="T5" fmla="*/ 79 h 227"/>
                <a:gd name="T6" fmla="*/ 244 w 257"/>
                <a:gd name="T7" fmla="*/ 56 h 227"/>
                <a:gd name="T8" fmla="*/ 231 w 257"/>
                <a:gd name="T9" fmla="*/ 36 h 227"/>
                <a:gd name="T10" fmla="*/ 212 w 257"/>
                <a:gd name="T11" fmla="*/ 22 h 227"/>
                <a:gd name="T12" fmla="*/ 186 w 257"/>
                <a:gd name="T13" fmla="*/ 15 h 227"/>
                <a:gd name="T14" fmla="*/ 154 w 257"/>
                <a:gd name="T15" fmla="*/ 16 h 227"/>
                <a:gd name="T16" fmla="*/ 114 w 257"/>
                <a:gd name="T17" fmla="*/ 28 h 227"/>
                <a:gd name="T18" fmla="*/ 105 w 257"/>
                <a:gd name="T19" fmla="*/ 16 h 227"/>
                <a:gd name="T20" fmla="*/ 87 w 257"/>
                <a:gd name="T21" fmla="*/ 4 h 227"/>
                <a:gd name="T22" fmla="*/ 65 w 257"/>
                <a:gd name="T23" fmla="*/ 0 h 227"/>
                <a:gd name="T24" fmla="*/ 48 w 257"/>
                <a:gd name="T25" fmla="*/ 2 h 227"/>
                <a:gd name="T26" fmla="*/ 27 w 257"/>
                <a:gd name="T27" fmla="*/ 12 h 227"/>
                <a:gd name="T28" fmla="*/ 13 w 257"/>
                <a:gd name="T29" fmla="*/ 31 h 227"/>
                <a:gd name="T30" fmla="*/ 11 w 257"/>
                <a:gd name="T31" fmla="*/ 35 h 227"/>
                <a:gd name="T32" fmla="*/ 0 w 257"/>
                <a:gd name="T33" fmla="*/ 77 h 227"/>
                <a:gd name="T34" fmla="*/ 2 w 257"/>
                <a:gd name="T35" fmla="*/ 109 h 227"/>
                <a:gd name="T36" fmla="*/ 12 w 257"/>
                <a:gd name="T37" fmla="*/ 127 h 227"/>
                <a:gd name="T38" fmla="*/ 25 w 257"/>
                <a:gd name="T39" fmla="*/ 137 h 227"/>
                <a:gd name="T40" fmla="*/ 45 w 257"/>
                <a:gd name="T41" fmla="*/ 142 h 227"/>
                <a:gd name="T42" fmla="*/ 62 w 257"/>
                <a:gd name="T43" fmla="*/ 143 h 227"/>
                <a:gd name="T44" fmla="*/ 106 w 257"/>
                <a:gd name="T45" fmla="*/ 138 h 227"/>
                <a:gd name="T46" fmla="*/ 136 w 257"/>
                <a:gd name="T47" fmla="*/ 129 h 227"/>
                <a:gd name="T48" fmla="*/ 164 w 257"/>
                <a:gd name="T49" fmla="*/ 115 h 227"/>
                <a:gd name="T50" fmla="*/ 174 w 257"/>
                <a:gd name="T51" fmla="*/ 115 h 227"/>
                <a:gd name="T52" fmla="*/ 181 w 257"/>
                <a:gd name="T53" fmla="*/ 121 h 227"/>
                <a:gd name="T54" fmla="*/ 186 w 257"/>
                <a:gd name="T55" fmla="*/ 134 h 227"/>
                <a:gd name="T56" fmla="*/ 184 w 257"/>
                <a:gd name="T57" fmla="*/ 149 h 227"/>
                <a:gd name="T58" fmla="*/ 179 w 257"/>
                <a:gd name="T59" fmla="*/ 163 h 227"/>
                <a:gd name="T60" fmla="*/ 182 w 257"/>
                <a:gd name="T61" fmla="*/ 166 h 227"/>
                <a:gd name="T62" fmla="*/ 188 w 257"/>
                <a:gd name="T63" fmla="*/ 163 h 227"/>
                <a:gd name="T64" fmla="*/ 201 w 257"/>
                <a:gd name="T65" fmla="*/ 143 h 227"/>
                <a:gd name="T66" fmla="*/ 210 w 257"/>
                <a:gd name="T67" fmla="*/ 136 h 227"/>
                <a:gd name="T68" fmla="*/ 214 w 257"/>
                <a:gd name="T69" fmla="*/ 139 h 227"/>
                <a:gd name="T70" fmla="*/ 217 w 257"/>
                <a:gd name="T71" fmla="*/ 156 h 227"/>
                <a:gd name="T72" fmla="*/ 209 w 257"/>
                <a:gd name="T73" fmla="*/ 188 h 227"/>
                <a:gd name="T74" fmla="*/ 197 w 257"/>
                <a:gd name="T75" fmla="*/ 204 h 227"/>
                <a:gd name="T76" fmla="*/ 199 w 257"/>
                <a:gd name="T77" fmla="*/ 210 h 227"/>
                <a:gd name="T78" fmla="*/ 217 w 257"/>
                <a:gd name="T79" fmla="*/ 225 h 227"/>
                <a:gd name="T80" fmla="*/ 230 w 257"/>
                <a:gd name="T81" fmla="*/ 227 h 227"/>
                <a:gd name="T82" fmla="*/ 243 w 257"/>
                <a:gd name="T83" fmla="*/ 221 h 227"/>
                <a:gd name="T84" fmla="*/ 236 w 257"/>
                <a:gd name="T85" fmla="*/ 211 h 227"/>
                <a:gd name="T86" fmla="*/ 234 w 257"/>
                <a:gd name="T8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7" h="227">
                  <a:moveTo>
                    <a:pt x="237" y="190"/>
                  </a:moveTo>
                  <a:lnTo>
                    <a:pt x="237" y="190"/>
                  </a:lnTo>
                  <a:lnTo>
                    <a:pt x="244" y="177"/>
                  </a:lnTo>
                  <a:lnTo>
                    <a:pt x="249" y="163"/>
                  </a:lnTo>
                  <a:lnTo>
                    <a:pt x="253" y="147"/>
                  </a:lnTo>
                  <a:lnTo>
                    <a:pt x="256" y="130"/>
                  </a:lnTo>
                  <a:lnTo>
                    <a:pt x="257" y="113"/>
                  </a:lnTo>
                  <a:lnTo>
                    <a:pt x="256" y="96"/>
                  </a:lnTo>
                  <a:lnTo>
                    <a:pt x="253" y="79"/>
                  </a:lnTo>
                  <a:lnTo>
                    <a:pt x="251" y="71"/>
                  </a:lnTo>
                  <a:lnTo>
                    <a:pt x="248" y="63"/>
                  </a:lnTo>
                  <a:lnTo>
                    <a:pt x="244" y="56"/>
                  </a:lnTo>
                  <a:lnTo>
                    <a:pt x="240" y="49"/>
                  </a:lnTo>
                  <a:lnTo>
                    <a:pt x="236" y="42"/>
                  </a:lnTo>
                  <a:lnTo>
                    <a:pt x="231" y="36"/>
                  </a:lnTo>
                  <a:lnTo>
                    <a:pt x="225" y="31"/>
                  </a:lnTo>
                  <a:lnTo>
                    <a:pt x="219" y="26"/>
                  </a:lnTo>
                  <a:lnTo>
                    <a:pt x="212" y="22"/>
                  </a:lnTo>
                  <a:lnTo>
                    <a:pt x="204" y="19"/>
                  </a:lnTo>
                  <a:lnTo>
                    <a:pt x="195" y="17"/>
                  </a:lnTo>
                  <a:lnTo>
                    <a:pt x="186" y="15"/>
                  </a:lnTo>
                  <a:lnTo>
                    <a:pt x="176" y="14"/>
                  </a:lnTo>
                  <a:lnTo>
                    <a:pt x="165" y="15"/>
                  </a:lnTo>
                  <a:lnTo>
                    <a:pt x="154" y="16"/>
                  </a:lnTo>
                  <a:lnTo>
                    <a:pt x="141" y="19"/>
                  </a:lnTo>
                  <a:lnTo>
                    <a:pt x="128" y="23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0" y="22"/>
                  </a:lnTo>
                  <a:lnTo>
                    <a:pt x="105" y="16"/>
                  </a:lnTo>
                  <a:lnTo>
                    <a:pt x="100" y="12"/>
                  </a:lnTo>
                  <a:lnTo>
                    <a:pt x="94" y="8"/>
                  </a:lnTo>
                  <a:lnTo>
                    <a:pt x="87" y="4"/>
                  </a:lnTo>
                  <a:lnTo>
                    <a:pt x="80" y="2"/>
                  </a:lnTo>
                  <a:lnTo>
                    <a:pt x="73" y="1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56" y="0"/>
                  </a:lnTo>
                  <a:lnTo>
                    <a:pt x="48" y="2"/>
                  </a:lnTo>
                  <a:lnTo>
                    <a:pt x="41" y="4"/>
                  </a:lnTo>
                  <a:lnTo>
                    <a:pt x="34" y="7"/>
                  </a:lnTo>
                  <a:lnTo>
                    <a:pt x="27" y="12"/>
                  </a:lnTo>
                  <a:lnTo>
                    <a:pt x="22" y="17"/>
                  </a:lnTo>
                  <a:lnTo>
                    <a:pt x="17" y="23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1" y="35"/>
                  </a:lnTo>
                  <a:lnTo>
                    <a:pt x="6" y="48"/>
                  </a:lnTo>
                  <a:lnTo>
                    <a:pt x="2" y="67"/>
                  </a:lnTo>
                  <a:lnTo>
                    <a:pt x="0" y="77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" y="109"/>
                  </a:lnTo>
                  <a:lnTo>
                    <a:pt x="6" y="118"/>
                  </a:lnTo>
                  <a:lnTo>
                    <a:pt x="9" y="123"/>
                  </a:lnTo>
                  <a:lnTo>
                    <a:pt x="12" y="127"/>
                  </a:lnTo>
                  <a:lnTo>
                    <a:pt x="16" y="130"/>
                  </a:lnTo>
                  <a:lnTo>
                    <a:pt x="20" y="134"/>
                  </a:lnTo>
                  <a:lnTo>
                    <a:pt x="25" y="137"/>
                  </a:lnTo>
                  <a:lnTo>
                    <a:pt x="31" y="139"/>
                  </a:lnTo>
                  <a:lnTo>
                    <a:pt x="37" y="141"/>
                  </a:lnTo>
                  <a:lnTo>
                    <a:pt x="45" y="142"/>
                  </a:lnTo>
                  <a:lnTo>
                    <a:pt x="53" y="143"/>
                  </a:lnTo>
                  <a:lnTo>
                    <a:pt x="62" y="143"/>
                  </a:lnTo>
                  <a:lnTo>
                    <a:pt x="62" y="143"/>
                  </a:lnTo>
                  <a:lnTo>
                    <a:pt x="78" y="142"/>
                  </a:lnTo>
                  <a:lnTo>
                    <a:pt x="93" y="140"/>
                  </a:lnTo>
                  <a:lnTo>
                    <a:pt x="106" y="138"/>
                  </a:lnTo>
                  <a:lnTo>
                    <a:pt x="117" y="135"/>
                  </a:lnTo>
                  <a:lnTo>
                    <a:pt x="127" y="132"/>
                  </a:lnTo>
                  <a:lnTo>
                    <a:pt x="136" y="129"/>
                  </a:lnTo>
                  <a:lnTo>
                    <a:pt x="149" y="122"/>
                  </a:lnTo>
                  <a:lnTo>
                    <a:pt x="160" y="117"/>
                  </a:lnTo>
                  <a:lnTo>
                    <a:pt x="164" y="115"/>
                  </a:lnTo>
                  <a:lnTo>
                    <a:pt x="168" y="114"/>
                  </a:lnTo>
                  <a:lnTo>
                    <a:pt x="171" y="114"/>
                  </a:lnTo>
                  <a:lnTo>
                    <a:pt x="174" y="115"/>
                  </a:lnTo>
                  <a:lnTo>
                    <a:pt x="177" y="118"/>
                  </a:lnTo>
                  <a:lnTo>
                    <a:pt x="181" y="121"/>
                  </a:lnTo>
                  <a:lnTo>
                    <a:pt x="181" y="121"/>
                  </a:lnTo>
                  <a:lnTo>
                    <a:pt x="183" y="126"/>
                  </a:lnTo>
                  <a:lnTo>
                    <a:pt x="185" y="130"/>
                  </a:lnTo>
                  <a:lnTo>
                    <a:pt x="186" y="134"/>
                  </a:lnTo>
                  <a:lnTo>
                    <a:pt x="187" y="137"/>
                  </a:lnTo>
                  <a:lnTo>
                    <a:pt x="186" y="144"/>
                  </a:lnTo>
                  <a:lnTo>
                    <a:pt x="184" y="149"/>
                  </a:lnTo>
                  <a:lnTo>
                    <a:pt x="179" y="158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2" y="166"/>
                  </a:lnTo>
                  <a:lnTo>
                    <a:pt x="184" y="166"/>
                  </a:lnTo>
                  <a:lnTo>
                    <a:pt x="186" y="165"/>
                  </a:lnTo>
                  <a:lnTo>
                    <a:pt x="188" y="163"/>
                  </a:lnTo>
                  <a:lnTo>
                    <a:pt x="192" y="157"/>
                  </a:lnTo>
                  <a:lnTo>
                    <a:pt x="197" y="150"/>
                  </a:lnTo>
                  <a:lnTo>
                    <a:pt x="201" y="143"/>
                  </a:lnTo>
                  <a:lnTo>
                    <a:pt x="206" y="138"/>
                  </a:lnTo>
                  <a:lnTo>
                    <a:pt x="208" y="136"/>
                  </a:lnTo>
                  <a:lnTo>
                    <a:pt x="210" y="136"/>
                  </a:lnTo>
                  <a:lnTo>
                    <a:pt x="212" y="137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6" y="143"/>
                  </a:lnTo>
                  <a:lnTo>
                    <a:pt x="217" y="147"/>
                  </a:lnTo>
                  <a:lnTo>
                    <a:pt x="217" y="156"/>
                  </a:lnTo>
                  <a:lnTo>
                    <a:pt x="216" y="167"/>
                  </a:lnTo>
                  <a:lnTo>
                    <a:pt x="213" y="178"/>
                  </a:lnTo>
                  <a:lnTo>
                    <a:pt x="209" y="188"/>
                  </a:lnTo>
                  <a:lnTo>
                    <a:pt x="204" y="196"/>
                  </a:lnTo>
                  <a:lnTo>
                    <a:pt x="199" y="202"/>
                  </a:lnTo>
                  <a:lnTo>
                    <a:pt x="197" y="204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9" y="210"/>
                  </a:lnTo>
                  <a:lnTo>
                    <a:pt x="204" y="215"/>
                  </a:lnTo>
                  <a:lnTo>
                    <a:pt x="210" y="221"/>
                  </a:lnTo>
                  <a:lnTo>
                    <a:pt x="217" y="225"/>
                  </a:lnTo>
                  <a:lnTo>
                    <a:pt x="221" y="227"/>
                  </a:lnTo>
                  <a:lnTo>
                    <a:pt x="225" y="227"/>
                  </a:lnTo>
                  <a:lnTo>
                    <a:pt x="230" y="227"/>
                  </a:lnTo>
                  <a:lnTo>
                    <a:pt x="234" y="226"/>
                  </a:lnTo>
                  <a:lnTo>
                    <a:pt x="238" y="224"/>
                  </a:lnTo>
                  <a:lnTo>
                    <a:pt x="243" y="221"/>
                  </a:lnTo>
                  <a:lnTo>
                    <a:pt x="243" y="221"/>
                  </a:lnTo>
                  <a:lnTo>
                    <a:pt x="241" y="218"/>
                  </a:lnTo>
                  <a:lnTo>
                    <a:pt x="236" y="211"/>
                  </a:lnTo>
                  <a:lnTo>
                    <a:pt x="235" y="206"/>
                  </a:lnTo>
                  <a:lnTo>
                    <a:pt x="234" y="201"/>
                  </a:lnTo>
                  <a:lnTo>
                    <a:pt x="234" y="195"/>
                  </a:lnTo>
                  <a:lnTo>
                    <a:pt x="237" y="190"/>
                  </a:lnTo>
                  <a:lnTo>
                    <a:pt x="237" y="19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5" name="Freeform 156">
              <a:extLst>
                <a:ext uri="{FF2B5EF4-FFF2-40B4-BE49-F238E27FC236}">
                  <a16:creationId xmlns:a16="http://schemas.microsoft.com/office/drawing/2014/main" id="{2C7D20A1-1EDE-48AE-9CD3-596BBF719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8" y="694"/>
              <a:ext cx="93" cy="93"/>
            </a:xfrm>
            <a:custGeom>
              <a:avLst/>
              <a:gdLst>
                <a:gd name="T0" fmla="*/ 53 w 93"/>
                <a:gd name="T1" fmla="*/ 47 h 93"/>
                <a:gd name="T2" fmla="*/ 47 w 93"/>
                <a:gd name="T3" fmla="*/ 52 h 93"/>
                <a:gd name="T4" fmla="*/ 88 w 93"/>
                <a:gd name="T5" fmla="*/ 93 h 93"/>
                <a:gd name="T6" fmla="*/ 93 w 93"/>
                <a:gd name="T7" fmla="*/ 88 h 93"/>
                <a:gd name="T8" fmla="*/ 53 w 93"/>
                <a:gd name="T9" fmla="*/ 47 h 93"/>
                <a:gd name="T10" fmla="*/ 6 w 93"/>
                <a:gd name="T11" fmla="*/ 0 h 93"/>
                <a:gd name="T12" fmla="*/ 0 w 93"/>
                <a:gd name="T13" fmla="*/ 6 h 93"/>
                <a:gd name="T14" fmla="*/ 41 w 93"/>
                <a:gd name="T15" fmla="*/ 47 h 93"/>
                <a:gd name="T16" fmla="*/ 47 w 93"/>
                <a:gd name="T17" fmla="*/ 41 h 93"/>
                <a:gd name="T18" fmla="*/ 6 w 93"/>
                <a:gd name="T1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3">
                  <a:moveTo>
                    <a:pt x="53" y="47"/>
                  </a:moveTo>
                  <a:lnTo>
                    <a:pt x="47" y="52"/>
                  </a:lnTo>
                  <a:lnTo>
                    <a:pt x="88" y="93"/>
                  </a:lnTo>
                  <a:lnTo>
                    <a:pt x="93" y="88"/>
                  </a:lnTo>
                  <a:lnTo>
                    <a:pt x="53" y="47"/>
                  </a:lnTo>
                  <a:close/>
                  <a:moveTo>
                    <a:pt x="6" y="0"/>
                  </a:moveTo>
                  <a:lnTo>
                    <a:pt x="0" y="6"/>
                  </a:lnTo>
                  <a:lnTo>
                    <a:pt x="41" y="47"/>
                  </a:lnTo>
                  <a:lnTo>
                    <a:pt x="47" y="4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0F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6" name="Freeform 157">
              <a:extLst>
                <a:ext uri="{FF2B5EF4-FFF2-40B4-BE49-F238E27FC236}">
                  <a16:creationId xmlns:a16="http://schemas.microsoft.com/office/drawing/2014/main" id="{7605D6B6-1FDF-4818-A7AA-92074C05F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5" y="741"/>
              <a:ext cx="46" cy="46"/>
            </a:xfrm>
            <a:custGeom>
              <a:avLst/>
              <a:gdLst>
                <a:gd name="T0" fmla="*/ 6 w 46"/>
                <a:gd name="T1" fmla="*/ 0 h 46"/>
                <a:gd name="T2" fmla="*/ 0 w 46"/>
                <a:gd name="T3" fmla="*/ 5 h 46"/>
                <a:gd name="T4" fmla="*/ 41 w 46"/>
                <a:gd name="T5" fmla="*/ 46 h 46"/>
                <a:gd name="T6" fmla="*/ 46 w 46"/>
                <a:gd name="T7" fmla="*/ 41 h 46"/>
                <a:gd name="T8" fmla="*/ 6 w 46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6" y="0"/>
                  </a:moveTo>
                  <a:lnTo>
                    <a:pt x="0" y="5"/>
                  </a:lnTo>
                  <a:lnTo>
                    <a:pt x="41" y="46"/>
                  </a:lnTo>
                  <a:lnTo>
                    <a:pt x="46" y="41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7" name="Freeform 158">
              <a:extLst>
                <a:ext uri="{FF2B5EF4-FFF2-40B4-BE49-F238E27FC236}">
                  <a16:creationId xmlns:a16="http://schemas.microsoft.com/office/drawing/2014/main" id="{8DE22C0C-F0D8-439C-BC2D-465DF5DBF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694"/>
              <a:ext cx="47" cy="47"/>
            </a:xfrm>
            <a:custGeom>
              <a:avLst/>
              <a:gdLst>
                <a:gd name="T0" fmla="*/ 6 w 47"/>
                <a:gd name="T1" fmla="*/ 0 h 47"/>
                <a:gd name="T2" fmla="*/ 0 w 47"/>
                <a:gd name="T3" fmla="*/ 6 h 47"/>
                <a:gd name="T4" fmla="*/ 41 w 47"/>
                <a:gd name="T5" fmla="*/ 47 h 47"/>
                <a:gd name="T6" fmla="*/ 47 w 47"/>
                <a:gd name="T7" fmla="*/ 41 h 47"/>
                <a:gd name="T8" fmla="*/ 6 w 47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7">
                  <a:moveTo>
                    <a:pt x="6" y="0"/>
                  </a:moveTo>
                  <a:lnTo>
                    <a:pt x="0" y="6"/>
                  </a:lnTo>
                  <a:lnTo>
                    <a:pt x="41" y="47"/>
                  </a:lnTo>
                  <a:lnTo>
                    <a:pt x="47" y="41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8" name="Freeform 159">
              <a:extLst>
                <a:ext uri="{FF2B5EF4-FFF2-40B4-BE49-F238E27FC236}">
                  <a16:creationId xmlns:a16="http://schemas.microsoft.com/office/drawing/2014/main" id="{8FF41220-E1CD-4A5C-BC69-D5FA04298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9" y="695"/>
              <a:ext cx="91" cy="91"/>
            </a:xfrm>
            <a:custGeom>
              <a:avLst/>
              <a:gdLst>
                <a:gd name="T0" fmla="*/ 86 w 91"/>
                <a:gd name="T1" fmla="*/ 0 h 91"/>
                <a:gd name="T2" fmla="*/ 46 w 91"/>
                <a:gd name="T3" fmla="*/ 40 h 91"/>
                <a:gd name="T4" fmla="*/ 40 w 91"/>
                <a:gd name="T5" fmla="*/ 46 h 91"/>
                <a:gd name="T6" fmla="*/ 0 w 91"/>
                <a:gd name="T7" fmla="*/ 85 h 91"/>
                <a:gd name="T8" fmla="*/ 6 w 91"/>
                <a:gd name="T9" fmla="*/ 91 h 91"/>
                <a:gd name="T10" fmla="*/ 46 w 91"/>
                <a:gd name="T11" fmla="*/ 51 h 91"/>
                <a:gd name="T12" fmla="*/ 52 w 91"/>
                <a:gd name="T13" fmla="*/ 46 h 91"/>
                <a:gd name="T14" fmla="*/ 91 w 91"/>
                <a:gd name="T15" fmla="*/ 6 h 91"/>
                <a:gd name="T16" fmla="*/ 86 w 91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91">
                  <a:moveTo>
                    <a:pt x="86" y="0"/>
                  </a:moveTo>
                  <a:lnTo>
                    <a:pt x="46" y="40"/>
                  </a:lnTo>
                  <a:lnTo>
                    <a:pt x="40" y="46"/>
                  </a:lnTo>
                  <a:lnTo>
                    <a:pt x="0" y="85"/>
                  </a:lnTo>
                  <a:lnTo>
                    <a:pt x="6" y="91"/>
                  </a:lnTo>
                  <a:lnTo>
                    <a:pt x="46" y="51"/>
                  </a:lnTo>
                  <a:lnTo>
                    <a:pt x="52" y="46"/>
                  </a:lnTo>
                  <a:lnTo>
                    <a:pt x="91" y="6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C0F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79" name="Freeform 160">
              <a:extLst>
                <a:ext uri="{FF2B5EF4-FFF2-40B4-BE49-F238E27FC236}">
                  <a16:creationId xmlns:a16="http://schemas.microsoft.com/office/drawing/2014/main" id="{5E888809-EA07-4E73-B103-6B8E05DFF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9" y="695"/>
              <a:ext cx="91" cy="91"/>
            </a:xfrm>
            <a:custGeom>
              <a:avLst/>
              <a:gdLst>
                <a:gd name="T0" fmla="*/ 86 w 91"/>
                <a:gd name="T1" fmla="*/ 0 h 91"/>
                <a:gd name="T2" fmla="*/ 46 w 91"/>
                <a:gd name="T3" fmla="*/ 40 h 91"/>
                <a:gd name="T4" fmla="*/ 40 w 91"/>
                <a:gd name="T5" fmla="*/ 46 h 91"/>
                <a:gd name="T6" fmla="*/ 0 w 91"/>
                <a:gd name="T7" fmla="*/ 85 h 91"/>
                <a:gd name="T8" fmla="*/ 6 w 91"/>
                <a:gd name="T9" fmla="*/ 91 h 91"/>
                <a:gd name="T10" fmla="*/ 46 w 91"/>
                <a:gd name="T11" fmla="*/ 51 h 91"/>
                <a:gd name="T12" fmla="*/ 52 w 91"/>
                <a:gd name="T13" fmla="*/ 46 h 91"/>
                <a:gd name="T14" fmla="*/ 91 w 91"/>
                <a:gd name="T15" fmla="*/ 6 h 91"/>
                <a:gd name="T16" fmla="*/ 86 w 91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91">
                  <a:moveTo>
                    <a:pt x="86" y="0"/>
                  </a:moveTo>
                  <a:lnTo>
                    <a:pt x="46" y="40"/>
                  </a:lnTo>
                  <a:lnTo>
                    <a:pt x="40" y="46"/>
                  </a:lnTo>
                  <a:lnTo>
                    <a:pt x="0" y="85"/>
                  </a:lnTo>
                  <a:lnTo>
                    <a:pt x="6" y="91"/>
                  </a:lnTo>
                  <a:lnTo>
                    <a:pt x="46" y="51"/>
                  </a:lnTo>
                  <a:lnTo>
                    <a:pt x="52" y="46"/>
                  </a:lnTo>
                  <a:lnTo>
                    <a:pt x="91" y="6"/>
                  </a:lnTo>
                  <a:lnTo>
                    <a:pt x="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0" name="Freeform 161">
              <a:extLst>
                <a:ext uri="{FF2B5EF4-FFF2-40B4-BE49-F238E27FC236}">
                  <a16:creationId xmlns:a16="http://schemas.microsoft.com/office/drawing/2014/main" id="{0572E0D1-CBD4-43E4-8BB3-B757C7BAF5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" y="3626"/>
              <a:ext cx="93" cy="93"/>
            </a:xfrm>
            <a:custGeom>
              <a:avLst/>
              <a:gdLst>
                <a:gd name="T0" fmla="*/ 53 w 93"/>
                <a:gd name="T1" fmla="*/ 47 h 93"/>
                <a:gd name="T2" fmla="*/ 47 w 93"/>
                <a:gd name="T3" fmla="*/ 52 h 93"/>
                <a:gd name="T4" fmla="*/ 88 w 93"/>
                <a:gd name="T5" fmla="*/ 93 h 93"/>
                <a:gd name="T6" fmla="*/ 93 w 93"/>
                <a:gd name="T7" fmla="*/ 88 h 93"/>
                <a:gd name="T8" fmla="*/ 53 w 93"/>
                <a:gd name="T9" fmla="*/ 47 h 93"/>
                <a:gd name="T10" fmla="*/ 6 w 93"/>
                <a:gd name="T11" fmla="*/ 0 h 93"/>
                <a:gd name="T12" fmla="*/ 0 w 93"/>
                <a:gd name="T13" fmla="*/ 6 h 93"/>
                <a:gd name="T14" fmla="*/ 41 w 93"/>
                <a:gd name="T15" fmla="*/ 47 h 93"/>
                <a:gd name="T16" fmla="*/ 47 w 93"/>
                <a:gd name="T17" fmla="*/ 41 h 93"/>
                <a:gd name="T18" fmla="*/ 6 w 93"/>
                <a:gd name="T1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3">
                  <a:moveTo>
                    <a:pt x="53" y="47"/>
                  </a:moveTo>
                  <a:lnTo>
                    <a:pt x="47" y="52"/>
                  </a:lnTo>
                  <a:lnTo>
                    <a:pt x="88" y="93"/>
                  </a:lnTo>
                  <a:lnTo>
                    <a:pt x="93" y="88"/>
                  </a:lnTo>
                  <a:lnTo>
                    <a:pt x="53" y="47"/>
                  </a:lnTo>
                  <a:close/>
                  <a:moveTo>
                    <a:pt x="6" y="0"/>
                  </a:moveTo>
                  <a:lnTo>
                    <a:pt x="0" y="6"/>
                  </a:lnTo>
                  <a:lnTo>
                    <a:pt x="41" y="47"/>
                  </a:lnTo>
                  <a:lnTo>
                    <a:pt x="47" y="4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0F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1" name="Freeform 162">
              <a:extLst>
                <a:ext uri="{FF2B5EF4-FFF2-40B4-BE49-F238E27FC236}">
                  <a16:creationId xmlns:a16="http://schemas.microsoft.com/office/drawing/2014/main" id="{1F59F39E-C631-46AB-B322-F2D7298ED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1" y="3673"/>
              <a:ext cx="46" cy="46"/>
            </a:xfrm>
            <a:custGeom>
              <a:avLst/>
              <a:gdLst>
                <a:gd name="T0" fmla="*/ 6 w 46"/>
                <a:gd name="T1" fmla="*/ 0 h 46"/>
                <a:gd name="T2" fmla="*/ 0 w 46"/>
                <a:gd name="T3" fmla="*/ 5 h 46"/>
                <a:gd name="T4" fmla="*/ 41 w 46"/>
                <a:gd name="T5" fmla="*/ 46 h 46"/>
                <a:gd name="T6" fmla="*/ 46 w 46"/>
                <a:gd name="T7" fmla="*/ 41 h 46"/>
                <a:gd name="T8" fmla="*/ 6 w 46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6" y="0"/>
                  </a:moveTo>
                  <a:lnTo>
                    <a:pt x="0" y="5"/>
                  </a:lnTo>
                  <a:lnTo>
                    <a:pt x="41" y="46"/>
                  </a:lnTo>
                  <a:lnTo>
                    <a:pt x="46" y="41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2" name="Freeform 163">
              <a:extLst>
                <a:ext uri="{FF2B5EF4-FFF2-40B4-BE49-F238E27FC236}">
                  <a16:creationId xmlns:a16="http://schemas.microsoft.com/office/drawing/2014/main" id="{974A2856-89A1-43BD-893B-67BB19B69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" y="3626"/>
              <a:ext cx="47" cy="47"/>
            </a:xfrm>
            <a:custGeom>
              <a:avLst/>
              <a:gdLst>
                <a:gd name="T0" fmla="*/ 6 w 47"/>
                <a:gd name="T1" fmla="*/ 0 h 47"/>
                <a:gd name="T2" fmla="*/ 0 w 47"/>
                <a:gd name="T3" fmla="*/ 6 h 47"/>
                <a:gd name="T4" fmla="*/ 41 w 47"/>
                <a:gd name="T5" fmla="*/ 47 h 47"/>
                <a:gd name="T6" fmla="*/ 47 w 47"/>
                <a:gd name="T7" fmla="*/ 41 h 47"/>
                <a:gd name="T8" fmla="*/ 6 w 47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7">
                  <a:moveTo>
                    <a:pt x="6" y="0"/>
                  </a:moveTo>
                  <a:lnTo>
                    <a:pt x="0" y="6"/>
                  </a:lnTo>
                  <a:lnTo>
                    <a:pt x="41" y="47"/>
                  </a:lnTo>
                  <a:lnTo>
                    <a:pt x="47" y="41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3" name="Freeform 164">
              <a:extLst>
                <a:ext uri="{FF2B5EF4-FFF2-40B4-BE49-F238E27FC236}">
                  <a16:creationId xmlns:a16="http://schemas.microsoft.com/office/drawing/2014/main" id="{E9D3F302-604E-49AD-9FD5-E94C2C1A9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3627"/>
              <a:ext cx="91" cy="91"/>
            </a:xfrm>
            <a:custGeom>
              <a:avLst/>
              <a:gdLst>
                <a:gd name="T0" fmla="*/ 86 w 91"/>
                <a:gd name="T1" fmla="*/ 0 h 91"/>
                <a:gd name="T2" fmla="*/ 46 w 91"/>
                <a:gd name="T3" fmla="*/ 40 h 91"/>
                <a:gd name="T4" fmla="*/ 40 w 91"/>
                <a:gd name="T5" fmla="*/ 46 h 91"/>
                <a:gd name="T6" fmla="*/ 0 w 91"/>
                <a:gd name="T7" fmla="*/ 85 h 91"/>
                <a:gd name="T8" fmla="*/ 6 w 91"/>
                <a:gd name="T9" fmla="*/ 91 h 91"/>
                <a:gd name="T10" fmla="*/ 46 w 91"/>
                <a:gd name="T11" fmla="*/ 51 h 91"/>
                <a:gd name="T12" fmla="*/ 52 w 91"/>
                <a:gd name="T13" fmla="*/ 46 h 91"/>
                <a:gd name="T14" fmla="*/ 91 w 91"/>
                <a:gd name="T15" fmla="*/ 6 h 91"/>
                <a:gd name="T16" fmla="*/ 86 w 91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91">
                  <a:moveTo>
                    <a:pt x="86" y="0"/>
                  </a:moveTo>
                  <a:lnTo>
                    <a:pt x="46" y="40"/>
                  </a:lnTo>
                  <a:lnTo>
                    <a:pt x="40" y="46"/>
                  </a:lnTo>
                  <a:lnTo>
                    <a:pt x="0" y="85"/>
                  </a:lnTo>
                  <a:lnTo>
                    <a:pt x="6" y="91"/>
                  </a:lnTo>
                  <a:lnTo>
                    <a:pt x="46" y="51"/>
                  </a:lnTo>
                  <a:lnTo>
                    <a:pt x="52" y="46"/>
                  </a:lnTo>
                  <a:lnTo>
                    <a:pt x="91" y="6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C0F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4" name="Freeform 165">
              <a:extLst>
                <a:ext uri="{FF2B5EF4-FFF2-40B4-BE49-F238E27FC236}">
                  <a16:creationId xmlns:a16="http://schemas.microsoft.com/office/drawing/2014/main" id="{FA507CF2-D4B2-44EE-A107-C0C2E2C50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3627"/>
              <a:ext cx="91" cy="91"/>
            </a:xfrm>
            <a:custGeom>
              <a:avLst/>
              <a:gdLst>
                <a:gd name="T0" fmla="*/ 86 w 91"/>
                <a:gd name="T1" fmla="*/ 0 h 91"/>
                <a:gd name="T2" fmla="*/ 46 w 91"/>
                <a:gd name="T3" fmla="*/ 40 h 91"/>
                <a:gd name="T4" fmla="*/ 40 w 91"/>
                <a:gd name="T5" fmla="*/ 46 h 91"/>
                <a:gd name="T6" fmla="*/ 0 w 91"/>
                <a:gd name="T7" fmla="*/ 85 h 91"/>
                <a:gd name="T8" fmla="*/ 6 w 91"/>
                <a:gd name="T9" fmla="*/ 91 h 91"/>
                <a:gd name="T10" fmla="*/ 46 w 91"/>
                <a:gd name="T11" fmla="*/ 51 h 91"/>
                <a:gd name="T12" fmla="*/ 52 w 91"/>
                <a:gd name="T13" fmla="*/ 46 h 91"/>
                <a:gd name="T14" fmla="*/ 91 w 91"/>
                <a:gd name="T15" fmla="*/ 6 h 91"/>
                <a:gd name="T16" fmla="*/ 86 w 91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91">
                  <a:moveTo>
                    <a:pt x="86" y="0"/>
                  </a:moveTo>
                  <a:lnTo>
                    <a:pt x="46" y="40"/>
                  </a:lnTo>
                  <a:lnTo>
                    <a:pt x="40" y="46"/>
                  </a:lnTo>
                  <a:lnTo>
                    <a:pt x="0" y="85"/>
                  </a:lnTo>
                  <a:lnTo>
                    <a:pt x="6" y="91"/>
                  </a:lnTo>
                  <a:lnTo>
                    <a:pt x="46" y="51"/>
                  </a:lnTo>
                  <a:lnTo>
                    <a:pt x="52" y="46"/>
                  </a:lnTo>
                  <a:lnTo>
                    <a:pt x="91" y="6"/>
                  </a:lnTo>
                  <a:lnTo>
                    <a:pt x="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EB6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5" name="Freeform 166">
              <a:extLst>
                <a:ext uri="{FF2B5EF4-FFF2-40B4-BE49-F238E27FC236}">
                  <a16:creationId xmlns:a16="http://schemas.microsoft.com/office/drawing/2014/main" id="{DF6D8029-42C9-449F-AF96-ED603FCEA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8" y="3129"/>
              <a:ext cx="136" cy="124"/>
            </a:xfrm>
            <a:custGeom>
              <a:avLst/>
              <a:gdLst>
                <a:gd name="T0" fmla="*/ 68 w 136"/>
                <a:gd name="T1" fmla="*/ 0 h 124"/>
                <a:gd name="T2" fmla="*/ 54 w 136"/>
                <a:gd name="T3" fmla="*/ 1 h 124"/>
                <a:gd name="T4" fmla="*/ 42 w 136"/>
                <a:gd name="T5" fmla="*/ 5 h 124"/>
                <a:gd name="T6" fmla="*/ 30 w 136"/>
                <a:gd name="T7" fmla="*/ 12 h 124"/>
                <a:gd name="T8" fmla="*/ 20 w 136"/>
                <a:gd name="T9" fmla="*/ 20 h 124"/>
                <a:gd name="T10" fmla="*/ 12 w 136"/>
                <a:gd name="T11" fmla="*/ 30 h 124"/>
                <a:gd name="T12" fmla="*/ 5 w 136"/>
                <a:gd name="T13" fmla="*/ 42 h 124"/>
                <a:gd name="T14" fmla="*/ 1 w 136"/>
                <a:gd name="T15" fmla="*/ 54 h 124"/>
                <a:gd name="T16" fmla="*/ 0 w 136"/>
                <a:gd name="T17" fmla="*/ 68 h 124"/>
                <a:gd name="T18" fmla="*/ 1 w 136"/>
                <a:gd name="T19" fmla="*/ 76 h 124"/>
                <a:gd name="T20" fmla="*/ 4 w 136"/>
                <a:gd name="T21" fmla="*/ 92 h 124"/>
                <a:gd name="T22" fmla="*/ 12 w 136"/>
                <a:gd name="T23" fmla="*/ 106 h 124"/>
                <a:gd name="T24" fmla="*/ 22 w 136"/>
                <a:gd name="T25" fmla="*/ 118 h 124"/>
                <a:gd name="T26" fmla="*/ 28 w 136"/>
                <a:gd name="T27" fmla="*/ 123 h 124"/>
                <a:gd name="T28" fmla="*/ 33 w 136"/>
                <a:gd name="T29" fmla="*/ 110 h 124"/>
                <a:gd name="T30" fmla="*/ 42 w 136"/>
                <a:gd name="T31" fmla="*/ 100 h 124"/>
                <a:gd name="T32" fmla="*/ 53 w 136"/>
                <a:gd name="T33" fmla="*/ 93 h 124"/>
                <a:gd name="T34" fmla="*/ 67 w 136"/>
                <a:gd name="T35" fmla="*/ 91 h 124"/>
                <a:gd name="T36" fmla="*/ 74 w 136"/>
                <a:gd name="T37" fmla="*/ 91 h 124"/>
                <a:gd name="T38" fmla="*/ 87 w 136"/>
                <a:gd name="T39" fmla="*/ 96 h 124"/>
                <a:gd name="T40" fmla="*/ 98 w 136"/>
                <a:gd name="T41" fmla="*/ 105 h 124"/>
                <a:gd name="T42" fmla="*/ 104 w 136"/>
                <a:gd name="T43" fmla="*/ 118 h 124"/>
                <a:gd name="T44" fmla="*/ 106 w 136"/>
                <a:gd name="T45" fmla="*/ 124 h 124"/>
                <a:gd name="T46" fmla="*/ 118 w 136"/>
                <a:gd name="T47" fmla="*/ 114 h 124"/>
                <a:gd name="T48" fmla="*/ 128 w 136"/>
                <a:gd name="T49" fmla="*/ 100 h 124"/>
                <a:gd name="T50" fmla="*/ 134 w 136"/>
                <a:gd name="T51" fmla="*/ 85 h 124"/>
                <a:gd name="T52" fmla="*/ 136 w 136"/>
                <a:gd name="T53" fmla="*/ 68 h 124"/>
                <a:gd name="T54" fmla="*/ 136 w 136"/>
                <a:gd name="T55" fmla="*/ 61 h 124"/>
                <a:gd name="T56" fmla="*/ 133 w 136"/>
                <a:gd name="T57" fmla="*/ 48 h 124"/>
                <a:gd name="T58" fmla="*/ 128 w 136"/>
                <a:gd name="T59" fmla="*/ 36 h 124"/>
                <a:gd name="T60" fmla="*/ 120 w 136"/>
                <a:gd name="T61" fmla="*/ 25 h 124"/>
                <a:gd name="T62" fmla="*/ 111 w 136"/>
                <a:gd name="T63" fmla="*/ 16 h 124"/>
                <a:gd name="T64" fmla="*/ 100 w 136"/>
                <a:gd name="T65" fmla="*/ 8 h 124"/>
                <a:gd name="T66" fmla="*/ 88 w 136"/>
                <a:gd name="T67" fmla="*/ 3 h 124"/>
                <a:gd name="T68" fmla="*/ 75 w 136"/>
                <a:gd name="T69" fmla="*/ 0 h 124"/>
                <a:gd name="T70" fmla="*/ 68 w 136"/>
                <a:gd name="T71" fmla="*/ 0 h 124"/>
                <a:gd name="T72" fmla="*/ 67 w 136"/>
                <a:gd name="T73" fmla="*/ 87 h 124"/>
                <a:gd name="T74" fmla="*/ 58 w 136"/>
                <a:gd name="T75" fmla="*/ 85 h 124"/>
                <a:gd name="T76" fmla="*/ 50 w 136"/>
                <a:gd name="T77" fmla="*/ 80 h 124"/>
                <a:gd name="T78" fmla="*/ 45 w 136"/>
                <a:gd name="T79" fmla="*/ 73 h 124"/>
                <a:gd name="T80" fmla="*/ 44 w 136"/>
                <a:gd name="T81" fmla="*/ 64 h 124"/>
                <a:gd name="T82" fmla="*/ 44 w 136"/>
                <a:gd name="T83" fmla="*/ 59 h 124"/>
                <a:gd name="T84" fmla="*/ 48 w 136"/>
                <a:gd name="T85" fmla="*/ 51 h 124"/>
                <a:gd name="T86" fmla="*/ 54 w 136"/>
                <a:gd name="T87" fmla="*/ 44 h 124"/>
                <a:gd name="T88" fmla="*/ 62 w 136"/>
                <a:gd name="T89" fmla="*/ 41 h 124"/>
                <a:gd name="T90" fmla="*/ 67 w 136"/>
                <a:gd name="T91" fmla="*/ 40 h 124"/>
                <a:gd name="T92" fmla="*/ 76 w 136"/>
                <a:gd name="T93" fmla="*/ 42 h 124"/>
                <a:gd name="T94" fmla="*/ 84 w 136"/>
                <a:gd name="T95" fmla="*/ 47 h 124"/>
                <a:gd name="T96" fmla="*/ 89 w 136"/>
                <a:gd name="T97" fmla="*/ 55 h 124"/>
                <a:gd name="T98" fmla="*/ 91 w 136"/>
                <a:gd name="T99" fmla="*/ 64 h 124"/>
                <a:gd name="T100" fmla="*/ 90 w 136"/>
                <a:gd name="T101" fmla="*/ 68 h 124"/>
                <a:gd name="T102" fmla="*/ 87 w 136"/>
                <a:gd name="T103" fmla="*/ 77 h 124"/>
                <a:gd name="T104" fmla="*/ 80 w 136"/>
                <a:gd name="T105" fmla="*/ 83 h 124"/>
                <a:gd name="T106" fmla="*/ 72 w 136"/>
                <a:gd name="T107" fmla="*/ 87 h 124"/>
                <a:gd name="T108" fmla="*/ 67 w 136"/>
                <a:gd name="T109" fmla="*/ 8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6" h="124">
                  <a:moveTo>
                    <a:pt x="68" y="0"/>
                  </a:moveTo>
                  <a:lnTo>
                    <a:pt x="68" y="0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48" y="3"/>
                  </a:lnTo>
                  <a:lnTo>
                    <a:pt x="42" y="5"/>
                  </a:lnTo>
                  <a:lnTo>
                    <a:pt x="36" y="8"/>
                  </a:lnTo>
                  <a:lnTo>
                    <a:pt x="30" y="12"/>
                  </a:lnTo>
                  <a:lnTo>
                    <a:pt x="25" y="16"/>
                  </a:lnTo>
                  <a:lnTo>
                    <a:pt x="20" y="20"/>
                  </a:lnTo>
                  <a:lnTo>
                    <a:pt x="16" y="25"/>
                  </a:lnTo>
                  <a:lnTo>
                    <a:pt x="12" y="30"/>
                  </a:lnTo>
                  <a:lnTo>
                    <a:pt x="8" y="36"/>
                  </a:lnTo>
                  <a:lnTo>
                    <a:pt x="5" y="42"/>
                  </a:lnTo>
                  <a:lnTo>
                    <a:pt x="3" y="48"/>
                  </a:lnTo>
                  <a:lnTo>
                    <a:pt x="1" y="54"/>
                  </a:lnTo>
                  <a:lnTo>
                    <a:pt x="0" y="61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1" y="76"/>
                  </a:lnTo>
                  <a:lnTo>
                    <a:pt x="2" y="85"/>
                  </a:lnTo>
                  <a:lnTo>
                    <a:pt x="4" y="92"/>
                  </a:lnTo>
                  <a:lnTo>
                    <a:pt x="8" y="100"/>
                  </a:lnTo>
                  <a:lnTo>
                    <a:pt x="12" y="106"/>
                  </a:lnTo>
                  <a:lnTo>
                    <a:pt x="17" y="113"/>
                  </a:lnTo>
                  <a:lnTo>
                    <a:pt x="22" y="118"/>
                  </a:lnTo>
                  <a:lnTo>
                    <a:pt x="28" y="123"/>
                  </a:lnTo>
                  <a:lnTo>
                    <a:pt x="28" y="123"/>
                  </a:lnTo>
                  <a:lnTo>
                    <a:pt x="30" y="117"/>
                  </a:lnTo>
                  <a:lnTo>
                    <a:pt x="33" y="110"/>
                  </a:lnTo>
                  <a:lnTo>
                    <a:pt x="37" y="105"/>
                  </a:lnTo>
                  <a:lnTo>
                    <a:pt x="42" y="100"/>
                  </a:lnTo>
                  <a:lnTo>
                    <a:pt x="47" y="96"/>
                  </a:lnTo>
                  <a:lnTo>
                    <a:pt x="53" y="93"/>
                  </a:lnTo>
                  <a:lnTo>
                    <a:pt x="60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74" y="91"/>
                  </a:lnTo>
                  <a:lnTo>
                    <a:pt x="81" y="93"/>
                  </a:lnTo>
                  <a:lnTo>
                    <a:pt x="87" y="96"/>
                  </a:lnTo>
                  <a:lnTo>
                    <a:pt x="93" y="100"/>
                  </a:lnTo>
                  <a:lnTo>
                    <a:pt x="98" y="105"/>
                  </a:lnTo>
                  <a:lnTo>
                    <a:pt x="102" y="111"/>
                  </a:lnTo>
                  <a:lnTo>
                    <a:pt x="104" y="118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12" y="119"/>
                  </a:lnTo>
                  <a:lnTo>
                    <a:pt x="118" y="114"/>
                  </a:lnTo>
                  <a:lnTo>
                    <a:pt x="123" y="107"/>
                  </a:lnTo>
                  <a:lnTo>
                    <a:pt x="128" y="100"/>
                  </a:lnTo>
                  <a:lnTo>
                    <a:pt x="131" y="93"/>
                  </a:lnTo>
                  <a:lnTo>
                    <a:pt x="134" y="85"/>
                  </a:lnTo>
                  <a:lnTo>
                    <a:pt x="135" y="77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6" y="61"/>
                  </a:lnTo>
                  <a:lnTo>
                    <a:pt x="135" y="54"/>
                  </a:lnTo>
                  <a:lnTo>
                    <a:pt x="133" y="48"/>
                  </a:lnTo>
                  <a:lnTo>
                    <a:pt x="131" y="42"/>
                  </a:lnTo>
                  <a:lnTo>
                    <a:pt x="128" y="36"/>
                  </a:lnTo>
                  <a:lnTo>
                    <a:pt x="124" y="30"/>
                  </a:lnTo>
                  <a:lnTo>
                    <a:pt x="120" y="25"/>
                  </a:lnTo>
                  <a:lnTo>
                    <a:pt x="116" y="20"/>
                  </a:lnTo>
                  <a:lnTo>
                    <a:pt x="111" y="16"/>
                  </a:lnTo>
                  <a:lnTo>
                    <a:pt x="106" y="12"/>
                  </a:lnTo>
                  <a:lnTo>
                    <a:pt x="100" y="8"/>
                  </a:lnTo>
                  <a:lnTo>
                    <a:pt x="94" y="5"/>
                  </a:lnTo>
                  <a:lnTo>
                    <a:pt x="88" y="3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67" y="87"/>
                  </a:moveTo>
                  <a:lnTo>
                    <a:pt x="67" y="87"/>
                  </a:lnTo>
                  <a:lnTo>
                    <a:pt x="62" y="87"/>
                  </a:lnTo>
                  <a:lnTo>
                    <a:pt x="58" y="85"/>
                  </a:lnTo>
                  <a:lnTo>
                    <a:pt x="54" y="83"/>
                  </a:lnTo>
                  <a:lnTo>
                    <a:pt x="50" y="80"/>
                  </a:lnTo>
                  <a:lnTo>
                    <a:pt x="48" y="77"/>
                  </a:lnTo>
                  <a:lnTo>
                    <a:pt x="45" y="73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59"/>
                  </a:lnTo>
                  <a:lnTo>
                    <a:pt x="45" y="55"/>
                  </a:lnTo>
                  <a:lnTo>
                    <a:pt x="48" y="51"/>
                  </a:lnTo>
                  <a:lnTo>
                    <a:pt x="50" y="47"/>
                  </a:lnTo>
                  <a:lnTo>
                    <a:pt x="54" y="44"/>
                  </a:lnTo>
                  <a:lnTo>
                    <a:pt x="58" y="42"/>
                  </a:lnTo>
                  <a:lnTo>
                    <a:pt x="62" y="41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72" y="41"/>
                  </a:lnTo>
                  <a:lnTo>
                    <a:pt x="76" y="42"/>
                  </a:lnTo>
                  <a:lnTo>
                    <a:pt x="80" y="44"/>
                  </a:lnTo>
                  <a:lnTo>
                    <a:pt x="84" y="47"/>
                  </a:lnTo>
                  <a:lnTo>
                    <a:pt x="87" y="51"/>
                  </a:lnTo>
                  <a:lnTo>
                    <a:pt x="89" y="55"/>
                  </a:lnTo>
                  <a:lnTo>
                    <a:pt x="90" y="59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0" y="68"/>
                  </a:lnTo>
                  <a:lnTo>
                    <a:pt x="89" y="73"/>
                  </a:lnTo>
                  <a:lnTo>
                    <a:pt x="87" y="77"/>
                  </a:lnTo>
                  <a:lnTo>
                    <a:pt x="84" y="80"/>
                  </a:lnTo>
                  <a:lnTo>
                    <a:pt x="80" y="83"/>
                  </a:lnTo>
                  <a:lnTo>
                    <a:pt x="76" y="85"/>
                  </a:lnTo>
                  <a:lnTo>
                    <a:pt x="72" y="87"/>
                  </a:lnTo>
                  <a:lnTo>
                    <a:pt x="67" y="87"/>
                  </a:lnTo>
                  <a:lnTo>
                    <a:pt x="67" y="8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6" name="Rectangle 167">
              <a:extLst>
                <a:ext uri="{FF2B5EF4-FFF2-40B4-BE49-F238E27FC236}">
                  <a16:creationId xmlns:a16="http://schemas.microsoft.com/office/drawing/2014/main" id="{7358695A-24F9-47A3-A621-82A06AFA9A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8" y="3320"/>
              <a:ext cx="136" cy="24"/>
            </a:xfrm>
            <a:prstGeom prst="rect">
              <a:avLst/>
            </a:pr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187" name="Rectangle 168">
              <a:extLst>
                <a:ext uri="{FF2B5EF4-FFF2-40B4-BE49-F238E27FC236}">
                  <a16:creationId xmlns:a16="http://schemas.microsoft.com/office/drawing/2014/main" id="{DF9F8881-133E-4D63-A2D8-ABEFC1533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8" y="3368"/>
              <a:ext cx="136" cy="24"/>
            </a:xfrm>
            <a:prstGeom prst="rect">
              <a:avLst/>
            </a:prstGeom>
            <a:solidFill>
              <a:srgbClr val="FFC2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grpSp>
        <p:nvGrpSpPr>
          <p:cNvPr id="198" name="Group 4">
            <a:extLst>
              <a:ext uri="{FF2B5EF4-FFF2-40B4-BE49-F238E27FC236}">
                <a16:creationId xmlns:a16="http://schemas.microsoft.com/office/drawing/2014/main" id="{B4D91A09-511E-4AAB-84B0-37A67DA4A7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0050" y="320092"/>
            <a:ext cx="1761882" cy="611890"/>
            <a:chOff x="2861" y="1820"/>
            <a:chExt cx="1958" cy="680"/>
          </a:xfrm>
        </p:grpSpPr>
        <p:sp>
          <p:nvSpPr>
            <p:cNvPr id="199" name="AutoShape 3">
              <a:extLst>
                <a:ext uri="{FF2B5EF4-FFF2-40B4-BE49-F238E27FC236}">
                  <a16:creationId xmlns:a16="http://schemas.microsoft.com/office/drawing/2014/main" id="{C4E9936A-C5E5-450F-BBD4-CD2D367D89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0" name="Freeform 5">
              <a:extLst>
                <a:ext uri="{FF2B5EF4-FFF2-40B4-BE49-F238E27FC236}">
                  <a16:creationId xmlns:a16="http://schemas.microsoft.com/office/drawing/2014/main" id="{8D5080D8-72B6-4687-94F5-A83FF8767A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1" name="Freeform 6">
              <a:extLst>
                <a:ext uri="{FF2B5EF4-FFF2-40B4-BE49-F238E27FC236}">
                  <a16:creationId xmlns:a16="http://schemas.microsoft.com/office/drawing/2014/main" id="{59E710E4-83B1-4D1E-9463-7720517446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2" name="Freeform 7">
              <a:extLst>
                <a:ext uri="{FF2B5EF4-FFF2-40B4-BE49-F238E27FC236}">
                  <a16:creationId xmlns:a16="http://schemas.microsoft.com/office/drawing/2014/main" id="{DE26E337-C34A-427F-9808-CA0CDC79A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3" name="Freeform 8">
              <a:extLst>
                <a:ext uri="{FF2B5EF4-FFF2-40B4-BE49-F238E27FC236}">
                  <a16:creationId xmlns:a16="http://schemas.microsoft.com/office/drawing/2014/main" id="{F5B62224-36CB-47A0-8944-60AD93DBBB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4" name="Freeform 9">
              <a:extLst>
                <a:ext uri="{FF2B5EF4-FFF2-40B4-BE49-F238E27FC236}">
                  <a16:creationId xmlns:a16="http://schemas.microsoft.com/office/drawing/2014/main" id="{E180C03F-E9F5-4463-83E9-D4563D507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5" name="Freeform 10">
              <a:extLst>
                <a:ext uri="{FF2B5EF4-FFF2-40B4-BE49-F238E27FC236}">
                  <a16:creationId xmlns:a16="http://schemas.microsoft.com/office/drawing/2014/main" id="{A89F4E3D-4926-454E-9E88-F009ECA78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6" name="Rectangle 11">
              <a:extLst>
                <a:ext uri="{FF2B5EF4-FFF2-40B4-BE49-F238E27FC236}">
                  <a16:creationId xmlns:a16="http://schemas.microsoft.com/office/drawing/2014/main" id="{DE7C6344-8E70-4B70-A866-70A46E5D0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07" name="Freeform 12">
              <a:extLst>
                <a:ext uri="{FF2B5EF4-FFF2-40B4-BE49-F238E27FC236}">
                  <a16:creationId xmlns:a16="http://schemas.microsoft.com/office/drawing/2014/main" id="{359BE81A-0058-48E1-A105-3BCCE550D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sp>
        <p:nvSpPr>
          <p:cNvPr id="209" name="Shape 142">
            <a:extLst>
              <a:ext uri="{FF2B5EF4-FFF2-40B4-BE49-F238E27FC236}">
                <a16:creationId xmlns:a16="http://schemas.microsoft.com/office/drawing/2014/main" id="{A07C3C41-1C2B-4313-8CC3-D1273E772D3C}"/>
              </a:ext>
            </a:extLst>
          </p:cNvPr>
          <p:cNvSpPr/>
          <p:nvPr/>
        </p:nvSpPr>
        <p:spPr>
          <a:xfrm>
            <a:off x="409529" y="1379409"/>
            <a:ext cx="5549946" cy="33752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99" tIns="25399" rIns="25399" bIns="25399" anchor="ctr">
            <a:spAutoFit/>
          </a:bodyPr>
          <a:lstStyle/>
          <a:p>
            <a:pPr defTabSz="412724" hangingPunct="0">
              <a:defRPr sz="12400" cap="all">
                <a:solidFill>
                  <a:srgbClr val="343E47"/>
                </a:solidFill>
                <a:latin typeface="Roboto Black"/>
                <a:ea typeface="Roboto Black"/>
                <a:cs typeface="Roboto Black"/>
                <a:sym typeface="Roboto Black"/>
              </a:defRPr>
            </a:pPr>
            <a:r>
              <a:rPr lang="tr-TR" sz="5400" kern="0" cap="all" dirty="0" err="1">
                <a:solidFill>
                  <a:schemeClr val="bg1"/>
                </a:solidFill>
                <a:latin typeface="Source Sans Pro Black"/>
                <a:ea typeface="Source Sans Pro SemiBold" panose="020B0603030403020204" pitchFamily="34" charset="0"/>
                <a:cs typeface="Roboto Black"/>
                <a:sym typeface="Roboto Black"/>
              </a:rPr>
              <a:t>BusIness</a:t>
            </a:r>
            <a:r>
              <a:rPr lang="tr-TR" sz="5400" kern="0" cap="all" dirty="0">
                <a:solidFill>
                  <a:schemeClr val="bg1"/>
                </a:solidFill>
                <a:latin typeface="Source Sans Pro Black"/>
                <a:ea typeface="Source Sans Pro SemiBold" panose="020B0603030403020204" pitchFamily="34" charset="0"/>
                <a:cs typeface="Roboto Black"/>
                <a:sym typeface="Roboto Black"/>
              </a:rPr>
              <a:t> </a:t>
            </a:r>
            <a:r>
              <a:rPr lang="tr-TR" sz="5400" kern="0" cap="all" dirty="0" err="1">
                <a:solidFill>
                  <a:schemeClr val="bg1"/>
                </a:solidFill>
                <a:latin typeface="Source Sans Pro Black"/>
                <a:ea typeface="Source Sans Pro SemiBold" panose="020B0603030403020204" pitchFamily="34" charset="0"/>
                <a:cs typeface="Roboto Black"/>
                <a:sym typeface="Roboto Black"/>
              </a:rPr>
              <a:t>OrIented</a:t>
            </a:r>
            <a:r>
              <a:rPr lang="tr-TR" sz="5400" kern="0" cap="all" dirty="0">
                <a:solidFill>
                  <a:schemeClr val="bg1"/>
                </a:solidFill>
                <a:latin typeface="Source Sans Pro Black"/>
                <a:ea typeface="Source Sans Pro SemiBold" panose="020B0603030403020204" pitchFamily="34" charset="0"/>
                <a:cs typeface="Roboto Black"/>
                <a:sym typeface="Roboto Black"/>
              </a:rPr>
              <a:t> </a:t>
            </a:r>
            <a:r>
              <a:rPr lang="tr-TR" sz="5400" kern="0" cap="all" dirty="0" err="1">
                <a:solidFill>
                  <a:schemeClr val="bg1"/>
                </a:solidFill>
                <a:latin typeface="Source Sans Pro Black"/>
                <a:ea typeface="Source Sans Pro SemiBold" panose="020B0603030403020204" pitchFamily="34" charset="0"/>
                <a:cs typeface="Roboto Black"/>
                <a:sym typeface="Roboto Black"/>
              </a:rPr>
              <a:t>ArchItecture</a:t>
            </a:r>
            <a:r>
              <a:rPr lang="tr-TR" sz="5400" kern="0" cap="all" dirty="0">
                <a:solidFill>
                  <a:schemeClr val="bg1"/>
                </a:solidFill>
                <a:latin typeface="Source Sans Pro Black"/>
                <a:ea typeface="Source Sans Pro SemiBold" panose="020B0603030403020204" pitchFamily="34" charset="0"/>
                <a:cs typeface="Roboto Black"/>
                <a:sym typeface="Roboto Black"/>
              </a:rPr>
              <a:t> (BOA)</a:t>
            </a:r>
            <a:endParaRPr kumimoji="0" lang="tr-TR" sz="4800" b="0" i="0" u="none" strike="noStrike" kern="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Black"/>
              <a:ea typeface="Source Sans Pro SemiBold" panose="020B0603030403020204" pitchFamily="34" charset="0"/>
              <a:cs typeface="Roboto Black"/>
              <a:sym typeface="Roboto Black"/>
            </a:endParaRPr>
          </a:p>
        </p:txBody>
      </p:sp>
      <p:sp>
        <p:nvSpPr>
          <p:cNvPr id="212" name="Title 3">
            <a:extLst>
              <a:ext uri="{FF2B5EF4-FFF2-40B4-BE49-F238E27FC236}">
                <a16:creationId xmlns:a16="http://schemas.microsoft.com/office/drawing/2014/main" id="{51913371-B8F9-4C62-9792-817A0C726324}"/>
              </a:ext>
            </a:extLst>
          </p:cNvPr>
          <p:cNvSpPr txBox="1">
            <a:spLocks/>
          </p:cNvSpPr>
          <p:nvPr/>
        </p:nvSpPr>
        <p:spPr>
          <a:xfrm>
            <a:off x="460329" y="6168232"/>
            <a:ext cx="5053902" cy="4112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Roboto Thin" charset="0"/>
                <a:ea typeface="Roboto Thin" charset="0"/>
                <a:cs typeface="Roboto Thin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60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 Semilight" panose="020B0402040204020203" pitchFamily="34" charset="0"/>
              <a:ea typeface="Source Sans Pro Light" panose="020B040303040302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612729" y="5799952"/>
            <a:ext cx="22914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00050" y="5375070"/>
            <a:ext cx="627697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2400" dirty="0">
                <a:solidFill>
                  <a:schemeClr val="bg1"/>
                </a:solidFill>
              </a:rPr>
              <a:t>Ömer Yanar</a:t>
            </a:r>
          </a:p>
          <a:p>
            <a:r>
              <a:rPr lang="tr-TR" dirty="0">
                <a:solidFill>
                  <a:schemeClr val="bg1"/>
                </a:solidFill>
              </a:rPr>
              <a:t>Center of </a:t>
            </a:r>
            <a:r>
              <a:rPr lang="tr-TR" dirty="0" err="1">
                <a:solidFill>
                  <a:schemeClr val="bg1"/>
                </a:solidFill>
              </a:rPr>
              <a:t>Excellence</a:t>
            </a:r>
            <a:r>
              <a:rPr lang="tr-TR" dirty="0">
                <a:solidFill>
                  <a:schemeClr val="bg1"/>
                </a:solidFill>
              </a:rPr>
              <a:t> </a:t>
            </a:r>
            <a:r>
              <a:rPr lang="tr-TR" dirty="0" err="1">
                <a:solidFill>
                  <a:schemeClr val="bg1"/>
                </a:solidFill>
              </a:rPr>
              <a:t>Lead</a:t>
            </a:r>
            <a:endParaRPr lang="tr-TR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Architecht</a:t>
            </a:r>
            <a:r>
              <a:rPr lang="en-US" dirty="0">
                <a:solidFill>
                  <a:schemeClr val="bg1"/>
                </a:solidFill>
              </a:rPr>
              <a:t> Information Systems and Marketing Trade Inc.</a:t>
            </a:r>
            <a:endParaRPr lang="en-US" sz="2400" dirty="0">
              <a:solidFill>
                <a:schemeClr val="bg1"/>
              </a:solidFill>
            </a:endParaRPr>
          </a:p>
          <a:p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184399"/>
      </p:ext>
    </p:extLst>
  </p:cSld>
  <p:clrMapOvr>
    <a:masterClrMapping/>
  </p:clrMapOvr>
  <p:transition spd="slow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BOA Architecture</a:t>
            </a:r>
            <a:endParaRPr lang="en-US" dirty="0"/>
          </a:p>
        </p:txBody>
      </p:sp>
      <p:pic>
        <p:nvPicPr>
          <p:cNvPr id="3" name="Picture 2" descr="D:\Docs\boa_LAYER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28235" y="423287"/>
            <a:ext cx="5413992" cy="59447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96175330"/>
      </p:ext>
    </p:extLst>
  </p:cSld>
  <p:clrMapOvr>
    <a:masterClrMapping/>
  </p:clrMapOvr>
  <p:transition spd="slow" advTm="2000">
    <p:cover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Why</a:t>
            </a:r>
            <a:r>
              <a:rPr lang="tr-TR" dirty="0"/>
              <a:t> WPF?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682997" y="962700"/>
            <a:ext cx="10323540" cy="6488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tiliz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hardware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S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ources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ong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nding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pabilities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x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eration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ch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rienc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clarativ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amming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f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rol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tbox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oltip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yle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m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d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sy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d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ee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th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’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ew UI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roach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s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d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n WPF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279457" y="6010006"/>
            <a:ext cx="6351478" cy="386269"/>
            <a:chOff x="5287923" y="5727913"/>
            <a:chExt cx="6351478" cy="386269"/>
          </a:xfrm>
        </p:grpSpPr>
        <p:sp>
          <p:nvSpPr>
            <p:cNvPr id="5" name="Rounded Rectangle 4"/>
            <p:cNvSpPr/>
            <p:nvPr/>
          </p:nvSpPr>
          <p:spPr>
            <a:xfrm>
              <a:off x="5287923" y="6042182"/>
              <a:ext cx="5155524" cy="72000"/>
            </a:xfrm>
            <a:prstGeom prst="roundRect">
              <a:avLst>
                <a:gd name="adj" fmla="val 50000"/>
              </a:avLst>
            </a:prstGeom>
            <a:solidFill>
              <a:srgbClr val="5CA5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7456876" y="5727913"/>
              <a:ext cx="4182525" cy="71795"/>
            </a:xfrm>
            <a:prstGeom prst="roundRect">
              <a:avLst>
                <a:gd name="adj" fmla="val 50000"/>
              </a:avLst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862203" y="5889308"/>
              <a:ext cx="4280718" cy="63274"/>
            </a:xfrm>
            <a:prstGeom prst="roundRect">
              <a:avLst>
                <a:gd name="adj" fmla="val 50000"/>
              </a:avLst>
            </a:prstGeom>
            <a:solidFill>
              <a:srgbClr val="E0EF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112162" y="1548559"/>
            <a:ext cx="288000" cy="288000"/>
            <a:chOff x="6919201" y="2053139"/>
            <a:chExt cx="604695" cy="604695"/>
          </a:xfrm>
        </p:grpSpPr>
        <p:sp>
          <p:nvSpPr>
            <p:cNvPr id="9" name="Rounded Rectangle 8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112162" y="2021616"/>
            <a:ext cx="288000" cy="288000"/>
            <a:chOff x="6919201" y="2053139"/>
            <a:chExt cx="604695" cy="604695"/>
          </a:xfrm>
        </p:grpSpPr>
        <p:sp>
          <p:nvSpPr>
            <p:cNvPr id="12" name="Rounded Rectangle 11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112162" y="2417778"/>
            <a:ext cx="288000" cy="288000"/>
            <a:chOff x="6919201" y="2053139"/>
            <a:chExt cx="604695" cy="604695"/>
          </a:xfrm>
        </p:grpSpPr>
        <p:sp>
          <p:nvSpPr>
            <p:cNvPr id="15" name="Rounded Rectangle 14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112161" y="2826963"/>
            <a:ext cx="288000" cy="288000"/>
            <a:chOff x="6919201" y="2053139"/>
            <a:chExt cx="604695" cy="604695"/>
          </a:xfrm>
        </p:grpSpPr>
        <p:sp>
          <p:nvSpPr>
            <p:cNvPr id="18" name="Rounded Rectangle 17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112160" y="3236148"/>
            <a:ext cx="288000" cy="288000"/>
            <a:chOff x="6919201" y="2053139"/>
            <a:chExt cx="604695" cy="604695"/>
          </a:xfrm>
        </p:grpSpPr>
        <p:sp>
          <p:nvSpPr>
            <p:cNvPr id="21" name="Rounded Rectangle 20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112160" y="3686175"/>
            <a:ext cx="288000" cy="288000"/>
            <a:chOff x="6919201" y="2053139"/>
            <a:chExt cx="604695" cy="604695"/>
          </a:xfrm>
        </p:grpSpPr>
        <p:sp>
          <p:nvSpPr>
            <p:cNvPr id="24" name="Rounded Rectangle 23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112160" y="4118464"/>
            <a:ext cx="288000" cy="288000"/>
            <a:chOff x="6919201" y="2053139"/>
            <a:chExt cx="604695" cy="604695"/>
          </a:xfrm>
        </p:grpSpPr>
        <p:sp>
          <p:nvSpPr>
            <p:cNvPr id="27" name="Rounded Rectangle 26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112160" y="4515744"/>
            <a:ext cx="288000" cy="288000"/>
            <a:chOff x="6919201" y="2053139"/>
            <a:chExt cx="604695" cy="604695"/>
          </a:xfrm>
        </p:grpSpPr>
        <p:sp>
          <p:nvSpPr>
            <p:cNvPr id="30" name="Rounded Rectangle 29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3405266"/>
      </p:ext>
    </p:extLst>
  </p:cSld>
  <p:clrMapOvr>
    <a:masterClrMapping/>
  </p:clrMapOvr>
  <p:transition spd="slow" advTm="2000">
    <p:cover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The</a:t>
            </a:r>
            <a:r>
              <a:rPr lang="tr-TR" dirty="0"/>
              <a:t> </a:t>
            </a:r>
            <a:r>
              <a:rPr lang="tr-TR" dirty="0" err="1"/>
              <a:t>Container</a:t>
            </a:r>
            <a:r>
              <a:rPr lang="tr-TR" dirty="0"/>
              <a:t> (Desktop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8082" y="291288"/>
            <a:ext cx="5764372" cy="29470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8082" y="3401772"/>
            <a:ext cx="5791200" cy="296075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11237" y="1255030"/>
            <a:ext cx="5072344" cy="56267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 Levels of Navigation Support (Ribbon, Carousel, Tree Menu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y Customizable Screen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oating Window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A Portal (Welcome Window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st 20 Transaction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st 20 Customer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y Favorite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y Dutie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ick Access Toolbar</a:t>
            </a:r>
          </a:p>
          <a:p>
            <a:pPr>
              <a:lnSpc>
                <a:spcPct val="20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87599"/>
      </p:ext>
    </p:extLst>
  </p:cSld>
  <p:clrMapOvr>
    <a:masterClrMapping/>
  </p:clrMapOvr>
  <p:transition spd="slow" advTm="2000">
    <p:cover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The</a:t>
            </a:r>
            <a:r>
              <a:rPr lang="tr-TR" dirty="0"/>
              <a:t> </a:t>
            </a:r>
            <a:r>
              <a:rPr lang="tr-TR" dirty="0" err="1"/>
              <a:t>Container</a:t>
            </a:r>
            <a:r>
              <a:rPr lang="tr-TR" dirty="0"/>
              <a:t> (Web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A0CEC5-733F-4431-A882-EB24852644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384" y="1040753"/>
            <a:ext cx="10357164" cy="4776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25424"/>
      </p:ext>
    </p:extLst>
  </p:cSld>
  <p:clrMapOvr>
    <a:masterClrMapping/>
  </p:clrMapOvr>
  <p:transition spd="slow" advTm="2000">
    <p:cover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9436308" y="3322630"/>
            <a:ext cx="2468145" cy="2595091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547450" y="4638512"/>
            <a:ext cx="2725948" cy="1914167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6547449" y="2345610"/>
            <a:ext cx="2725948" cy="2292902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utomated Generation of Toolbar and Command Buttons (Actions) </a:t>
            </a:r>
          </a:p>
        </p:txBody>
      </p:sp>
      <p:sp>
        <p:nvSpPr>
          <p:cNvPr id="3" name="Rectangle 2"/>
          <p:cNvSpPr/>
          <p:nvPr/>
        </p:nvSpPr>
        <p:spPr>
          <a:xfrm>
            <a:off x="682997" y="962700"/>
            <a:ext cx="5072344" cy="5195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toolbar is generated dynamically according to the rights of the current user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ons, rights and relationship with the screens are fully declarative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n Workflow actions are generated accordingly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and pattern for the button click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20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436966268"/>
              </p:ext>
            </p:extLst>
          </p:nvPr>
        </p:nvGraphicFramePr>
        <p:xfrm>
          <a:off x="7074109" y="1034271"/>
          <a:ext cx="4724400" cy="16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92426" y="3453290"/>
            <a:ext cx="2170287" cy="23095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0361" y="2443897"/>
            <a:ext cx="2417956" cy="20963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0361" y="4638512"/>
            <a:ext cx="2432850" cy="175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948377"/>
      </p:ext>
    </p:extLst>
  </p:cSld>
  <p:clrMapOvr>
    <a:masterClrMapping/>
  </p:clrMapOvr>
  <p:transition spd="slow" advTm="2000">
    <p:cover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927011" y="962700"/>
            <a:ext cx="4701397" cy="5446726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User </a:t>
            </a:r>
            <a:r>
              <a:rPr lang="tr-TR" dirty="0" err="1"/>
              <a:t>Experience</a:t>
            </a:r>
            <a:r>
              <a:rPr lang="tr-TR" dirty="0"/>
              <a:t> </a:t>
            </a:r>
            <a:r>
              <a:rPr lang="tr-TR" dirty="0" err="1"/>
              <a:t>Studie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38373" y="1024533"/>
            <a:ext cx="3895248" cy="52843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82997" y="962700"/>
            <a:ext cx="507234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 Experience and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gonomy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udy with Microsoft and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nnyFoot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Oxford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gonomy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ssessment with the Academic World </a:t>
            </a:r>
            <a:b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Prof. Dr.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thi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Çalışır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ult: User-Centric Design Methodology for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Idesign</a:t>
            </a:r>
            <a:b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013968"/>
      </p:ext>
    </p:extLst>
  </p:cSld>
  <p:clrMapOvr>
    <a:masterClrMapping/>
  </p:clrMapOvr>
  <p:transition spd="slow" advTm="2000">
    <p:cover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plication Server – Service Bus Topolog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477" y="945903"/>
            <a:ext cx="7369543" cy="564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723528"/>
      </p:ext>
    </p:extLst>
  </p:cSld>
  <p:clrMapOvr>
    <a:masterClrMapping/>
  </p:clrMapOvr>
  <p:transition spd="slow" advTm="2000">
    <p:cover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38165" y="277801"/>
            <a:ext cx="10447683" cy="486355"/>
          </a:xfrm>
        </p:spPr>
        <p:txBody>
          <a:bodyPr/>
          <a:lstStyle/>
          <a:p>
            <a:r>
              <a:rPr lang="en-US" dirty="0"/>
              <a:t>Request/Response Communication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0414" y="749764"/>
            <a:ext cx="664564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nTransactionalReques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aul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alReques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itabl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al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pleReques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b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itabl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tch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crease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und-trip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)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pleTransactionalReques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itable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tch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al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s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pic>
        <p:nvPicPr>
          <p:cNvPr id="5" name="Picture 2" descr="D:\Docs\BOA\boa_LAYERS_rotated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729" y="2036033"/>
            <a:ext cx="4252315" cy="4343400"/>
          </a:xfrm>
          <a:prstGeom prst="rect">
            <a:avLst/>
          </a:prstGeom>
          <a:noFill/>
        </p:spPr>
      </p:pic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3218330" y="1426433"/>
            <a:ext cx="5105400" cy="1752599"/>
          </a:xfrm>
          <a:prstGeom prst="rect">
            <a:avLst/>
          </a:prstGeom>
        </p:spPr>
        <p:txBody>
          <a:bodyPr/>
          <a:lstStyle/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Blip>
                <a:blip r:embed="rId3"/>
              </a:buBlip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Blip>
                <a:blip r:embed="rId3"/>
              </a:buBlip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ight Arrow 6"/>
          <p:cNvSpPr/>
          <p:nvPr/>
        </p:nvSpPr>
        <p:spPr bwMode="auto">
          <a:xfrm>
            <a:off x="4343171" y="3255233"/>
            <a:ext cx="2514600" cy="914400"/>
          </a:xfrm>
          <a:prstGeom prst="rightArrow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glow" dir="t"/>
          </a:scene3d>
          <a:sp3d prstMaterial="powder">
            <a:bevelT h="508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tr-TR" sz="2400" dirty="0">
                <a:solidFill>
                  <a:schemeClr val="bg1"/>
                </a:solidFill>
              </a:rPr>
              <a:t>BOA Request</a:t>
            </a:r>
          </a:p>
        </p:txBody>
      </p:sp>
      <p:sp>
        <p:nvSpPr>
          <p:cNvPr id="8" name="Right Arrow 7"/>
          <p:cNvSpPr/>
          <p:nvPr/>
        </p:nvSpPr>
        <p:spPr bwMode="auto">
          <a:xfrm flipH="1">
            <a:off x="4315716" y="4474433"/>
            <a:ext cx="2514600" cy="914400"/>
          </a:xfrm>
          <a:prstGeom prst="rightArrow">
            <a:avLst/>
          </a:prstGeom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glow" dir="t"/>
          </a:scene3d>
          <a:sp3d prstMaterial="powder">
            <a:bevelT h="508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tr-TR" sz="2400" dirty="0">
                <a:solidFill>
                  <a:schemeClr val="bg1"/>
                </a:solidFill>
              </a:rPr>
              <a:t>BOA Response</a:t>
            </a:r>
          </a:p>
        </p:txBody>
      </p:sp>
      <p:sp>
        <p:nvSpPr>
          <p:cNvPr id="9" name="U-Turn Arrow 8"/>
          <p:cNvSpPr/>
          <p:nvPr/>
        </p:nvSpPr>
        <p:spPr bwMode="auto">
          <a:xfrm rot="5400000">
            <a:off x="8584596" y="2488733"/>
            <a:ext cx="2057400" cy="4191000"/>
          </a:xfrm>
          <a:prstGeom prst="uturnArrow">
            <a:avLst>
              <a:gd name="adj1" fmla="val 24091"/>
              <a:gd name="adj2" fmla="val 25000"/>
              <a:gd name="adj3" fmla="val 25000"/>
              <a:gd name="adj4" fmla="val 43523"/>
              <a:gd name="adj5" fmla="val 75000"/>
            </a:avLst>
          </a:prstGeom>
          <a:gradFill>
            <a:gsLst>
              <a:gs pos="0">
                <a:schemeClr val="accent1">
                  <a:shade val="45000"/>
                  <a:satMod val="155000"/>
                  <a:alpha val="0"/>
                </a:schemeClr>
              </a:gs>
              <a:gs pos="75000">
                <a:schemeClr val="accent1">
                  <a:shade val="45000"/>
                  <a:satMod val="155000"/>
                  <a:alpha val="0"/>
                </a:schemeClr>
              </a:gs>
              <a:gs pos="60000">
                <a:schemeClr val="accent1">
                  <a:shade val="95000"/>
                  <a:satMod val="150000"/>
                </a:schemeClr>
              </a:gs>
              <a:gs pos="100000">
                <a:schemeClr val="accent1">
                  <a:tint val="87000"/>
                  <a:satMod val="2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tr-TR" sz="2400" dirty="0">
              <a:solidFill>
                <a:schemeClr val="tx1"/>
              </a:solidFill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201328264"/>
              </p:ext>
            </p:extLst>
          </p:nvPr>
        </p:nvGraphicFramePr>
        <p:xfrm>
          <a:off x="2989730" y="3407633"/>
          <a:ext cx="762000" cy="190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056530" y="3179033"/>
            <a:ext cx="184666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compress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27930" y="3179033"/>
            <a:ext cx="184666" cy="1143000"/>
          </a:xfrm>
          <a:prstGeom prst="rect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encryp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916270" y="3179033"/>
            <a:ext cx="184666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decompress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36796" y="3179033"/>
            <a:ext cx="184666" cy="1143000"/>
          </a:xfrm>
          <a:prstGeom prst="rect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decryp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56530" y="4398233"/>
            <a:ext cx="184666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decompress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827930" y="4398233"/>
            <a:ext cx="184666" cy="1143000"/>
          </a:xfrm>
          <a:prstGeom prst="rect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decryp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08196" y="4398233"/>
            <a:ext cx="184666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compress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136796" y="4398233"/>
            <a:ext cx="184666" cy="1143000"/>
          </a:xfrm>
          <a:prstGeom prst="rect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wrap="square" lIns="0" tIns="0" rIns="0" bIns="0" rtlCol="0">
            <a:spAutoFit/>
          </a:bodyPr>
          <a:lstStyle/>
          <a:p>
            <a:pPr algn="ctr"/>
            <a:r>
              <a:rPr lang="tr-TR" sz="1200" dirty="0">
                <a:solidFill>
                  <a:srgbClr val="292929"/>
                </a:solidFill>
              </a:rPr>
              <a:t>encryption</a:t>
            </a:r>
          </a:p>
        </p:txBody>
      </p:sp>
      <p:sp>
        <p:nvSpPr>
          <p:cNvPr id="19" name="Flowchart: Summing Junction 18"/>
          <p:cNvSpPr/>
          <p:nvPr/>
        </p:nvSpPr>
        <p:spPr bwMode="auto">
          <a:xfrm>
            <a:off x="3599330" y="4245833"/>
            <a:ext cx="304800" cy="304800"/>
          </a:xfrm>
          <a:prstGeom prst="flowChartSummingJunctio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tr-TR" sz="2400" dirty="0">
              <a:solidFill>
                <a:schemeClr val="tx1"/>
              </a:solidFill>
            </a:endParaRPr>
          </a:p>
        </p:txBody>
      </p:sp>
      <p:sp>
        <p:nvSpPr>
          <p:cNvPr id="20" name="Flowchart: Summing Junction 19"/>
          <p:cNvSpPr/>
          <p:nvPr/>
        </p:nvSpPr>
        <p:spPr bwMode="auto">
          <a:xfrm>
            <a:off x="7256930" y="4245833"/>
            <a:ext cx="304800" cy="304800"/>
          </a:xfrm>
          <a:prstGeom prst="flowChartSummingJunctio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tr-T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28871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BOA </a:t>
            </a:r>
            <a:r>
              <a:rPr lang="tr-TR" dirty="0" err="1"/>
              <a:t>Engines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449475297"/>
              </p:ext>
            </p:extLst>
          </p:nvPr>
        </p:nvGraphicFramePr>
        <p:xfrm>
          <a:off x="4901020" y="902268"/>
          <a:ext cx="6057900" cy="5955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234441358"/>
              </p:ext>
            </p:extLst>
          </p:nvPr>
        </p:nvGraphicFramePr>
        <p:xfrm>
          <a:off x="5891620" y="2590800"/>
          <a:ext cx="3733800" cy="2667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9764521" y="5785752"/>
            <a:ext cx="2388798" cy="84406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 err="1">
                <a:solidFill>
                  <a:schemeClr val="tx1">
                    <a:lumMod val="50000"/>
                  </a:schemeClr>
                </a:solidFill>
              </a:rPr>
              <a:t>Parameterized</a:t>
            </a: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Accounting Definitions w/o Manual Cod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Blip>
                <a:blip r:embed="rId12"/>
              </a:buBlip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7" name="Rectangle 9"/>
          <p:cNvSpPr txBox="1">
            <a:spLocks noChangeArrowheads="1"/>
          </p:cNvSpPr>
          <p:nvPr/>
        </p:nvSpPr>
        <p:spPr>
          <a:xfrm>
            <a:off x="8452184" y="1017253"/>
            <a:ext cx="2667000" cy="7366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Parameterized Commission Definitions w/o Manual Cod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Blip>
                <a:blip r:embed="rId12"/>
              </a:buBlip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970750" y="5791614"/>
            <a:ext cx="2104169" cy="838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 err="1">
                <a:solidFill>
                  <a:schemeClr val="tx1">
                    <a:lumMod val="50000"/>
                  </a:schemeClr>
                </a:solidFill>
              </a:rPr>
              <a:t>Parameterized</a:t>
            </a: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 err="1">
                <a:solidFill>
                  <a:schemeClr val="tx1">
                    <a:lumMod val="50000"/>
                  </a:schemeClr>
                </a:solidFill>
              </a:rPr>
              <a:t>Workflows</a:t>
            </a: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 w/o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Manual Coding</a:t>
            </a:r>
            <a:endParaRPr lang="tr-TR" sz="1200" dirty="0">
              <a:solidFill>
                <a:schemeClr val="tx1">
                  <a:lumMod val="50000"/>
                </a:schemeClr>
              </a:solidFill>
            </a:endParaRPr>
          </a:p>
          <a:p>
            <a:pPr marL="460375" marR="0" lvl="0" indent="-460375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Blip>
                <a:blip r:embed="rId12"/>
              </a:buBlip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60375" marR="0" lvl="0" indent="-460375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Blip>
                <a:blip r:embed="rId12"/>
              </a:buBlip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60375" marR="0" lvl="0" indent="-460375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>
          <a:xfrm>
            <a:off x="5115961" y="1017253"/>
            <a:ext cx="2282449" cy="8683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200" b="1" dirty="0">
                <a:solidFill>
                  <a:schemeClr val="tx1">
                    <a:lumMod val="50000"/>
                  </a:schemeClr>
                </a:solidFill>
              </a:rPr>
              <a:t>Parameterized Slip Definitions w/o Manual Cod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 txBox="1">
            <a:spLocks noChangeArrowheads="1"/>
          </p:cNvSpPr>
          <p:nvPr/>
        </p:nvSpPr>
        <p:spPr>
          <a:xfrm>
            <a:off x="741829" y="1430114"/>
            <a:ext cx="3162300" cy="5239806"/>
          </a:xfrm>
          <a:prstGeom prst="rect">
            <a:avLst/>
          </a:prstGeom>
        </p:spPr>
        <p:txBody>
          <a:bodyPr/>
          <a:lstStyle/>
          <a:p>
            <a:pPr marL="285750" lvl="0" indent="-285750">
              <a:lnSpc>
                <a:spcPct val="150000"/>
              </a:lnSpc>
              <a:spcBef>
                <a:spcPct val="20000"/>
              </a:spcBef>
              <a:buSzPct val="85000"/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inition based (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ge without coding)</a:t>
            </a:r>
            <a:endParaRPr lang="en-US" sz="1600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spcBef>
                <a:spcPct val="20000"/>
              </a:spcBef>
              <a:buSzPct val="85000"/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ugin model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E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ily add/remove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tr-TR" sz="1600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spcBef>
                <a:spcPct val="20000"/>
              </a:spcBef>
              <a:buSzPct val="85000"/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loper friendly model (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imum code to implement)</a:t>
            </a:r>
            <a:endParaRPr lang="en-US" sz="1600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spcBef>
                <a:spcPct val="20000"/>
              </a:spcBef>
              <a:buSzPct val="85000"/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to integrated to each request</a:t>
            </a:r>
            <a:endParaRPr lang="en-US" sz="1600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spcBef>
                <a:spcPct val="20000"/>
              </a:spcBef>
              <a:buSzPct val="85000"/>
              <a:buFont typeface="Wingdings" panose="05000000000000000000" pitchFamily="2" charset="2"/>
              <a:buChar char="Ø"/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neld </a:t>
            </a:r>
            <a:r>
              <a:rPr lang="tr-TR" sz="1600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d</a:t>
            </a:r>
            <a:r>
              <a:rPr lang="tr-TR" sz="16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600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</a:t>
            </a:r>
            <a:endParaRPr lang="tr-TR" sz="1600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783254"/>
      </p:ext>
    </p:extLst>
  </p:cSld>
  <p:clrMapOvr>
    <a:masterClrMapping/>
  </p:clrMapOvr>
  <p:transition spd="slow" advTm="2000">
    <p:cover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r"/>
            <a:r>
              <a:rPr lang="tr-TR" dirty="0"/>
              <a:t>Engine </a:t>
            </a:r>
            <a:r>
              <a:rPr lang="tr-TR" dirty="0" err="1"/>
              <a:t>Execution</a:t>
            </a:r>
            <a:r>
              <a:rPr lang="tr-TR" dirty="0"/>
              <a:t> </a:t>
            </a:r>
            <a:r>
              <a:rPr lang="tr-TR" dirty="0" err="1"/>
              <a:t>Order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819875021"/>
              </p:ext>
            </p:extLst>
          </p:nvPr>
        </p:nvGraphicFramePr>
        <p:xfrm>
          <a:off x="844831" y="534465"/>
          <a:ext cx="8382000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5245106"/>
      </p:ext>
    </p:extLst>
  </p:cSld>
  <p:clrMapOvr>
    <a:masterClrMapping/>
  </p:clrMapOvr>
  <p:transition spd="slow" advTm="2000">
    <p:cover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sz="2400" dirty="0" err="1"/>
              <a:t>Agenda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430128" y="1098037"/>
            <a:ext cx="10323540" cy="5026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nking System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dules</a:t>
            </a: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ndscape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nology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chitecture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gines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s</a:t>
            </a: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&amp;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iance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</a:t>
            </a: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nchmark</a:t>
            </a: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es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ftware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tory</a:t>
            </a: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OD, BCP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T Bank Germany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lementation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ture</a:t>
            </a: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ion</a:t>
            </a:r>
            <a:endParaRPr lang="tr-TR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tr-TR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&amp;A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571564" y="1855984"/>
            <a:ext cx="3300873" cy="3618930"/>
            <a:chOff x="810963" y="2330605"/>
            <a:chExt cx="3936538" cy="3801908"/>
          </a:xfrm>
        </p:grpSpPr>
        <p:sp>
          <p:nvSpPr>
            <p:cNvPr id="12" name="Oval 11"/>
            <p:cNvSpPr>
              <a:spLocks noChangeArrowheads="1"/>
            </p:cNvSpPr>
            <p:nvPr/>
          </p:nvSpPr>
          <p:spPr bwMode="auto">
            <a:xfrm>
              <a:off x="1942700" y="5728622"/>
              <a:ext cx="2752913" cy="26926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2036661" y="2563403"/>
              <a:ext cx="2569198" cy="2421946"/>
            </a:xfrm>
            <a:custGeom>
              <a:avLst/>
              <a:gdLst>
                <a:gd name="T0" fmla="*/ 1746 w 1832"/>
                <a:gd name="T1" fmla="*/ 1727 h 1727"/>
                <a:gd name="T2" fmla="*/ 82 w 1832"/>
                <a:gd name="T3" fmla="*/ 1727 h 1727"/>
                <a:gd name="T4" fmla="*/ 0 w 1832"/>
                <a:gd name="T5" fmla="*/ 0 h 1727"/>
                <a:gd name="T6" fmla="*/ 1832 w 1832"/>
                <a:gd name="T7" fmla="*/ 0 h 1727"/>
                <a:gd name="T8" fmla="*/ 1746 w 1832"/>
                <a:gd name="T9" fmla="*/ 1727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727">
                  <a:moveTo>
                    <a:pt x="1746" y="1727"/>
                  </a:moveTo>
                  <a:lnTo>
                    <a:pt x="82" y="1727"/>
                  </a:lnTo>
                  <a:lnTo>
                    <a:pt x="0" y="0"/>
                  </a:lnTo>
                  <a:lnTo>
                    <a:pt x="1832" y="0"/>
                  </a:lnTo>
                  <a:lnTo>
                    <a:pt x="1746" y="1727"/>
                  </a:lnTo>
                  <a:close/>
                </a:path>
              </a:pathLst>
            </a:custGeom>
            <a:solidFill>
              <a:srgbClr val="CC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2108183" y="2660170"/>
              <a:ext cx="2424751" cy="2241036"/>
            </a:xfrm>
            <a:custGeom>
              <a:avLst/>
              <a:gdLst>
                <a:gd name="T0" fmla="*/ 1649 w 1729"/>
                <a:gd name="T1" fmla="*/ 1598 h 1598"/>
                <a:gd name="T2" fmla="*/ 77 w 1729"/>
                <a:gd name="T3" fmla="*/ 1598 h 1598"/>
                <a:gd name="T4" fmla="*/ 0 w 1729"/>
                <a:gd name="T5" fmla="*/ 0 h 1598"/>
                <a:gd name="T6" fmla="*/ 1729 w 1729"/>
                <a:gd name="T7" fmla="*/ 0 h 1598"/>
                <a:gd name="T8" fmla="*/ 1649 w 1729"/>
                <a:gd name="T9" fmla="*/ 1598 h 1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9" h="1598">
                  <a:moveTo>
                    <a:pt x="1649" y="1598"/>
                  </a:moveTo>
                  <a:lnTo>
                    <a:pt x="77" y="1598"/>
                  </a:lnTo>
                  <a:lnTo>
                    <a:pt x="0" y="0"/>
                  </a:lnTo>
                  <a:lnTo>
                    <a:pt x="1729" y="0"/>
                  </a:lnTo>
                  <a:lnTo>
                    <a:pt x="1649" y="15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2454576" y="4487497"/>
              <a:ext cx="1729160" cy="84144"/>
            </a:xfrm>
            <a:custGeom>
              <a:avLst/>
              <a:gdLst>
                <a:gd name="T0" fmla="*/ 1142 w 1142"/>
                <a:gd name="T1" fmla="*/ 28 h 56"/>
                <a:gd name="T2" fmla="*/ 1114 w 1142"/>
                <a:gd name="T3" fmla="*/ 56 h 56"/>
                <a:gd name="T4" fmla="*/ 28 w 1142"/>
                <a:gd name="T5" fmla="*/ 56 h 56"/>
                <a:gd name="T6" fmla="*/ 0 w 1142"/>
                <a:gd name="T7" fmla="*/ 28 h 56"/>
                <a:gd name="T8" fmla="*/ 0 w 1142"/>
                <a:gd name="T9" fmla="*/ 28 h 56"/>
                <a:gd name="T10" fmla="*/ 28 w 1142"/>
                <a:gd name="T11" fmla="*/ 0 h 56"/>
                <a:gd name="T12" fmla="*/ 1114 w 1142"/>
                <a:gd name="T13" fmla="*/ 0 h 56"/>
                <a:gd name="T14" fmla="*/ 1142 w 1142"/>
                <a:gd name="T15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56">
                  <a:moveTo>
                    <a:pt x="1142" y="28"/>
                  </a:moveTo>
                  <a:cubicBezTo>
                    <a:pt x="1142" y="43"/>
                    <a:pt x="1130" y="56"/>
                    <a:pt x="1114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12" y="56"/>
                    <a:pt x="0" y="43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1114" y="0"/>
                    <a:pt x="1114" y="0"/>
                    <a:pt x="1114" y="0"/>
                  </a:cubicBezTo>
                  <a:cubicBezTo>
                    <a:pt x="1130" y="0"/>
                    <a:pt x="1142" y="13"/>
                    <a:pt x="1142" y="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3317052" y="2808824"/>
              <a:ext cx="567973" cy="344991"/>
            </a:xfrm>
            <a:custGeom>
              <a:avLst/>
              <a:gdLst>
                <a:gd name="T0" fmla="*/ 2 w 375"/>
                <a:gd name="T1" fmla="*/ 105 h 228"/>
                <a:gd name="T2" fmla="*/ 301 w 375"/>
                <a:gd name="T3" fmla="*/ 228 h 228"/>
                <a:gd name="T4" fmla="*/ 375 w 375"/>
                <a:gd name="T5" fmla="*/ 153 h 228"/>
                <a:gd name="T6" fmla="*/ 2 w 375"/>
                <a:gd name="T7" fmla="*/ 0 h 228"/>
                <a:gd name="T8" fmla="*/ 0 w 375"/>
                <a:gd name="T9" fmla="*/ 0 h 228"/>
                <a:gd name="T10" fmla="*/ 0 w 375"/>
                <a:gd name="T11" fmla="*/ 105 h 228"/>
                <a:gd name="T12" fmla="*/ 2 w 375"/>
                <a:gd name="T13" fmla="*/ 10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5" h="228">
                  <a:moveTo>
                    <a:pt x="2" y="105"/>
                  </a:moveTo>
                  <a:cubicBezTo>
                    <a:pt x="119" y="105"/>
                    <a:pt x="224" y="152"/>
                    <a:pt x="301" y="228"/>
                  </a:cubicBezTo>
                  <a:cubicBezTo>
                    <a:pt x="375" y="153"/>
                    <a:pt x="375" y="153"/>
                    <a:pt x="375" y="153"/>
                  </a:cubicBezTo>
                  <a:cubicBezTo>
                    <a:pt x="279" y="59"/>
                    <a:pt x="148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1" y="105"/>
                    <a:pt x="2" y="105"/>
                    <a:pt x="2" y="10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auto">
            <a:xfrm>
              <a:off x="2753287" y="2808824"/>
              <a:ext cx="563765" cy="346393"/>
            </a:xfrm>
            <a:custGeom>
              <a:avLst/>
              <a:gdLst>
                <a:gd name="T0" fmla="*/ 373 w 373"/>
                <a:gd name="T1" fmla="*/ 105 h 229"/>
                <a:gd name="T2" fmla="*/ 373 w 373"/>
                <a:gd name="T3" fmla="*/ 0 h 229"/>
                <a:gd name="T4" fmla="*/ 0 w 373"/>
                <a:gd name="T5" fmla="*/ 155 h 229"/>
                <a:gd name="T6" fmla="*/ 75 w 373"/>
                <a:gd name="T7" fmla="*/ 229 h 229"/>
                <a:gd name="T8" fmla="*/ 373 w 373"/>
                <a:gd name="T9" fmla="*/ 105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229">
                  <a:moveTo>
                    <a:pt x="373" y="105"/>
                  </a:moveTo>
                  <a:cubicBezTo>
                    <a:pt x="373" y="0"/>
                    <a:pt x="373" y="0"/>
                    <a:pt x="373" y="0"/>
                  </a:cubicBezTo>
                  <a:cubicBezTo>
                    <a:pt x="228" y="1"/>
                    <a:pt x="96" y="60"/>
                    <a:pt x="0" y="155"/>
                  </a:cubicBezTo>
                  <a:cubicBezTo>
                    <a:pt x="75" y="229"/>
                    <a:pt x="75" y="229"/>
                    <a:pt x="75" y="229"/>
                  </a:cubicBezTo>
                  <a:cubicBezTo>
                    <a:pt x="151" y="153"/>
                    <a:pt x="257" y="106"/>
                    <a:pt x="373" y="10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3772833" y="3040220"/>
              <a:ext cx="350600" cy="566570"/>
            </a:xfrm>
            <a:custGeom>
              <a:avLst/>
              <a:gdLst>
                <a:gd name="T0" fmla="*/ 127 w 232"/>
                <a:gd name="T1" fmla="*/ 375 h 375"/>
                <a:gd name="T2" fmla="*/ 232 w 232"/>
                <a:gd name="T3" fmla="*/ 375 h 375"/>
                <a:gd name="T4" fmla="*/ 74 w 232"/>
                <a:gd name="T5" fmla="*/ 0 h 375"/>
                <a:gd name="T6" fmla="*/ 0 w 232"/>
                <a:gd name="T7" fmla="*/ 75 h 375"/>
                <a:gd name="T8" fmla="*/ 127 w 232"/>
                <a:gd name="T9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375">
                  <a:moveTo>
                    <a:pt x="127" y="375"/>
                  </a:moveTo>
                  <a:cubicBezTo>
                    <a:pt x="232" y="375"/>
                    <a:pt x="232" y="375"/>
                    <a:pt x="232" y="375"/>
                  </a:cubicBezTo>
                  <a:cubicBezTo>
                    <a:pt x="231" y="228"/>
                    <a:pt x="171" y="96"/>
                    <a:pt x="74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78" y="151"/>
                    <a:pt x="126" y="258"/>
                    <a:pt x="127" y="37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3317052" y="4063972"/>
              <a:ext cx="572179" cy="349198"/>
            </a:xfrm>
            <a:custGeom>
              <a:avLst/>
              <a:gdLst>
                <a:gd name="T0" fmla="*/ 2 w 378"/>
                <a:gd name="T1" fmla="*/ 126 h 231"/>
                <a:gd name="T2" fmla="*/ 0 w 378"/>
                <a:gd name="T3" fmla="*/ 126 h 231"/>
                <a:gd name="T4" fmla="*/ 0 w 378"/>
                <a:gd name="T5" fmla="*/ 231 h 231"/>
                <a:gd name="T6" fmla="*/ 2 w 378"/>
                <a:gd name="T7" fmla="*/ 231 h 231"/>
                <a:gd name="T8" fmla="*/ 378 w 378"/>
                <a:gd name="T9" fmla="*/ 75 h 231"/>
                <a:gd name="T10" fmla="*/ 304 w 378"/>
                <a:gd name="T11" fmla="*/ 0 h 231"/>
                <a:gd name="T12" fmla="*/ 2 w 378"/>
                <a:gd name="T13" fmla="*/ 12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" h="231">
                  <a:moveTo>
                    <a:pt x="2" y="126"/>
                  </a:moveTo>
                  <a:cubicBezTo>
                    <a:pt x="2" y="126"/>
                    <a:pt x="1" y="126"/>
                    <a:pt x="0" y="12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1" y="231"/>
                    <a:pt x="2" y="231"/>
                    <a:pt x="2" y="231"/>
                  </a:cubicBezTo>
                  <a:cubicBezTo>
                    <a:pt x="149" y="231"/>
                    <a:pt x="282" y="171"/>
                    <a:pt x="378" y="75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27" y="78"/>
                    <a:pt x="120" y="126"/>
                    <a:pt x="2" y="12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3777040" y="3606789"/>
              <a:ext cx="346393" cy="570777"/>
            </a:xfrm>
            <a:custGeom>
              <a:avLst/>
              <a:gdLst>
                <a:gd name="T0" fmla="*/ 229 w 229"/>
                <a:gd name="T1" fmla="*/ 0 h 378"/>
                <a:gd name="T2" fmla="*/ 124 w 229"/>
                <a:gd name="T3" fmla="*/ 0 h 378"/>
                <a:gd name="T4" fmla="*/ 124 w 229"/>
                <a:gd name="T5" fmla="*/ 3 h 378"/>
                <a:gd name="T6" fmla="*/ 0 w 229"/>
                <a:gd name="T7" fmla="*/ 303 h 378"/>
                <a:gd name="T8" fmla="*/ 74 w 229"/>
                <a:gd name="T9" fmla="*/ 378 h 378"/>
                <a:gd name="T10" fmla="*/ 229 w 229"/>
                <a:gd name="T11" fmla="*/ 3 h 378"/>
                <a:gd name="T12" fmla="*/ 229 w 229"/>
                <a:gd name="T13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378">
                  <a:moveTo>
                    <a:pt x="229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"/>
                    <a:pt x="124" y="2"/>
                    <a:pt x="124" y="3"/>
                  </a:cubicBezTo>
                  <a:cubicBezTo>
                    <a:pt x="124" y="120"/>
                    <a:pt x="76" y="226"/>
                    <a:pt x="0" y="303"/>
                  </a:cubicBezTo>
                  <a:cubicBezTo>
                    <a:pt x="74" y="378"/>
                    <a:pt x="74" y="378"/>
                    <a:pt x="74" y="378"/>
                  </a:cubicBezTo>
                  <a:cubicBezTo>
                    <a:pt x="170" y="282"/>
                    <a:pt x="229" y="149"/>
                    <a:pt x="229" y="3"/>
                  </a:cubicBezTo>
                  <a:cubicBezTo>
                    <a:pt x="229" y="2"/>
                    <a:pt x="229" y="1"/>
                    <a:pt x="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2750483" y="4062570"/>
              <a:ext cx="566570" cy="350600"/>
            </a:xfrm>
            <a:custGeom>
              <a:avLst/>
              <a:gdLst>
                <a:gd name="T0" fmla="*/ 74 w 375"/>
                <a:gd name="T1" fmla="*/ 0 h 232"/>
                <a:gd name="T2" fmla="*/ 0 w 375"/>
                <a:gd name="T3" fmla="*/ 74 h 232"/>
                <a:gd name="T4" fmla="*/ 375 w 375"/>
                <a:gd name="T5" fmla="*/ 232 h 232"/>
                <a:gd name="T6" fmla="*/ 375 w 375"/>
                <a:gd name="T7" fmla="*/ 127 h 232"/>
                <a:gd name="T8" fmla="*/ 74 w 375"/>
                <a:gd name="T9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232">
                  <a:moveTo>
                    <a:pt x="74" y="0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95" y="171"/>
                    <a:pt x="228" y="231"/>
                    <a:pt x="375" y="232"/>
                  </a:cubicBezTo>
                  <a:cubicBezTo>
                    <a:pt x="375" y="127"/>
                    <a:pt x="375" y="127"/>
                    <a:pt x="375" y="127"/>
                  </a:cubicBezTo>
                  <a:cubicBezTo>
                    <a:pt x="257" y="126"/>
                    <a:pt x="151" y="78"/>
                    <a:pt x="7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2517684" y="3606789"/>
              <a:ext cx="344991" cy="567973"/>
            </a:xfrm>
            <a:custGeom>
              <a:avLst/>
              <a:gdLst>
                <a:gd name="T0" fmla="*/ 106 w 228"/>
                <a:gd name="T1" fmla="*/ 3 h 376"/>
                <a:gd name="T2" fmla="*/ 106 w 228"/>
                <a:gd name="T3" fmla="*/ 0 h 376"/>
                <a:gd name="T4" fmla="*/ 0 w 228"/>
                <a:gd name="T5" fmla="*/ 0 h 376"/>
                <a:gd name="T6" fmla="*/ 0 w 228"/>
                <a:gd name="T7" fmla="*/ 3 h 376"/>
                <a:gd name="T8" fmla="*/ 154 w 228"/>
                <a:gd name="T9" fmla="*/ 376 h 376"/>
                <a:gd name="T10" fmla="*/ 228 w 228"/>
                <a:gd name="T11" fmla="*/ 302 h 376"/>
                <a:gd name="T12" fmla="*/ 106 w 228"/>
                <a:gd name="T13" fmla="*/ 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376">
                  <a:moveTo>
                    <a:pt x="106" y="3"/>
                  </a:moveTo>
                  <a:cubicBezTo>
                    <a:pt x="106" y="2"/>
                    <a:pt x="106" y="1"/>
                    <a:pt x="1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148"/>
                    <a:pt x="59" y="280"/>
                    <a:pt x="154" y="376"/>
                  </a:cubicBezTo>
                  <a:cubicBezTo>
                    <a:pt x="228" y="302"/>
                    <a:pt x="228" y="302"/>
                    <a:pt x="228" y="302"/>
                  </a:cubicBezTo>
                  <a:cubicBezTo>
                    <a:pt x="152" y="225"/>
                    <a:pt x="106" y="119"/>
                    <a:pt x="106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2517684" y="3043024"/>
              <a:ext cx="349198" cy="563765"/>
            </a:xfrm>
            <a:custGeom>
              <a:avLst/>
              <a:gdLst>
                <a:gd name="T0" fmla="*/ 231 w 231"/>
                <a:gd name="T1" fmla="*/ 74 h 373"/>
                <a:gd name="T2" fmla="*/ 156 w 231"/>
                <a:gd name="T3" fmla="*/ 0 h 373"/>
                <a:gd name="T4" fmla="*/ 0 w 231"/>
                <a:gd name="T5" fmla="*/ 373 h 373"/>
                <a:gd name="T6" fmla="*/ 106 w 231"/>
                <a:gd name="T7" fmla="*/ 373 h 373"/>
                <a:gd name="T8" fmla="*/ 231 w 231"/>
                <a:gd name="T9" fmla="*/ 74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373">
                  <a:moveTo>
                    <a:pt x="231" y="74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61" y="96"/>
                    <a:pt x="1" y="227"/>
                    <a:pt x="0" y="373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6" y="256"/>
                    <a:pt x="154" y="151"/>
                    <a:pt x="231" y="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2523294" y="461792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2523294" y="4674017"/>
              <a:ext cx="201946" cy="16829"/>
            </a:xfrm>
            <a:custGeom>
              <a:avLst/>
              <a:gdLst>
                <a:gd name="T0" fmla="*/ 133 w 133"/>
                <a:gd name="T1" fmla="*/ 6 h 12"/>
                <a:gd name="T2" fmla="*/ 127 w 133"/>
                <a:gd name="T3" fmla="*/ 12 h 12"/>
                <a:gd name="T4" fmla="*/ 5 w 133"/>
                <a:gd name="T5" fmla="*/ 12 h 12"/>
                <a:gd name="T6" fmla="*/ 0 w 133"/>
                <a:gd name="T7" fmla="*/ 6 h 12"/>
                <a:gd name="T8" fmla="*/ 0 w 133"/>
                <a:gd name="T9" fmla="*/ 6 h 12"/>
                <a:gd name="T10" fmla="*/ 5 w 133"/>
                <a:gd name="T11" fmla="*/ 0 h 12"/>
                <a:gd name="T12" fmla="*/ 127 w 133"/>
                <a:gd name="T13" fmla="*/ 0 h 12"/>
                <a:gd name="T14" fmla="*/ 133 w 13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2">
                  <a:moveTo>
                    <a:pt x="133" y="6"/>
                  </a:moveTo>
                  <a:cubicBezTo>
                    <a:pt x="133" y="9"/>
                    <a:pt x="130" y="12"/>
                    <a:pt x="12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auto">
            <a:xfrm>
              <a:off x="2523294" y="4730113"/>
              <a:ext cx="201946" cy="16829"/>
            </a:xfrm>
            <a:custGeom>
              <a:avLst/>
              <a:gdLst>
                <a:gd name="T0" fmla="*/ 133 w 133"/>
                <a:gd name="T1" fmla="*/ 6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0"/>
            <p:cNvSpPr>
              <a:spLocks/>
            </p:cNvSpPr>
            <p:nvPr/>
          </p:nvSpPr>
          <p:spPr bwMode="auto">
            <a:xfrm>
              <a:off x="2523294" y="478761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2871089" y="461792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2871089" y="4674017"/>
              <a:ext cx="201946" cy="16829"/>
            </a:xfrm>
            <a:custGeom>
              <a:avLst/>
              <a:gdLst>
                <a:gd name="T0" fmla="*/ 133 w 133"/>
                <a:gd name="T1" fmla="*/ 6 h 12"/>
                <a:gd name="T2" fmla="*/ 127 w 133"/>
                <a:gd name="T3" fmla="*/ 12 h 12"/>
                <a:gd name="T4" fmla="*/ 5 w 133"/>
                <a:gd name="T5" fmla="*/ 12 h 12"/>
                <a:gd name="T6" fmla="*/ 0 w 133"/>
                <a:gd name="T7" fmla="*/ 6 h 12"/>
                <a:gd name="T8" fmla="*/ 0 w 133"/>
                <a:gd name="T9" fmla="*/ 6 h 12"/>
                <a:gd name="T10" fmla="*/ 5 w 133"/>
                <a:gd name="T11" fmla="*/ 0 h 12"/>
                <a:gd name="T12" fmla="*/ 127 w 133"/>
                <a:gd name="T13" fmla="*/ 0 h 12"/>
                <a:gd name="T14" fmla="*/ 133 w 13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2">
                  <a:moveTo>
                    <a:pt x="133" y="6"/>
                  </a:moveTo>
                  <a:cubicBezTo>
                    <a:pt x="133" y="9"/>
                    <a:pt x="130" y="12"/>
                    <a:pt x="12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auto">
            <a:xfrm>
              <a:off x="2871089" y="4730113"/>
              <a:ext cx="201946" cy="16829"/>
            </a:xfrm>
            <a:custGeom>
              <a:avLst/>
              <a:gdLst>
                <a:gd name="T0" fmla="*/ 133 w 133"/>
                <a:gd name="T1" fmla="*/ 6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auto">
            <a:xfrm>
              <a:off x="2871089" y="478761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5"/>
            <p:cNvSpPr>
              <a:spLocks/>
            </p:cNvSpPr>
            <p:nvPr/>
          </p:nvSpPr>
          <p:spPr bwMode="auto">
            <a:xfrm>
              <a:off x="2514879" y="2768154"/>
              <a:ext cx="200544" cy="16829"/>
            </a:xfrm>
            <a:custGeom>
              <a:avLst/>
              <a:gdLst>
                <a:gd name="T0" fmla="*/ 133 w 133"/>
                <a:gd name="T1" fmla="*/ 6 h 11"/>
                <a:gd name="T2" fmla="*/ 128 w 133"/>
                <a:gd name="T3" fmla="*/ 11 h 11"/>
                <a:gd name="T4" fmla="*/ 6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6 w 133"/>
                <a:gd name="T11" fmla="*/ 0 h 11"/>
                <a:gd name="T12" fmla="*/ 128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1" y="11"/>
                    <a:pt x="128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1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auto">
            <a:xfrm>
              <a:off x="2514879" y="2825653"/>
              <a:ext cx="200544" cy="16829"/>
            </a:xfrm>
            <a:custGeom>
              <a:avLst/>
              <a:gdLst>
                <a:gd name="T0" fmla="*/ 133 w 133"/>
                <a:gd name="T1" fmla="*/ 6 h 11"/>
                <a:gd name="T2" fmla="*/ 128 w 133"/>
                <a:gd name="T3" fmla="*/ 11 h 11"/>
                <a:gd name="T4" fmla="*/ 6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6 w 133"/>
                <a:gd name="T11" fmla="*/ 0 h 11"/>
                <a:gd name="T12" fmla="*/ 128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1" y="11"/>
                    <a:pt x="128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1" y="0"/>
                    <a:pt x="133" y="2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2514879" y="2883151"/>
              <a:ext cx="200544" cy="16829"/>
            </a:xfrm>
            <a:custGeom>
              <a:avLst/>
              <a:gdLst>
                <a:gd name="T0" fmla="*/ 133 w 133"/>
                <a:gd name="T1" fmla="*/ 5 h 11"/>
                <a:gd name="T2" fmla="*/ 128 w 133"/>
                <a:gd name="T3" fmla="*/ 11 h 11"/>
                <a:gd name="T4" fmla="*/ 6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6 w 133"/>
                <a:gd name="T11" fmla="*/ 0 h 11"/>
                <a:gd name="T12" fmla="*/ 128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1" y="11"/>
                    <a:pt x="128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1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8"/>
            <p:cNvSpPr>
              <a:spLocks/>
            </p:cNvSpPr>
            <p:nvPr/>
          </p:nvSpPr>
          <p:spPr bwMode="auto">
            <a:xfrm>
              <a:off x="2514879" y="2939247"/>
              <a:ext cx="200544" cy="16829"/>
            </a:xfrm>
            <a:custGeom>
              <a:avLst/>
              <a:gdLst>
                <a:gd name="T0" fmla="*/ 133 w 133"/>
                <a:gd name="T1" fmla="*/ 6 h 11"/>
                <a:gd name="T2" fmla="*/ 128 w 133"/>
                <a:gd name="T3" fmla="*/ 11 h 11"/>
                <a:gd name="T4" fmla="*/ 6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6 w 133"/>
                <a:gd name="T11" fmla="*/ 0 h 11"/>
                <a:gd name="T12" fmla="*/ 128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1" y="11"/>
                    <a:pt x="128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1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auto">
            <a:xfrm>
              <a:off x="3218884" y="461792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auto">
            <a:xfrm>
              <a:off x="3218884" y="4674017"/>
              <a:ext cx="201946" cy="16829"/>
            </a:xfrm>
            <a:custGeom>
              <a:avLst/>
              <a:gdLst>
                <a:gd name="T0" fmla="*/ 133 w 133"/>
                <a:gd name="T1" fmla="*/ 6 h 12"/>
                <a:gd name="T2" fmla="*/ 127 w 133"/>
                <a:gd name="T3" fmla="*/ 12 h 12"/>
                <a:gd name="T4" fmla="*/ 5 w 133"/>
                <a:gd name="T5" fmla="*/ 12 h 12"/>
                <a:gd name="T6" fmla="*/ 0 w 133"/>
                <a:gd name="T7" fmla="*/ 6 h 12"/>
                <a:gd name="T8" fmla="*/ 0 w 133"/>
                <a:gd name="T9" fmla="*/ 6 h 12"/>
                <a:gd name="T10" fmla="*/ 5 w 133"/>
                <a:gd name="T11" fmla="*/ 0 h 12"/>
                <a:gd name="T12" fmla="*/ 127 w 133"/>
                <a:gd name="T13" fmla="*/ 0 h 12"/>
                <a:gd name="T14" fmla="*/ 133 w 13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2">
                  <a:moveTo>
                    <a:pt x="133" y="6"/>
                  </a:moveTo>
                  <a:cubicBezTo>
                    <a:pt x="133" y="9"/>
                    <a:pt x="130" y="12"/>
                    <a:pt x="127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1"/>
            <p:cNvSpPr>
              <a:spLocks/>
            </p:cNvSpPr>
            <p:nvPr/>
          </p:nvSpPr>
          <p:spPr bwMode="auto">
            <a:xfrm>
              <a:off x="3218884" y="4730113"/>
              <a:ext cx="201946" cy="16829"/>
            </a:xfrm>
            <a:custGeom>
              <a:avLst/>
              <a:gdLst>
                <a:gd name="T0" fmla="*/ 133 w 133"/>
                <a:gd name="T1" fmla="*/ 6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2"/>
            <p:cNvSpPr>
              <a:spLocks/>
            </p:cNvSpPr>
            <p:nvPr/>
          </p:nvSpPr>
          <p:spPr bwMode="auto">
            <a:xfrm>
              <a:off x="3218884" y="478761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5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5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3"/>
            <p:cNvSpPr>
              <a:spLocks/>
            </p:cNvSpPr>
            <p:nvPr/>
          </p:nvSpPr>
          <p:spPr bwMode="auto">
            <a:xfrm>
              <a:off x="3566680" y="461792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6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6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34"/>
            <p:cNvSpPr>
              <a:spLocks/>
            </p:cNvSpPr>
            <p:nvPr/>
          </p:nvSpPr>
          <p:spPr bwMode="auto">
            <a:xfrm>
              <a:off x="3566680" y="4674017"/>
              <a:ext cx="201946" cy="16829"/>
            </a:xfrm>
            <a:custGeom>
              <a:avLst/>
              <a:gdLst>
                <a:gd name="T0" fmla="*/ 133 w 133"/>
                <a:gd name="T1" fmla="*/ 6 h 12"/>
                <a:gd name="T2" fmla="*/ 127 w 133"/>
                <a:gd name="T3" fmla="*/ 12 h 12"/>
                <a:gd name="T4" fmla="*/ 6 w 133"/>
                <a:gd name="T5" fmla="*/ 12 h 12"/>
                <a:gd name="T6" fmla="*/ 0 w 133"/>
                <a:gd name="T7" fmla="*/ 6 h 12"/>
                <a:gd name="T8" fmla="*/ 0 w 133"/>
                <a:gd name="T9" fmla="*/ 6 h 12"/>
                <a:gd name="T10" fmla="*/ 6 w 133"/>
                <a:gd name="T11" fmla="*/ 0 h 12"/>
                <a:gd name="T12" fmla="*/ 127 w 133"/>
                <a:gd name="T13" fmla="*/ 0 h 12"/>
                <a:gd name="T14" fmla="*/ 133 w 13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2">
                  <a:moveTo>
                    <a:pt x="133" y="6"/>
                  </a:moveTo>
                  <a:cubicBezTo>
                    <a:pt x="133" y="9"/>
                    <a:pt x="130" y="12"/>
                    <a:pt x="12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35"/>
            <p:cNvSpPr>
              <a:spLocks/>
            </p:cNvSpPr>
            <p:nvPr/>
          </p:nvSpPr>
          <p:spPr bwMode="auto">
            <a:xfrm>
              <a:off x="3566680" y="4730113"/>
              <a:ext cx="201946" cy="16829"/>
            </a:xfrm>
            <a:custGeom>
              <a:avLst/>
              <a:gdLst>
                <a:gd name="T0" fmla="*/ 133 w 133"/>
                <a:gd name="T1" fmla="*/ 6 h 11"/>
                <a:gd name="T2" fmla="*/ 127 w 133"/>
                <a:gd name="T3" fmla="*/ 11 h 11"/>
                <a:gd name="T4" fmla="*/ 6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6 w 133"/>
                <a:gd name="T11" fmla="*/ 0 h 11"/>
                <a:gd name="T12" fmla="*/ 127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0" y="11"/>
                    <a:pt x="12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36"/>
            <p:cNvSpPr>
              <a:spLocks/>
            </p:cNvSpPr>
            <p:nvPr/>
          </p:nvSpPr>
          <p:spPr bwMode="auto">
            <a:xfrm>
              <a:off x="3566680" y="4787611"/>
              <a:ext cx="201946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6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6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0" y="11"/>
                    <a:pt x="12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37"/>
            <p:cNvSpPr>
              <a:spLocks/>
            </p:cNvSpPr>
            <p:nvPr/>
          </p:nvSpPr>
          <p:spPr bwMode="auto">
            <a:xfrm>
              <a:off x="3915878" y="4617921"/>
              <a:ext cx="200544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6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6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1" y="11"/>
                    <a:pt x="12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38"/>
            <p:cNvSpPr>
              <a:spLocks/>
            </p:cNvSpPr>
            <p:nvPr/>
          </p:nvSpPr>
          <p:spPr bwMode="auto">
            <a:xfrm>
              <a:off x="3915878" y="4674017"/>
              <a:ext cx="200544" cy="16829"/>
            </a:xfrm>
            <a:custGeom>
              <a:avLst/>
              <a:gdLst>
                <a:gd name="T0" fmla="*/ 133 w 133"/>
                <a:gd name="T1" fmla="*/ 6 h 12"/>
                <a:gd name="T2" fmla="*/ 127 w 133"/>
                <a:gd name="T3" fmla="*/ 12 h 12"/>
                <a:gd name="T4" fmla="*/ 6 w 133"/>
                <a:gd name="T5" fmla="*/ 12 h 12"/>
                <a:gd name="T6" fmla="*/ 0 w 133"/>
                <a:gd name="T7" fmla="*/ 6 h 12"/>
                <a:gd name="T8" fmla="*/ 0 w 133"/>
                <a:gd name="T9" fmla="*/ 6 h 12"/>
                <a:gd name="T10" fmla="*/ 6 w 133"/>
                <a:gd name="T11" fmla="*/ 0 h 12"/>
                <a:gd name="T12" fmla="*/ 127 w 133"/>
                <a:gd name="T13" fmla="*/ 0 h 12"/>
                <a:gd name="T14" fmla="*/ 133 w 13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2">
                  <a:moveTo>
                    <a:pt x="133" y="6"/>
                  </a:moveTo>
                  <a:cubicBezTo>
                    <a:pt x="133" y="9"/>
                    <a:pt x="131" y="12"/>
                    <a:pt x="12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39"/>
            <p:cNvSpPr>
              <a:spLocks/>
            </p:cNvSpPr>
            <p:nvPr/>
          </p:nvSpPr>
          <p:spPr bwMode="auto">
            <a:xfrm>
              <a:off x="3915878" y="4730113"/>
              <a:ext cx="200544" cy="16829"/>
            </a:xfrm>
            <a:custGeom>
              <a:avLst/>
              <a:gdLst>
                <a:gd name="T0" fmla="*/ 133 w 133"/>
                <a:gd name="T1" fmla="*/ 6 h 11"/>
                <a:gd name="T2" fmla="*/ 127 w 133"/>
                <a:gd name="T3" fmla="*/ 11 h 11"/>
                <a:gd name="T4" fmla="*/ 6 w 133"/>
                <a:gd name="T5" fmla="*/ 11 h 11"/>
                <a:gd name="T6" fmla="*/ 0 w 133"/>
                <a:gd name="T7" fmla="*/ 6 h 11"/>
                <a:gd name="T8" fmla="*/ 0 w 133"/>
                <a:gd name="T9" fmla="*/ 6 h 11"/>
                <a:gd name="T10" fmla="*/ 6 w 133"/>
                <a:gd name="T11" fmla="*/ 0 h 11"/>
                <a:gd name="T12" fmla="*/ 127 w 133"/>
                <a:gd name="T13" fmla="*/ 0 h 11"/>
                <a:gd name="T14" fmla="*/ 133 w 133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6"/>
                  </a:moveTo>
                  <a:cubicBezTo>
                    <a:pt x="133" y="9"/>
                    <a:pt x="131" y="11"/>
                    <a:pt x="12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3"/>
                    <a:pt x="133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40"/>
            <p:cNvSpPr>
              <a:spLocks/>
            </p:cNvSpPr>
            <p:nvPr/>
          </p:nvSpPr>
          <p:spPr bwMode="auto">
            <a:xfrm>
              <a:off x="3915878" y="4787611"/>
              <a:ext cx="200544" cy="16829"/>
            </a:xfrm>
            <a:custGeom>
              <a:avLst/>
              <a:gdLst>
                <a:gd name="T0" fmla="*/ 133 w 133"/>
                <a:gd name="T1" fmla="*/ 5 h 11"/>
                <a:gd name="T2" fmla="*/ 127 w 133"/>
                <a:gd name="T3" fmla="*/ 11 h 11"/>
                <a:gd name="T4" fmla="*/ 6 w 133"/>
                <a:gd name="T5" fmla="*/ 11 h 11"/>
                <a:gd name="T6" fmla="*/ 0 w 133"/>
                <a:gd name="T7" fmla="*/ 5 h 11"/>
                <a:gd name="T8" fmla="*/ 0 w 133"/>
                <a:gd name="T9" fmla="*/ 5 h 11"/>
                <a:gd name="T10" fmla="*/ 6 w 133"/>
                <a:gd name="T11" fmla="*/ 0 h 11"/>
                <a:gd name="T12" fmla="*/ 127 w 133"/>
                <a:gd name="T13" fmla="*/ 0 h 11"/>
                <a:gd name="T14" fmla="*/ 133 w 133"/>
                <a:gd name="T1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11">
                  <a:moveTo>
                    <a:pt x="133" y="5"/>
                  </a:moveTo>
                  <a:cubicBezTo>
                    <a:pt x="133" y="8"/>
                    <a:pt x="131" y="11"/>
                    <a:pt x="12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5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41"/>
            <p:cNvSpPr>
              <a:spLocks/>
            </p:cNvSpPr>
            <p:nvPr/>
          </p:nvSpPr>
          <p:spPr bwMode="auto">
            <a:xfrm>
              <a:off x="4108006" y="2703644"/>
              <a:ext cx="363222" cy="105180"/>
            </a:xfrm>
            <a:custGeom>
              <a:avLst/>
              <a:gdLst>
                <a:gd name="T0" fmla="*/ 240 w 240"/>
                <a:gd name="T1" fmla="*/ 52 h 70"/>
                <a:gd name="T2" fmla="*/ 221 w 240"/>
                <a:gd name="T3" fmla="*/ 70 h 70"/>
                <a:gd name="T4" fmla="*/ 19 w 240"/>
                <a:gd name="T5" fmla="*/ 70 h 70"/>
                <a:gd name="T6" fmla="*/ 0 w 240"/>
                <a:gd name="T7" fmla="*/ 52 h 70"/>
                <a:gd name="T8" fmla="*/ 0 w 240"/>
                <a:gd name="T9" fmla="*/ 18 h 70"/>
                <a:gd name="T10" fmla="*/ 19 w 240"/>
                <a:gd name="T11" fmla="*/ 0 h 70"/>
                <a:gd name="T12" fmla="*/ 221 w 240"/>
                <a:gd name="T13" fmla="*/ 0 h 70"/>
                <a:gd name="T14" fmla="*/ 240 w 240"/>
                <a:gd name="T15" fmla="*/ 18 h 70"/>
                <a:gd name="T16" fmla="*/ 240 w 240"/>
                <a:gd name="T17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70">
                  <a:moveTo>
                    <a:pt x="240" y="52"/>
                  </a:moveTo>
                  <a:cubicBezTo>
                    <a:pt x="240" y="62"/>
                    <a:pt x="232" y="70"/>
                    <a:pt x="221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8" y="70"/>
                    <a:pt x="0" y="62"/>
                    <a:pt x="0" y="5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32" y="0"/>
                    <a:pt x="240" y="8"/>
                    <a:pt x="240" y="18"/>
                  </a:cubicBezTo>
                  <a:lnTo>
                    <a:pt x="240" y="5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2"/>
            <p:cNvSpPr>
              <a:spLocks/>
            </p:cNvSpPr>
            <p:nvPr/>
          </p:nvSpPr>
          <p:spPr bwMode="auto">
            <a:xfrm>
              <a:off x="4108006" y="2849493"/>
              <a:ext cx="363222" cy="106582"/>
            </a:xfrm>
            <a:custGeom>
              <a:avLst/>
              <a:gdLst>
                <a:gd name="T0" fmla="*/ 240 w 240"/>
                <a:gd name="T1" fmla="*/ 52 h 70"/>
                <a:gd name="T2" fmla="*/ 221 w 240"/>
                <a:gd name="T3" fmla="*/ 70 h 70"/>
                <a:gd name="T4" fmla="*/ 19 w 240"/>
                <a:gd name="T5" fmla="*/ 70 h 70"/>
                <a:gd name="T6" fmla="*/ 0 w 240"/>
                <a:gd name="T7" fmla="*/ 52 h 70"/>
                <a:gd name="T8" fmla="*/ 0 w 240"/>
                <a:gd name="T9" fmla="*/ 18 h 70"/>
                <a:gd name="T10" fmla="*/ 19 w 240"/>
                <a:gd name="T11" fmla="*/ 0 h 70"/>
                <a:gd name="T12" fmla="*/ 221 w 240"/>
                <a:gd name="T13" fmla="*/ 0 h 70"/>
                <a:gd name="T14" fmla="*/ 240 w 240"/>
                <a:gd name="T15" fmla="*/ 18 h 70"/>
                <a:gd name="T16" fmla="*/ 240 w 240"/>
                <a:gd name="T17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70">
                  <a:moveTo>
                    <a:pt x="240" y="52"/>
                  </a:moveTo>
                  <a:cubicBezTo>
                    <a:pt x="240" y="62"/>
                    <a:pt x="232" y="70"/>
                    <a:pt x="221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8" y="70"/>
                    <a:pt x="0" y="62"/>
                    <a:pt x="0" y="5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32" y="0"/>
                    <a:pt x="240" y="8"/>
                    <a:pt x="240" y="18"/>
                  </a:cubicBezTo>
                  <a:lnTo>
                    <a:pt x="240" y="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3"/>
            <p:cNvSpPr>
              <a:spLocks/>
            </p:cNvSpPr>
            <p:nvPr/>
          </p:nvSpPr>
          <p:spPr bwMode="auto">
            <a:xfrm>
              <a:off x="4108006" y="2996746"/>
              <a:ext cx="363222" cy="105180"/>
            </a:xfrm>
            <a:custGeom>
              <a:avLst/>
              <a:gdLst>
                <a:gd name="T0" fmla="*/ 240 w 240"/>
                <a:gd name="T1" fmla="*/ 52 h 70"/>
                <a:gd name="T2" fmla="*/ 221 w 240"/>
                <a:gd name="T3" fmla="*/ 70 h 70"/>
                <a:gd name="T4" fmla="*/ 19 w 240"/>
                <a:gd name="T5" fmla="*/ 70 h 70"/>
                <a:gd name="T6" fmla="*/ 0 w 240"/>
                <a:gd name="T7" fmla="*/ 52 h 70"/>
                <a:gd name="T8" fmla="*/ 0 w 240"/>
                <a:gd name="T9" fmla="*/ 18 h 70"/>
                <a:gd name="T10" fmla="*/ 19 w 240"/>
                <a:gd name="T11" fmla="*/ 0 h 70"/>
                <a:gd name="T12" fmla="*/ 221 w 240"/>
                <a:gd name="T13" fmla="*/ 0 h 70"/>
                <a:gd name="T14" fmla="*/ 240 w 240"/>
                <a:gd name="T15" fmla="*/ 18 h 70"/>
                <a:gd name="T16" fmla="*/ 240 w 240"/>
                <a:gd name="T17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70">
                  <a:moveTo>
                    <a:pt x="240" y="52"/>
                  </a:moveTo>
                  <a:cubicBezTo>
                    <a:pt x="240" y="62"/>
                    <a:pt x="232" y="70"/>
                    <a:pt x="221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8" y="70"/>
                    <a:pt x="0" y="62"/>
                    <a:pt x="0" y="5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32" y="0"/>
                    <a:pt x="240" y="8"/>
                    <a:pt x="240" y="18"/>
                  </a:cubicBezTo>
                  <a:lnTo>
                    <a:pt x="240" y="5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4"/>
            <p:cNvSpPr>
              <a:spLocks/>
            </p:cNvSpPr>
            <p:nvPr/>
          </p:nvSpPr>
          <p:spPr bwMode="auto">
            <a:xfrm>
              <a:off x="4145872" y="3152412"/>
              <a:ext cx="143045" cy="274870"/>
            </a:xfrm>
            <a:custGeom>
              <a:avLst/>
              <a:gdLst>
                <a:gd name="T0" fmla="*/ 0 w 102"/>
                <a:gd name="T1" fmla="*/ 196 h 196"/>
                <a:gd name="T2" fmla="*/ 102 w 102"/>
                <a:gd name="T3" fmla="*/ 140 h 196"/>
                <a:gd name="T4" fmla="*/ 102 w 102"/>
                <a:gd name="T5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2" h="196">
                  <a:moveTo>
                    <a:pt x="0" y="196"/>
                  </a:moveTo>
                  <a:lnTo>
                    <a:pt x="102" y="140"/>
                  </a:lnTo>
                  <a:lnTo>
                    <a:pt x="102" y="0"/>
                  </a:lnTo>
                </a:path>
              </a:pathLst>
            </a:custGeom>
            <a:noFill/>
            <a:ln w="26988" cap="rnd">
              <a:solidFill>
                <a:srgbClr val="706F6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5"/>
            <p:cNvSpPr>
              <a:spLocks/>
            </p:cNvSpPr>
            <p:nvPr/>
          </p:nvSpPr>
          <p:spPr bwMode="auto">
            <a:xfrm>
              <a:off x="2261045" y="2756935"/>
              <a:ext cx="199141" cy="687176"/>
            </a:xfrm>
            <a:custGeom>
              <a:avLst/>
              <a:gdLst>
                <a:gd name="T0" fmla="*/ 131 w 131"/>
                <a:gd name="T1" fmla="*/ 418 h 455"/>
                <a:gd name="T2" fmla="*/ 93 w 131"/>
                <a:gd name="T3" fmla="*/ 455 h 455"/>
                <a:gd name="T4" fmla="*/ 38 w 131"/>
                <a:gd name="T5" fmla="*/ 455 h 455"/>
                <a:gd name="T6" fmla="*/ 0 w 131"/>
                <a:gd name="T7" fmla="*/ 418 h 455"/>
                <a:gd name="T8" fmla="*/ 0 w 131"/>
                <a:gd name="T9" fmla="*/ 37 h 455"/>
                <a:gd name="T10" fmla="*/ 38 w 131"/>
                <a:gd name="T11" fmla="*/ 0 h 455"/>
                <a:gd name="T12" fmla="*/ 93 w 131"/>
                <a:gd name="T13" fmla="*/ 0 h 455"/>
                <a:gd name="T14" fmla="*/ 131 w 131"/>
                <a:gd name="T15" fmla="*/ 37 h 455"/>
                <a:gd name="T16" fmla="*/ 131 w 131"/>
                <a:gd name="T17" fmla="*/ 418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455">
                  <a:moveTo>
                    <a:pt x="131" y="418"/>
                  </a:moveTo>
                  <a:cubicBezTo>
                    <a:pt x="131" y="439"/>
                    <a:pt x="114" y="455"/>
                    <a:pt x="93" y="455"/>
                  </a:cubicBezTo>
                  <a:cubicBezTo>
                    <a:pt x="38" y="455"/>
                    <a:pt x="38" y="455"/>
                    <a:pt x="38" y="455"/>
                  </a:cubicBezTo>
                  <a:cubicBezTo>
                    <a:pt x="17" y="455"/>
                    <a:pt x="0" y="439"/>
                    <a:pt x="0" y="41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14" y="0"/>
                    <a:pt x="131" y="17"/>
                    <a:pt x="131" y="37"/>
                  </a:cubicBezTo>
                  <a:lnTo>
                    <a:pt x="131" y="4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46"/>
            <p:cNvSpPr>
              <a:spLocks/>
            </p:cNvSpPr>
            <p:nvPr/>
          </p:nvSpPr>
          <p:spPr bwMode="auto">
            <a:xfrm>
              <a:off x="2357810" y="3493195"/>
              <a:ext cx="151459" cy="323955"/>
            </a:xfrm>
            <a:custGeom>
              <a:avLst/>
              <a:gdLst>
                <a:gd name="T0" fmla="*/ 0 w 108"/>
                <a:gd name="T1" fmla="*/ 0 h 231"/>
                <a:gd name="T2" fmla="*/ 0 w 108"/>
                <a:gd name="T3" fmla="*/ 188 h 231"/>
                <a:gd name="T4" fmla="*/ 108 w 108"/>
                <a:gd name="T5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" h="231">
                  <a:moveTo>
                    <a:pt x="0" y="0"/>
                  </a:moveTo>
                  <a:lnTo>
                    <a:pt x="0" y="188"/>
                  </a:lnTo>
                  <a:lnTo>
                    <a:pt x="108" y="231"/>
                  </a:lnTo>
                </a:path>
              </a:pathLst>
            </a:custGeom>
            <a:noFill/>
            <a:ln w="26988" cap="rnd">
              <a:solidFill>
                <a:srgbClr val="706F6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47"/>
            <p:cNvSpPr>
              <a:spLocks/>
            </p:cNvSpPr>
            <p:nvPr/>
          </p:nvSpPr>
          <p:spPr bwMode="auto">
            <a:xfrm>
              <a:off x="1895018" y="2483467"/>
              <a:ext cx="2852483" cy="102376"/>
            </a:xfrm>
            <a:custGeom>
              <a:avLst/>
              <a:gdLst>
                <a:gd name="T0" fmla="*/ 1885 w 1885"/>
                <a:gd name="T1" fmla="*/ 34 h 68"/>
                <a:gd name="T2" fmla="*/ 1851 w 1885"/>
                <a:gd name="T3" fmla="*/ 68 h 68"/>
                <a:gd name="T4" fmla="*/ 33 w 1885"/>
                <a:gd name="T5" fmla="*/ 68 h 68"/>
                <a:gd name="T6" fmla="*/ 0 w 1885"/>
                <a:gd name="T7" fmla="*/ 34 h 68"/>
                <a:gd name="T8" fmla="*/ 0 w 1885"/>
                <a:gd name="T9" fmla="*/ 34 h 68"/>
                <a:gd name="T10" fmla="*/ 33 w 1885"/>
                <a:gd name="T11" fmla="*/ 0 h 68"/>
                <a:gd name="T12" fmla="*/ 1851 w 1885"/>
                <a:gd name="T13" fmla="*/ 0 h 68"/>
                <a:gd name="T14" fmla="*/ 1885 w 1885"/>
                <a:gd name="T1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5" h="68">
                  <a:moveTo>
                    <a:pt x="1885" y="34"/>
                  </a:moveTo>
                  <a:cubicBezTo>
                    <a:pt x="1885" y="53"/>
                    <a:pt x="1870" y="68"/>
                    <a:pt x="1851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15" y="68"/>
                    <a:pt x="0" y="53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6"/>
                    <a:pt x="15" y="0"/>
                    <a:pt x="33" y="0"/>
                  </a:cubicBezTo>
                  <a:cubicBezTo>
                    <a:pt x="1851" y="0"/>
                    <a:pt x="1851" y="0"/>
                    <a:pt x="1851" y="0"/>
                  </a:cubicBezTo>
                  <a:cubicBezTo>
                    <a:pt x="1870" y="0"/>
                    <a:pt x="1885" y="16"/>
                    <a:pt x="1885" y="34"/>
                  </a:cubicBez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8"/>
            <p:cNvSpPr>
              <a:spLocks/>
            </p:cNvSpPr>
            <p:nvPr/>
          </p:nvSpPr>
          <p:spPr bwMode="auto">
            <a:xfrm>
              <a:off x="3158582" y="2330605"/>
              <a:ext cx="319747" cy="203349"/>
            </a:xfrm>
            <a:custGeom>
              <a:avLst/>
              <a:gdLst>
                <a:gd name="T0" fmla="*/ 211 w 211"/>
                <a:gd name="T1" fmla="*/ 38 h 135"/>
                <a:gd name="T2" fmla="*/ 173 w 211"/>
                <a:gd name="T3" fmla="*/ 0 h 135"/>
                <a:gd name="T4" fmla="*/ 38 w 211"/>
                <a:gd name="T5" fmla="*/ 0 h 135"/>
                <a:gd name="T6" fmla="*/ 0 w 211"/>
                <a:gd name="T7" fmla="*/ 38 h 135"/>
                <a:gd name="T8" fmla="*/ 0 w 211"/>
                <a:gd name="T9" fmla="*/ 98 h 135"/>
                <a:gd name="T10" fmla="*/ 38 w 211"/>
                <a:gd name="T11" fmla="*/ 135 h 135"/>
                <a:gd name="T12" fmla="*/ 173 w 211"/>
                <a:gd name="T13" fmla="*/ 135 h 135"/>
                <a:gd name="T14" fmla="*/ 211 w 211"/>
                <a:gd name="T15" fmla="*/ 98 h 135"/>
                <a:gd name="T16" fmla="*/ 211 w 211"/>
                <a:gd name="T17" fmla="*/ 3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135">
                  <a:moveTo>
                    <a:pt x="211" y="38"/>
                  </a:moveTo>
                  <a:cubicBezTo>
                    <a:pt x="211" y="17"/>
                    <a:pt x="194" y="0"/>
                    <a:pt x="173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18"/>
                    <a:pt x="17" y="135"/>
                    <a:pt x="38" y="135"/>
                  </a:cubicBezTo>
                  <a:cubicBezTo>
                    <a:pt x="173" y="135"/>
                    <a:pt x="173" y="135"/>
                    <a:pt x="173" y="135"/>
                  </a:cubicBezTo>
                  <a:cubicBezTo>
                    <a:pt x="194" y="135"/>
                    <a:pt x="211" y="118"/>
                    <a:pt x="211" y="98"/>
                  </a:cubicBezTo>
                  <a:lnTo>
                    <a:pt x="211" y="38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49"/>
            <p:cNvSpPr>
              <a:spLocks/>
            </p:cNvSpPr>
            <p:nvPr/>
          </p:nvSpPr>
          <p:spPr bwMode="auto">
            <a:xfrm>
              <a:off x="3492353" y="5054067"/>
              <a:ext cx="709615" cy="817600"/>
            </a:xfrm>
            <a:custGeom>
              <a:avLst/>
              <a:gdLst>
                <a:gd name="T0" fmla="*/ 469 w 469"/>
                <a:gd name="T1" fmla="*/ 541 h 541"/>
                <a:gd name="T2" fmla="*/ 135 w 469"/>
                <a:gd name="T3" fmla="*/ 0 h 541"/>
                <a:gd name="T4" fmla="*/ 0 w 469"/>
                <a:gd name="T5" fmla="*/ 0 h 541"/>
                <a:gd name="T6" fmla="*/ 334 w 469"/>
                <a:gd name="T7" fmla="*/ 541 h 541"/>
                <a:gd name="T8" fmla="*/ 469 w 469"/>
                <a:gd name="T9" fmla="*/ 54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541">
                  <a:moveTo>
                    <a:pt x="469" y="541"/>
                  </a:moveTo>
                  <a:cubicBezTo>
                    <a:pt x="469" y="541"/>
                    <a:pt x="139" y="0"/>
                    <a:pt x="135" y="0"/>
                  </a:cubicBezTo>
                  <a:cubicBezTo>
                    <a:pt x="131" y="0"/>
                    <a:pt x="0" y="0"/>
                    <a:pt x="0" y="0"/>
                  </a:cubicBezTo>
                  <a:cubicBezTo>
                    <a:pt x="334" y="541"/>
                    <a:pt x="334" y="541"/>
                    <a:pt x="334" y="541"/>
                  </a:cubicBezTo>
                  <a:cubicBezTo>
                    <a:pt x="334" y="541"/>
                    <a:pt x="431" y="541"/>
                    <a:pt x="469" y="541"/>
                  </a:cubicBez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"/>
            <p:cNvSpPr>
              <a:spLocks/>
            </p:cNvSpPr>
            <p:nvPr/>
          </p:nvSpPr>
          <p:spPr bwMode="auto">
            <a:xfrm>
              <a:off x="2437748" y="5054067"/>
              <a:ext cx="711018" cy="817600"/>
            </a:xfrm>
            <a:custGeom>
              <a:avLst/>
              <a:gdLst>
                <a:gd name="T0" fmla="*/ 0 w 470"/>
                <a:gd name="T1" fmla="*/ 541 h 541"/>
                <a:gd name="T2" fmla="*/ 334 w 470"/>
                <a:gd name="T3" fmla="*/ 0 h 541"/>
                <a:gd name="T4" fmla="*/ 470 w 470"/>
                <a:gd name="T5" fmla="*/ 0 h 541"/>
                <a:gd name="T6" fmla="*/ 135 w 470"/>
                <a:gd name="T7" fmla="*/ 541 h 541"/>
                <a:gd name="T8" fmla="*/ 0 w 470"/>
                <a:gd name="T9" fmla="*/ 54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541">
                  <a:moveTo>
                    <a:pt x="0" y="541"/>
                  </a:moveTo>
                  <a:cubicBezTo>
                    <a:pt x="0" y="541"/>
                    <a:pt x="331" y="0"/>
                    <a:pt x="334" y="0"/>
                  </a:cubicBezTo>
                  <a:cubicBezTo>
                    <a:pt x="338" y="0"/>
                    <a:pt x="470" y="0"/>
                    <a:pt x="470" y="0"/>
                  </a:cubicBezTo>
                  <a:cubicBezTo>
                    <a:pt x="135" y="541"/>
                    <a:pt x="135" y="541"/>
                    <a:pt x="135" y="541"/>
                  </a:cubicBezTo>
                  <a:cubicBezTo>
                    <a:pt x="135" y="541"/>
                    <a:pt x="44" y="540"/>
                    <a:pt x="0" y="541"/>
                  </a:cubicBez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51"/>
            <p:cNvSpPr>
              <a:spLocks/>
            </p:cNvSpPr>
            <p:nvPr/>
          </p:nvSpPr>
          <p:spPr bwMode="auto">
            <a:xfrm>
              <a:off x="2012820" y="4951692"/>
              <a:ext cx="2615478" cy="102376"/>
            </a:xfrm>
            <a:custGeom>
              <a:avLst/>
              <a:gdLst>
                <a:gd name="T0" fmla="*/ 1728 w 1728"/>
                <a:gd name="T1" fmla="*/ 34 h 68"/>
                <a:gd name="T2" fmla="*/ 1697 w 1728"/>
                <a:gd name="T3" fmla="*/ 68 h 68"/>
                <a:gd name="T4" fmla="*/ 31 w 1728"/>
                <a:gd name="T5" fmla="*/ 68 h 68"/>
                <a:gd name="T6" fmla="*/ 0 w 1728"/>
                <a:gd name="T7" fmla="*/ 34 h 68"/>
                <a:gd name="T8" fmla="*/ 0 w 1728"/>
                <a:gd name="T9" fmla="*/ 34 h 68"/>
                <a:gd name="T10" fmla="*/ 31 w 1728"/>
                <a:gd name="T11" fmla="*/ 0 h 68"/>
                <a:gd name="T12" fmla="*/ 1697 w 1728"/>
                <a:gd name="T13" fmla="*/ 0 h 68"/>
                <a:gd name="T14" fmla="*/ 1728 w 1728"/>
                <a:gd name="T1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8" h="68">
                  <a:moveTo>
                    <a:pt x="1728" y="34"/>
                  </a:moveTo>
                  <a:cubicBezTo>
                    <a:pt x="1728" y="53"/>
                    <a:pt x="1714" y="68"/>
                    <a:pt x="1697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14" y="68"/>
                    <a:pt x="0" y="53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4" y="0"/>
                    <a:pt x="31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714" y="0"/>
                    <a:pt x="1728" y="15"/>
                    <a:pt x="1728" y="34"/>
                  </a:cubicBez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>
              <a:off x="836206" y="5863252"/>
              <a:ext cx="1774037" cy="26926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53"/>
            <p:cNvSpPr>
              <a:spLocks/>
            </p:cNvSpPr>
            <p:nvPr/>
          </p:nvSpPr>
          <p:spPr bwMode="auto">
            <a:xfrm>
              <a:off x="2520489" y="3866234"/>
              <a:ext cx="266456" cy="154264"/>
            </a:xfrm>
            <a:custGeom>
              <a:avLst/>
              <a:gdLst>
                <a:gd name="T0" fmla="*/ 176 w 176"/>
                <a:gd name="T1" fmla="*/ 63 h 102"/>
                <a:gd name="T2" fmla="*/ 115 w 176"/>
                <a:gd name="T3" fmla="*/ 49 h 102"/>
                <a:gd name="T4" fmla="*/ 59 w 176"/>
                <a:gd name="T5" fmla="*/ 99 h 102"/>
                <a:gd name="T6" fmla="*/ 3 w 176"/>
                <a:gd name="T7" fmla="*/ 65 h 102"/>
                <a:gd name="T8" fmla="*/ 51 w 176"/>
                <a:gd name="T9" fmla="*/ 0 h 102"/>
                <a:gd name="T10" fmla="*/ 176 w 176"/>
                <a:gd name="T11" fmla="*/ 6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6" h="102">
                  <a:moveTo>
                    <a:pt x="176" y="63"/>
                  </a:moveTo>
                  <a:cubicBezTo>
                    <a:pt x="176" y="63"/>
                    <a:pt x="129" y="49"/>
                    <a:pt x="115" y="49"/>
                  </a:cubicBezTo>
                  <a:cubicBezTo>
                    <a:pt x="101" y="50"/>
                    <a:pt x="71" y="102"/>
                    <a:pt x="59" y="99"/>
                  </a:cubicBezTo>
                  <a:cubicBezTo>
                    <a:pt x="47" y="96"/>
                    <a:pt x="7" y="88"/>
                    <a:pt x="3" y="65"/>
                  </a:cubicBezTo>
                  <a:cubicBezTo>
                    <a:pt x="0" y="41"/>
                    <a:pt x="51" y="0"/>
                    <a:pt x="51" y="0"/>
                  </a:cubicBezTo>
                  <a:cubicBezTo>
                    <a:pt x="51" y="0"/>
                    <a:pt x="159" y="44"/>
                    <a:pt x="176" y="63"/>
                  </a:cubicBezTo>
                  <a:close/>
                </a:path>
              </a:pathLst>
            </a:custGeom>
            <a:solidFill>
              <a:srgbClr val="F2CE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54"/>
            <p:cNvSpPr>
              <a:spLocks/>
            </p:cNvSpPr>
            <p:nvPr/>
          </p:nvSpPr>
          <p:spPr bwMode="auto">
            <a:xfrm>
              <a:off x="2357810" y="3033208"/>
              <a:ext cx="1165395" cy="1197650"/>
            </a:xfrm>
            <a:custGeom>
              <a:avLst/>
              <a:gdLst>
                <a:gd name="T0" fmla="*/ 0 w 770"/>
                <a:gd name="T1" fmla="*/ 763 h 793"/>
                <a:gd name="T2" fmla="*/ 753 w 770"/>
                <a:gd name="T3" fmla="*/ 0 h 793"/>
                <a:gd name="T4" fmla="*/ 770 w 770"/>
                <a:gd name="T5" fmla="*/ 16 h 793"/>
                <a:gd name="T6" fmla="*/ 45 w 770"/>
                <a:gd name="T7" fmla="*/ 793 h 793"/>
                <a:gd name="T8" fmla="*/ 0 w 770"/>
                <a:gd name="T9" fmla="*/ 763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793">
                  <a:moveTo>
                    <a:pt x="0" y="763"/>
                  </a:moveTo>
                  <a:cubicBezTo>
                    <a:pt x="0" y="763"/>
                    <a:pt x="700" y="39"/>
                    <a:pt x="753" y="0"/>
                  </a:cubicBezTo>
                  <a:cubicBezTo>
                    <a:pt x="753" y="0"/>
                    <a:pt x="762" y="8"/>
                    <a:pt x="770" y="16"/>
                  </a:cubicBezTo>
                  <a:cubicBezTo>
                    <a:pt x="770" y="16"/>
                    <a:pt x="97" y="744"/>
                    <a:pt x="45" y="793"/>
                  </a:cubicBezTo>
                  <a:cubicBezTo>
                    <a:pt x="45" y="793"/>
                    <a:pt x="7" y="791"/>
                    <a:pt x="0" y="763"/>
                  </a:cubicBezTo>
                  <a:close/>
                </a:path>
              </a:pathLst>
            </a:custGeom>
            <a:solidFill>
              <a:srgbClr val="1414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55"/>
            <p:cNvSpPr>
              <a:spLocks/>
            </p:cNvSpPr>
            <p:nvPr/>
          </p:nvSpPr>
          <p:spPr bwMode="auto">
            <a:xfrm>
              <a:off x="2712618" y="3867636"/>
              <a:ext cx="116400" cy="96766"/>
            </a:xfrm>
            <a:custGeom>
              <a:avLst/>
              <a:gdLst>
                <a:gd name="T0" fmla="*/ 77 w 77"/>
                <a:gd name="T1" fmla="*/ 28 h 64"/>
                <a:gd name="T2" fmla="*/ 24 w 77"/>
                <a:gd name="T3" fmla="*/ 4 h 64"/>
                <a:gd name="T4" fmla="*/ 4 w 77"/>
                <a:gd name="T5" fmla="*/ 41 h 64"/>
                <a:gd name="T6" fmla="*/ 58 w 77"/>
                <a:gd name="T7" fmla="*/ 64 h 64"/>
                <a:gd name="T8" fmla="*/ 77 w 77"/>
                <a:gd name="T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64">
                  <a:moveTo>
                    <a:pt x="77" y="28"/>
                  </a:moveTo>
                  <a:cubicBezTo>
                    <a:pt x="77" y="28"/>
                    <a:pt x="33" y="7"/>
                    <a:pt x="24" y="4"/>
                  </a:cubicBezTo>
                  <a:cubicBezTo>
                    <a:pt x="15" y="0"/>
                    <a:pt x="0" y="30"/>
                    <a:pt x="4" y="41"/>
                  </a:cubicBezTo>
                  <a:cubicBezTo>
                    <a:pt x="9" y="53"/>
                    <a:pt x="50" y="64"/>
                    <a:pt x="58" y="64"/>
                  </a:cubicBezTo>
                  <a:cubicBezTo>
                    <a:pt x="65" y="64"/>
                    <a:pt x="77" y="28"/>
                    <a:pt x="77" y="28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56"/>
            <p:cNvSpPr>
              <a:spLocks/>
            </p:cNvSpPr>
            <p:nvPr/>
          </p:nvSpPr>
          <p:spPr bwMode="auto">
            <a:xfrm>
              <a:off x="2622865" y="3912513"/>
              <a:ext cx="123411" cy="112192"/>
            </a:xfrm>
            <a:custGeom>
              <a:avLst/>
              <a:gdLst>
                <a:gd name="T0" fmla="*/ 47 w 81"/>
                <a:gd name="T1" fmla="*/ 19 h 75"/>
                <a:gd name="T2" fmla="*/ 74 w 81"/>
                <a:gd name="T3" fmla="*/ 62 h 75"/>
                <a:gd name="T4" fmla="*/ 17 w 81"/>
                <a:gd name="T5" fmla="*/ 36 h 75"/>
                <a:gd name="T6" fmla="*/ 47 w 81"/>
                <a:gd name="T7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75">
                  <a:moveTo>
                    <a:pt x="47" y="19"/>
                  </a:moveTo>
                  <a:cubicBezTo>
                    <a:pt x="47" y="19"/>
                    <a:pt x="81" y="49"/>
                    <a:pt x="74" y="62"/>
                  </a:cubicBezTo>
                  <a:cubicBezTo>
                    <a:pt x="68" y="75"/>
                    <a:pt x="34" y="72"/>
                    <a:pt x="17" y="36"/>
                  </a:cubicBezTo>
                  <a:cubicBezTo>
                    <a:pt x="0" y="0"/>
                    <a:pt x="38" y="10"/>
                    <a:pt x="47" y="19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57"/>
            <p:cNvSpPr>
              <a:spLocks/>
            </p:cNvSpPr>
            <p:nvPr/>
          </p:nvSpPr>
          <p:spPr bwMode="auto">
            <a:xfrm>
              <a:off x="2593414" y="3962999"/>
              <a:ext cx="98168" cy="95363"/>
            </a:xfrm>
            <a:custGeom>
              <a:avLst/>
              <a:gdLst>
                <a:gd name="T0" fmla="*/ 21 w 65"/>
                <a:gd name="T1" fmla="*/ 1 h 63"/>
                <a:gd name="T2" fmla="*/ 64 w 65"/>
                <a:gd name="T3" fmla="*/ 35 h 63"/>
                <a:gd name="T4" fmla="*/ 33 w 65"/>
                <a:gd name="T5" fmla="*/ 51 h 63"/>
                <a:gd name="T6" fmla="*/ 21 w 65"/>
                <a:gd name="T7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3">
                  <a:moveTo>
                    <a:pt x="21" y="1"/>
                  </a:moveTo>
                  <a:cubicBezTo>
                    <a:pt x="34" y="0"/>
                    <a:pt x="65" y="24"/>
                    <a:pt x="64" y="35"/>
                  </a:cubicBezTo>
                  <a:cubicBezTo>
                    <a:pt x="63" y="46"/>
                    <a:pt x="51" y="63"/>
                    <a:pt x="33" y="51"/>
                  </a:cubicBezTo>
                  <a:cubicBezTo>
                    <a:pt x="14" y="38"/>
                    <a:pt x="0" y="2"/>
                    <a:pt x="21" y="1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58"/>
            <p:cNvSpPr>
              <a:spLocks/>
            </p:cNvSpPr>
            <p:nvPr/>
          </p:nvSpPr>
          <p:spPr bwMode="auto">
            <a:xfrm>
              <a:off x="2495246" y="3822759"/>
              <a:ext cx="242616" cy="155667"/>
            </a:xfrm>
            <a:custGeom>
              <a:avLst/>
              <a:gdLst>
                <a:gd name="T0" fmla="*/ 12 w 161"/>
                <a:gd name="T1" fmla="*/ 62 h 103"/>
                <a:gd name="T2" fmla="*/ 54 w 161"/>
                <a:gd name="T3" fmla="*/ 5 h 103"/>
                <a:gd name="T4" fmla="*/ 143 w 161"/>
                <a:gd name="T5" fmla="*/ 48 h 103"/>
                <a:gd name="T6" fmla="*/ 113 w 161"/>
                <a:gd name="T7" fmla="*/ 71 h 103"/>
                <a:gd name="T8" fmla="*/ 69 w 161"/>
                <a:gd name="T9" fmla="*/ 48 h 103"/>
                <a:gd name="T10" fmla="*/ 37 w 161"/>
                <a:gd name="T11" fmla="*/ 94 h 103"/>
                <a:gd name="T12" fmla="*/ 12 w 161"/>
                <a:gd name="T13" fmla="*/ 6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1" h="103">
                  <a:moveTo>
                    <a:pt x="12" y="62"/>
                  </a:moveTo>
                  <a:cubicBezTo>
                    <a:pt x="12" y="62"/>
                    <a:pt x="42" y="11"/>
                    <a:pt x="54" y="5"/>
                  </a:cubicBezTo>
                  <a:cubicBezTo>
                    <a:pt x="67" y="0"/>
                    <a:pt x="126" y="48"/>
                    <a:pt x="143" y="48"/>
                  </a:cubicBezTo>
                  <a:cubicBezTo>
                    <a:pt x="161" y="49"/>
                    <a:pt x="131" y="75"/>
                    <a:pt x="113" y="71"/>
                  </a:cubicBezTo>
                  <a:cubicBezTo>
                    <a:pt x="96" y="67"/>
                    <a:pt x="69" y="48"/>
                    <a:pt x="69" y="48"/>
                  </a:cubicBezTo>
                  <a:cubicBezTo>
                    <a:pt x="69" y="48"/>
                    <a:pt x="73" y="85"/>
                    <a:pt x="37" y="94"/>
                  </a:cubicBezTo>
                  <a:cubicBezTo>
                    <a:pt x="0" y="103"/>
                    <a:pt x="12" y="62"/>
                    <a:pt x="12" y="62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59"/>
            <p:cNvSpPr>
              <a:spLocks/>
            </p:cNvSpPr>
            <p:nvPr/>
          </p:nvSpPr>
          <p:spPr bwMode="auto">
            <a:xfrm>
              <a:off x="1493932" y="3772273"/>
              <a:ext cx="1071434" cy="495048"/>
            </a:xfrm>
            <a:custGeom>
              <a:avLst/>
              <a:gdLst>
                <a:gd name="T0" fmla="*/ 60 w 708"/>
                <a:gd name="T1" fmla="*/ 6 h 328"/>
                <a:gd name="T2" fmla="*/ 668 w 708"/>
                <a:gd name="T3" fmla="*/ 92 h 328"/>
                <a:gd name="T4" fmla="*/ 708 w 708"/>
                <a:gd name="T5" fmla="*/ 155 h 328"/>
                <a:gd name="T6" fmla="*/ 88 w 708"/>
                <a:gd name="T7" fmla="*/ 105 h 328"/>
                <a:gd name="T8" fmla="*/ 60 w 708"/>
                <a:gd name="T9" fmla="*/ 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8" h="328">
                  <a:moveTo>
                    <a:pt x="60" y="6"/>
                  </a:moveTo>
                  <a:cubicBezTo>
                    <a:pt x="79" y="0"/>
                    <a:pt x="350" y="233"/>
                    <a:pt x="668" y="92"/>
                  </a:cubicBezTo>
                  <a:cubicBezTo>
                    <a:pt x="668" y="92"/>
                    <a:pt x="698" y="111"/>
                    <a:pt x="708" y="155"/>
                  </a:cubicBezTo>
                  <a:cubicBezTo>
                    <a:pt x="708" y="155"/>
                    <a:pt x="375" y="328"/>
                    <a:pt x="88" y="105"/>
                  </a:cubicBezTo>
                  <a:cubicBezTo>
                    <a:pt x="88" y="105"/>
                    <a:pt x="0" y="23"/>
                    <a:pt x="60" y="6"/>
                  </a:cubicBezTo>
                  <a:close/>
                </a:path>
              </a:pathLst>
            </a:custGeom>
            <a:solidFill>
              <a:srgbClr val="46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60"/>
            <p:cNvSpPr>
              <a:spLocks/>
            </p:cNvSpPr>
            <p:nvPr/>
          </p:nvSpPr>
          <p:spPr bwMode="auto">
            <a:xfrm>
              <a:off x="1457469" y="3014976"/>
              <a:ext cx="206153" cy="445963"/>
            </a:xfrm>
            <a:custGeom>
              <a:avLst/>
              <a:gdLst>
                <a:gd name="T0" fmla="*/ 64 w 136"/>
                <a:gd name="T1" fmla="*/ 13 h 295"/>
                <a:gd name="T2" fmla="*/ 77 w 136"/>
                <a:gd name="T3" fmla="*/ 197 h 295"/>
                <a:gd name="T4" fmla="*/ 64 w 136"/>
                <a:gd name="T5" fmla="*/ 1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295">
                  <a:moveTo>
                    <a:pt x="64" y="13"/>
                  </a:moveTo>
                  <a:cubicBezTo>
                    <a:pt x="64" y="13"/>
                    <a:pt x="136" y="99"/>
                    <a:pt x="77" y="197"/>
                  </a:cubicBezTo>
                  <a:cubicBezTo>
                    <a:pt x="18" y="295"/>
                    <a:pt x="0" y="0"/>
                    <a:pt x="64" y="13"/>
                  </a:cubicBezTo>
                  <a:close/>
                </a:path>
              </a:pathLst>
            </a:custGeom>
            <a:solidFill>
              <a:srgbClr val="725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61"/>
            <p:cNvSpPr>
              <a:spLocks/>
            </p:cNvSpPr>
            <p:nvPr/>
          </p:nvSpPr>
          <p:spPr bwMode="auto">
            <a:xfrm>
              <a:off x="1080224" y="2949064"/>
              <a:ext cx="560960" cy="779735"/>
            </a:xfrm>
            <a:custGeom>
              <a:avLst/>
              <a:gdLst>
                <a:gd name="T0" fmla="*/ 302 w 371"/>
                <a:gd name="T1" fmla="*/ 84 h 517"/>
                <a:gd name="T2" fmla="*/ 360 w 371"/>
                <a:gd name="T3" fmla="*/ 406 h 517"/>
                <a:gd name="T4" fmla="*/ 109 w 371"/>
                <a:gd name="T5" fmla="*/ 479 h 517"/>
                <a:gd name="T6" fmla="*/ 35 w 371"/>
                <a:gd name="T7" fmla="*/ 301 h 517"/>
                <a:gd name="T8" fmla="*/ 54 w 371"/>
                <a:gd name="T9" fmla="*/ 76 h 517"/>
                <a:gd name="T10" fmla="*/ 302 w 371"/>
                <a:gd name="T11" fmla="*/ 84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1" h="517">
                  <a:moveTo>
                    <a:pt x="302" y="84"/>
                  </a:moveTo>
                  <a:cubicBezTo>
                    <a:pt x="302" y="84"/>
                    <a:pt x="371" y="305"/>
                    <a:pt x="360" y="406"/>
                  </a:cubicBezTo>
                  <a:cubicBezTo>
                    <a:pt x="349" y="508"/>
                    <a:pt x="152" y="517"/>
                    <a:pt x="109" y="479"/>
                  </a:cubicBezTo>
                  <a:cubicBezTo>
                    <a:pt x="65" y="442"/>
                    <a:pt x="35" y="301"/>
                    <a:pt x="35" y="301"/>
                  </a:cubicBezTo>
                  <a:cubicBezTo>
                    <a:pt x="35" y="301"/>
                    <a:pt x="0" y="121"/>
                    <a:pt x="54" y="76"/>
                  </a:cubicBezTo>
                  <a:cubicBezTo>
                    <a:pt x="108" y="31"/>
                    <a:pt x="263" y="0"/>
                    <a:pt x="302" y="84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62"/>
            <p:cNvSpPr>
              <a:spLocks/>
            </p:cNvSpPr>
            <p:nvPr/>
          </p:nvSpPr>
          <p:spPr bwMode="auto">
            <a:xfrm>
              <a:off x="840413" y="2769557"/>
              <a:ext cx="949426" cy="723639"/>
            </a:xfrm>
            <a:custGeom>
              <a:avLst/>
              <a:gdLst>
                <a:gd name="T0" fmla="*/ 208 w 627"/>
                <a:gd name="T1" fmla="*/ 464 h 479"/>
                <a:gd name="T2" fmla="*/ 229 w 627"/>
                <a:gd name="T3" fmla="*/ 453 h 479"/>
                <a:gd name="T4" fmla="*/ 208 w 627"/>
                <a:gd name="T5" fmla="*/ 256 h 479"/>
                <a:gd name="T6" fmla="*/ 266 w 627"/>
                <a:gd name="T7" fmla="*/ 269 h 479"/>
                <a:gd name="T8" fmla="*/ 257 w 627"/>
                <a:gd name="T9" fmla="*/ 235 h 479"/>
                <a:gd name="T10" fmla="*/ 357 w 627"/>
                <a:gd name="T11" fmla="*/ 252 h 479"/>
                <a:gd name="T12" fmla="*/ 336 w 627"/>
                <a:gd name="T13" fmla="*/ 216 h 479"/>
                <a:gd name="T14" fmla="*/ 485 w 627"/>
                <a:gd name="T15" fmla="*/ 231 h 479"/>
                <a:gd name="T16" fmla="*/ 460 w 627"/>
                <a:gd name="T17" fmla="*/ 202 h 479"/>
                <a:gd name="T18" fmla="*/ 475 w 627"/>
                <a:gd name="T19" fmla="*/ 36 h 479"/>
                <a:gd name="T20" fmla="*/ 430 w 627"/>
                <a:gd name="T21" fmla="*/ 79 h 479"/>
                <a:gd name="T22" fmla="*/ 281 w 627"/>
                <a:gd name="T23" fmla="*/ 36 h 479"/>
                <a:gd name="T24" fmla="*/ 306 w 627"/>
                <a:gd name="T25" fmla="*/ 96 h 479"/>
                <a:gd name="T26" fmla="*/ 97 w 627"/>
                <a:gd name="T27" fmla="*/ 188 h 479"/>
                <a:gd name="T28" fmla="*/ 82 w 627"/>
                <a:gd name="T29" fmla="*/ 130 h 479"/>
                <a:gd name="T30" fmla="*/ 54 w 627"/>
                <a:gd name="T31" fmla="*/ 197 h 479"/>
                <a:gd name="T32" fmla="*/ 0 w 627"/>
                <a:gd name="T33" fmla="*/ 220 h 479"/>
                <a:gd name="T34" fmla="*/ 37 w 627"/>
                <a:gd name="T35" fmla="*/ 266 h 479"/>
                <a:gd name="T36" fmla="*/ 161 w 627"/>
                <a:gd name="T37" fmla="*/ 479 h 479"/>
                <a:gd name="T38" fmla="*/ 208 w 627"/>
                <a:gd name="T39" fmla="*/ 464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7" h="479">
                  <a:moveTo>
                    <a:pt x="208" y="464"/>
                  </a:moveTo>
                  <a:cubicBezTo>
                    <a:pt x="229" y="453"/>
                    <a:pt x="229" y="453"/>
                    <a:pt x="229" y="453"/>
                  </a:cubicBezTo>
                  <a:cubicBezTo>
                    <a:pt x="229" y="453"/>
                    <a:pt x="244" y="286"/>
                    <a:pt x="208" y="256"/>
                  </a:cubicBezTo>
                  <a:cubicBezTo>
                    <a:pt x="208" y="256"/>
                    <a:pt x="253" y="276"/>
                    <a:pt x="266" y="269"/>
                  </a:cubicBezTo>
                  <a:cubicBezTo>
                    <a:pt x="280" y="261"/>
                    <a:pt x="257" y="235"/>
                    <a:pt x="257" y="235"/>
                  </a:cubicBezTo>
                  <a:cubicBezTo>
                    <a:pt x="257" y="235"/>
                    <a:pt x="340" y="261"/>
                    <a:pt x="357" y="252"/>
                  </a:cubicBezTo>
                  <a:cubicBezTo>
                    <a:pt x="374" y="242"/>
                    <a:pt x="336" y="216"/>
                    <a:pt x="336" y="216"/>
                  </a:cubicBezTo>
                  <a:cubicBezTo>
                    <a:pt x="336" y="216"/>
                    <a:pt x="474" y="252"/>
                    <a:pt x="485" y="231"/>
                  </a:cubicBezTo>
                  <a:cubicBezTo>
                    <a:pt x="496" y="210"/>
                    <a:pt x="460" y="202"/>
                    <a:pt x="460" y="202"/>
                  </a:cubicBezTo>
                  <a:cubicBezTo>
                    <a:pt x="460" y="202"/>
                    <a:pt x="627" y="128"/>
                    <a:pt x="475" y="36"/>
                  </a:cubicBezTo>
                  <a:cubicBezTo>
                    <a:pt x="475" y="36"/>
                    <a:pt x="449" y="32"/>
                    <a:pt x="430" y="79"/>
                  </a:cubicBezTo>
                  <a:cubicBezTo>
                    <a:pt x="430" y="79"/>
                    <a:pt x="302" y="0"/>
                    <a:pt x="281" y="36"/>
                  </a:cubicBezTo>
                  <a:cubicBezTo>
                    <a:pt x="261" y="72"/>
                    <a:pt x="306" y="96"/>
                    <a:pt x="306" y="96"/>
                  </a:cubicBezTo>
                  <a:cubicBezTo>
                    <a:pt x="306" y="96"/>
                    <a:pt x="141" y="83"/>
                    <a:pt x="97" y="188"/>
                  </a:cubicBezTo>
                  <a:cubicBezTo>
                    <a:pt x="97" y="188"/>
                    <a:pt x="90" y="135"/>
                    <a:pt x="82" y="130"/>
                  </a:cubicBezTo>
                  <a:cubicBezTo>
                    <a:pt x="75" y="124"/>
                    <a:pt x="41" y="145"/>
                    <a:pt x="54" y="197"/>
                  </a:cubicBezTo>
                  <a:cubicBezTo>
                    <a:pt x="54" y="197"/>
                    <a:pt x="0" y="177"/>
                    <a:pt x="0" y="220"/>
                  </a:cubicBezTo>
                  <a:cubicBezTo>
                    <a:pt x="0" y="263"/>
                    <a:pt x="37" y="266"/>
                    <a:pt x="37" y="266"/>
                  </a:cubicBezTo>
                  <a:cubicBezTo>
                    <a:pt x="37" y="266"/>
                    <a:pt x="26" y="432"/>
                    <a:pt x="161" y="479"/>
                  </a:cubicBezTo>
                  <a:lnTo>
                    <a:pt x="208" y="464"/>
                  </a:lnTo>
                  <a:close/>
                </a:path>
              </a:pathLst>
            </a:custGeom>
            <a:solidFill>
              <a:srgbClr val="725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63"/>
            <p:cNvSpPr>
              <a:spLocks/>
            </p:cNvSpPr>
            <p:nvPr/>
          </p:nvSpPr>
          <p:spPr bwMode="auto">
            <a:xfrm>
              <a:off x="1003091" y="3406247"/>
              <a:ext cx="241213" cy="258042"/>
            </a:xfrm>
            <a:custGeom>
              <a:avLst/>
              <a:gdLst>
                <a:gd name="T0" fmla="*/ 109 w 160"/>
                <a:gd name="T1" fmla="*/ 39 h 171"/>
                <a:gd name="T2" fmla="*/ 36 w 160"/>
                <a:gd name="T3" fmla="*/ 20 h 171"/>
                <a:gd name="T4" fmla="*/ 126 w 160"/>
                <a:gd name="T5" fmla="*/ 124 h 171"/>
                <a:gd name="T6" fmla="*/ 109 w 160"/>
                <a:gd name="T7" fmla="*/ 3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71">
                  <a:moveTo>
                    <a:pt x="109" y="39"/>
                  </a:moveTo>
                  <a:cubicBezTo>
                    <a:pt x="109" y="39"/>
                    <a:pt x="71" y="0"/>
                    <a:pt x="36" y="20"/>
                  </a:cubicBezTo>
                  <a:cubicBezTo>
                    <a:pt x="0" y="41"/>
                    <a:pt x="47" y="171"/>
                    <a:pt x="126" y="124"/>
                  </a:cubicBezTo>
                  <a:cubicBezTo>
                    <a:pt x="160" y="105"/>
                    <a:pt x="109" y="39"/>
                    <a:pt x="109" y="39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64"/>
            <p:cNvSpPr>
              <a:spLocks/>
            </p:cNvSpPr>
            <p:nvPr/>
          </p:nvSpPr>
          <p:spPr bwMode="auto">
            <a:xfrm>
              <a:off x="1470091" y="3246373"/>
              <a:ext cx="105180" cy="131826"/>
            </a:xfrm>
            <a:custGeom>
              <a:avLst/>
              <a:gdLst>
                <a:gd name="T0" fmla="*/ 9 w 69"/>
                <a:gd name="T1" fmla="*/ 0 h 88"/>
                <a:gd name="T2" fmla="*/ 9 w 69"/>
                <a:gd name="T3" fmla="*/ 58 h 88"/>
                <a:gd name="T4" fmla="*/ 56 w 69"/>
                <a:gd name="T5" fmla="*/ 58 h 88"/>
                <a:gd name="T6" fmla="*/ 24 w 69"/>
                <a:gd name="T7" fmla="*/ 88 h 88"/>
                <a:gd name="T8" fmla="*/ 69 w 69"/>
                <a:gd name="T9" fmla="*/ 68 h 88"/>
                <a:gd name="T10" fmla="*/ 26 w 69"/>
                <a:gd name="T11" fmla="*/ 49 h 88"/>
                <a:gd name="T12" fmla="*/ 9 w 69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88">
                  <a:moveTo>
                    <a:pt x="9" y="0"/>
                  </a:moveTo>
                  <a:cubicBezTo>
                    <a:pt x="9" y="0"/>
                    <a:pt x="0" y="45"/>
                    <a:pt x="9" y="58"/>
                  </a:cubicBezTo>
                  <a:cubicBezTo>
                    <a:pt x="18" y="70"/>
                    <a:pt x="52" y="44"/>
                    <a:pt x="56" y="58"/>
                  </a:cubicBezTo>
                  <a:cubicBezTo>
                    <a:pt x="59" y="71"/>
                    <a:pt x="55" y="83"/>
                    <a:pt x="24" y="88"/>
                  </a:cubicBezTo>
                  <a:cubicBezTo>
                    <a:pt x="24" y="88"/>
                    <a:pt x="69" y="87"/>
                    <a:pt x="69" y="68"/>
                  </a:cubicBezTo>
                  <a:cubicBezTo>
                    <a:pt x="69" y="39"/>
                    <a:pt x="51" y="36"/>
                    <a:pt x="26" y="49"/>
                  </a:cubicBezTo>
                  <a:cubicBezTo>
                    <a:pt x="9" y="58"/>
                    <a:pt x="9" y="25"/>
                    <a:pt x="9" y="0"/>
                  </a:cubicBezTo>
                  <a:close/>
                </a:path>
              </a:pathLst>
            </a:custGeom>
            <a:solidFill>
              <a:srgbClr val="CB8F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65"/>
            <p:cNvSpPr>
              <a:spLocks/>
            </p:cNvSpPr>
            <p:nvPr/>
          </p:nvSpPr>
          <p:spPr bwMode="auto">
            <a:xfrm>
              <a:off x="1346680" y="3271616"/>
              <a:ext cx="44877" cy="63108"/>
            </a:xfrm>
            <a:custGeom>
              <a:avLst/>
              <a:gdLst>
                <a:gd name="T0" fmla="*/ 28 w 30"/>
                <a:gd name="T1" fmla="*/ 18 h 42"/>
                <a:gd name="T2" fmla="*/ 19 w 30"/>
                <a:gd name="T3" fmla="*/ 40 h 42"/>
                <a:gd name="T4" fmla="*/ 2 w 30"/>
                <a:gd name="T5" fmla="*/ 23 h 42"/>
                <a:gd name="T6" fmla="*/ 11 w 30"/>
                <a:gd name="T7" fmla="*/ 1 h 42"/>
                <a:gd name="T8" fmla="*/ 28 w 30"/>
                <a:gd name="T9" fmla="*/ 1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2">
                  <a:moveTo>
                    <a:pt x="28" y="18"/>
                  </a:moveTo>
                  <a:cubicBezTo>
                    <a:pt x="30" y="29"/>
                    <a:pt x="26" y="39"/>
                    <a:pt x="19" y="40"/>
                  </a:cubicBezTo>
                  <a:cubicBezTo>
                    <a:pt x="12" y="42"/>
                    <a:pt x="4" y="34"/>
                    <a:pt x="2" y="23"/>
                  </a:cubicBezTo>
                  <a:cubicBezTo>
                    <a:pt x="0" y="12"/>
                    <a:pt x="4" y="2"/>
                    <a:pt x="11" y="1"/>
                  </a:cubicBezTo>
                  <a:cubicBezTo>
                    <a:pt x="18" y="0"/>
                    <a:pt x="26" y="7"/>
                    <a:pt x="28" y="18"/>
                  </a:cubicBezTo>
                  <a:close/>
                </a:path>
              </a:pathLst>
            </a:custGeom>
            <a:solidFill>
              <a:srgbClr val="190F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66"/>
            <p:cNvSpPr>
              <a:spLocks/>
            </p:cNvSpPr>
            <p:nvPr/>
          </p:nvSpPr>
          <p:spPr bwMode="auto">
            <a:xfrm>
              <a:off x="1520578" y="3244970"/>
              <a:ext cx="40670" cy="57499"/>
            </a:xfrm>
            <a:custGeom>
              <a:avLst/>
              <a:gdLst>
                <a:gd name="T0" fmla="*/ 25 w 27"/>
                <a:gd name="T1" fmla="*/ 16 h 38"/>
                <a:gd name="T2" fmla="*/ 17 w 27"/>
                <a:gd name="T3" fmla="*/ 36 h 38"/>
                <a:gd name="T4" fmla="*/ 2 w 27"/>
                <a:gd name="T5" fmla="*/ 21 h 38"/>
                <a:gd name="T6" fmla="*/ 10 w 27"/>
                <a:gd name="T7" fmla="*/ 1 h 38"/>
                <a:gd name="T8" fmla="*/ 25 w 27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8">
                  <a:moveTo>
                    <a:pt x="25" y="16"/>
                  </a:moveTo>
                  <a:cubicBezTo>
                    <a:pt x="27" y="26"/>
                    <a:pt x="23" y="35"/>
                    <a:pt x="17" y="36"/>
                  </a:cubicBezTo>
                  <a:cubicBezTo>
                    <a:pt x="10" y="38"/>
                    <a:pt x="4" y="31"/>
                    <a:pt x="2" y="21"/>
                  </a:cubicBezTo>
                  <a:cubicBezTo>
                    <a:pt x="0" y="11"/>
                    <a:pt x="3" y="3"/>
                    <a:pt x="10" y="1"/>
                  </a:cubicBezTo>
                  <a:cubicBezTo>
                    <a:pt x="16" y="0"/>
                    <a:pt x="23" y="7"/>
                    <a:pt x="25" y="16"/>
                  </a:cubicBezTo>
                  <a:close/>
                </a:path>
              </a:pathLst>
            </a:custGeom>
            <a:solidFill>
              <a:srgbClr val="190F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67"/>
            <p:cNvSpPr>
              <a:spLocks/>
            </p:cNvSpPr>
            <p:nvPr/>
          </p:nvSpPr>
          <p:spPr bwMode="auto">
            <a:xfrm>
              <a:off x="1296194" y="3563315"/>
              <a:ext cx="203349" cy="98168"/>
            </a:xfrm>
            <a:custGeom>
              <a:avLst/>
              <a:gdLst>
                <a:gd name="T0" fmla="*/ 0 w 134"/>
                <a:gd name="T1" fmla="*/ 6 h 65"/>
                <a:gd name="T2" fmla="*/ 101 w 134"/>
                <a:gd name="T3" fmla="*/ 59 h 65"/>
                <a:gd name="T4" fmla="*/ 134 w 134"/>
                <a:gd name="T5" fmla="*/ 43 h 65"/>
                <a:gd name="T6" fmla="*/ 0 w 134"/>
                <a:gd name="T7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65">
                  <a:moveTo>
                    <a:pt x="0" y="6"/>
                  </a:moveTo>
                  <a:cubicBezTo>
                    <a:pt x="24" y="35"/>
                    <a:pt x="59" y="65"/>
                    <a:pt x="101" y="59"/>
                  </a:cubicBezTo>
                  <a:cubicBezTo>
                    <a:pt x="114" y="57"/>
                    <a:pt x="126" y="51"/>
                    <a:pt x="134" y="43"/>
                  </a:cubicBezTo>
                  <a:cubicBezTo>
                    <a:pt x="100" y="0"/>
                    <a:pt x="35" y="1"/>
                    <a:pt x="0" y="6"/>
                  </a:cubicBezTo>
                  <a:close/>
                </a:path>
              </a:pathLst>
            </a:custGeom>
            <a:solidFill>
              <a:srgbClr val="DA90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68"/>
            <p:cNvSpPr>
              <a:spLocks/>
            </p:cNvSpPr>
            <p:nvPr/>
          </p:nvSpPr>
          <p:spPr bwMode="auto">
            <a:xfrm>
              <a:off x="1244304" y="3427282"/>
              <a:ext cx="318345" cy="200544"/>
            </a:xfrm>
            <a:custGeom>
              <a:avLst/>
              <a:gdLst>
                <a:gd name="T0" fmla="*/ 204 w 210"/>
                <a:gd name="T1" fmla="*/ 0 h 133"/>
                <a:gd name="T2" fmla="*/ 0 w 210"/>
                <a:gd name="T3" fmla="*/ 44 h 133"/>
                <a:gd name="T4" fmla="*/ 34 w 210"/>
                <a:gd name="T5" fmla="*/ 96 h 133"/>
                <a:gd name="T6" fmla="*/ 168 w 210"/>
                <a:gd name="T7" fmla="*/ 133 h 133"/>
                <a:gd name="T8" fmla="*/ 204 w 210"/>
                <a:gd name="T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33">
                  <a:moveTo>
                    <a:pt x="204" y="0"/>
                  </a:moveTo>
                  <a:cubicBezTo>
                    <a:pt x="125" y="0"/>
                    <a:pt x="0" y="44"/>
                    <a:pt x="0" y="44"/>
                  </a:cubicBezTo>
                  <a:cubicBezTo>
                    <a:pt x="0" y="44"/>
                    <a:pt x="12" y="70"/>
                    <a:pt x="34" y="96"/>
                  </a:cubicBezTo>
                  <a:cubicBezTo>
                    <a:pt x="69" y="91"/>
                    <a:pt x="134" y="90"/>
                    <a:pt x="168" y="133"/>
                  </a:cubicBezTo>
                  <a:cubicBezTo>
                    <a:pt x="210" y="94"/>
                    <a:pt x="204" y="0"/>
                    <a:pt x="204" y="0"/>
                  </a:cubicBezTo>
                  <a:close/>
                </a:path>
              </a:pathLst>
            </a:custGeom>
            <a:solidFill>
              <a:srgbClr val="7534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69"/>
            <p:cNvSpPr>
              <a:spLocks/>
            </p:cNvSpPr>
            <p:nvPr/>
          </p:nvSpPr>
          <p:spPr bwMode="auto">
            <a:xfrm>
              <a:off x="1296194" y="3165034"/>
              <a:ext cx="93961" cy="67315"/>
            </a:xfrm>
            <a:custGeom>
              <a:avLst/>
              <a:gdLst>
                <a:gd name="T0" fmla="*/ 0 w 62"/>
                <a:gd name="T1" fmla="*/ 45 h 45"/>
                <a:gd name="T2" fmla="*/ 62 w 62"/>
                <a:gd name="T3" fmla="*/ 25 h 45"/>
                <a:gd name="T4" fmla="*/ 0 w 62"/>
                <a:gd name="T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45">
                  <a:moveTo>
                    <a:pt x="0" y="45"/>
                  </a:moveTo>
                  <a:cubicBezTo>
                    <a:pt x="0" y="45"/>
                    <a:pt x="30" y="21"/>
                    <a:pt x="62" y="25"/>
                  </a:cubicBezTo>
                  <a:cubicBezTo>
                    <a:pt x="62" y="25"/>
                    <a:pt x="19" y="0"/>
                    <a:pt x="0" y="45"/>
                  </a:cubicBezTo>
                  <a:close/>
                </a:path>
              </a:pathLst>
            </a:custGeom>
            <a:solidFill>
              <a:srgbClr val="4939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70"/>
            <p:cNvSpPr>
              <a:spLocks/>
            </p:cNvSpPr>
            <p:nvPr/>
          </p:nvSpPr>
          <p:spPr bwMode="auto">
            <a:xfrm>
              <a:off x="1477103" y="3141192"/>
              <a:ext cx="75730" cy="50486"/>
            </a:xfrm>
            <a:custGeom>
              <a:avLst/>
              <a:gdLst>
                <a:gd name="T0" fmla="*/ 0 w 50"/>
                <a:gd name="T1" fmla="*/ 33 h 33"/>
                <a:gd name="T2" fmla="*/ 50 w 50"/>
                <a:gd name="T3" fmla="*/ 33 h 33"/>
                <a:gd name="T4" fmla="*/ 0 w 50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" h="33">
                  <a:moveTo>
                    <a:pt x="0" y="33"/>
                  </a:moveTo>
                  <a:cubicBezTo>
                    <a:pt x="0" y="33"/>
                    <a:pt x="37" y="21"/>
                    <a:pt x="50" y="33"/>
                  </a:cubicBezTo>
                  <a:cubicBezTo>
                    <a:pt x="50" y="33"/>
                    <a:pt x="21" y="0"/>
                    <a:pt x="0" y="33"/>
                  </a:cubicBezTo>
                  <a:close/>
                </a:path>
              </a:pathLst>
            </a:custGeom>
            <a:solidFill>
              <a:srgbClr val="4939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71"/>
            <p:cNvSpPr>
              <a:spLocks/>
            </p:cNvSpPr>
            <p:nvPr/>
          </p:nvSpPr>
          <p:spPr bwMode="auto">
            <a:xfrm>
              <a:off x="1652403" y="5818375"/>
              <a:ext cx="333771" cy="217373"/>
            </a:xfrm>
            <a:custGeom>
              <a:avLst/>
              <a:gdLst>
                <a:gd name="T0" fmla="*/ 102 w 221"/>
                <a:gd name="T1" fmla="*/ 30 h 144"/>
                <a:gd name="T2" fmla="*/ 132 w 221"/>
                <a:gd name="T3" fmla="*/ 72 h 144"/>
                <a:gd name="T4" fmla="*/ 206 w 221"/>
                <a:gd name="T5" fmla="*/ 86 h 144"/>
                <a:gd name="T6" fmla="*/ 206 w 221"/>
                <a:gd name="T7" fmla="*/ 124 h 144"/>
                <a:gd name="T8" fmla="*/ 14 w 221"/>
                <a:gd name="T9" fmla="*/ 124 h 144"/>
                <a:gd name="T10" fmla="*/ 14 w 221"/>
                <a:gd name="T11" fmla="*/ 30 h 144"/>
                <a:gd name="T12" fmla="*/ 102 w 221"/>
                <a:gd name="T13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144">
                  <a:moveTo>
                    <a:pt x="102" y="30"/>
                  </a:moveTo>
                  <a:cubicBezTo>
                    <a:pt x="102" y="30"/>
                    <a:pt x="114" y="66"/>
                    <a:pt x="132" y="72"/>
                  </a:cubicBezTo>
                  <a:cubicBezTo>
                    <a:pt x="149" y="78"/>
                    <a:pt x="191" y="74"/>
                    <a:pt x="206" y="86"/>
                  </a:cubicBezTo>
                  <a:cubicBezTo>
                    <a:pt x="221" y="98"/>
                    <a:pt x="206" y="124"/>
                    <a:pt x="206" y="124"/>
                  </a:cubicBezTo>
                  <a:cubicBezTo>
                    <a:pt x="206" y="124"/>
                    <a:pt x="49" y="144"/>
                    <a:pt x="14" y="124"/>
                  </a:cubicBezTo>
                  <a:cubicBezTo>
                    <a:pt x="14" y="124"/>
                    <a:pt x="0" y="60"/>
                    <a:pt x="14" y="30"/>
                  </a:cubicBezTo>
                  <a:cubicBezTo>
                    <a:pt x="28" y="0"/>
                    <a:pt x="102" y="30"/>
                    <a:pt x="102" y="30"/>
                  </a:cubicBezTo>
                  <a:close/>
                </a:path>
              </a:pathLst>
            </a:custGeom>
            <a:solidFill>
              <a:srgbClr val="281D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72"/>
            <p:cNvSpPr>
              <a:spLocks/>
            </p:cNvSpPr>
            <p:nvPr/>
          </p:nvSpPr>
          <p:spPr bwMode="auto">
            <a:xfrm>
              <a:off x="1503749" y="5843619"/>
              <a:ext cx="315541" cy="231397"/>
            </a:xfrm>
            <a:custGeom>
              <a:avLst/>
              <a:gdLst>
                <a:gd name="T0" fmla="*/ 112 w 209"/>
                <a:gd name="T1" fmla="*/ 23 h 153"/>
                <a:gd name="T2" fmla="*/ 142 w 209"/>
                <a:gd name="T3" fmla="*/ 72 h 153"/>
                <a:gd name="T4" fmla="*/ 200 w 209"/>
                <a:gd name="T5" fmla="*/ 94 h 153"/>
                <a:gd name="T6" fmla="*/ 200 w 209"/>
                <a:gd name="T7" fmla="*/ 122 h 153"/>
                <a:gd name="T8" fmla="*/ 0 w 209"/>
                <a:gd name="T9" fmla="*/ 107 h 153"/>
                <a:gd name="T10" fmla="*/ 9 w 209"/>
                <a:gd name="T11" fmla="*/ 23 h 153"/>
                <a:gd name="T12" fmla="*/ 112 w 209"/>
                <a:gd name="T13" fmla="*/ 2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153">
                  <a:moveTo>
                    <a:pt x="112" y="23"/>
                  </a:moveTo>
                  <a:cubicBezTo>
                    <a:pt x="112" y="23"/>
                    <a:pt x="113" y="60"/>
                    <a:pt x="142" y="72"/>
                  </a:cubicBezTo>
                  <a:cubicBezTo>
                    <a:pt x="159" y="78"/>
                    <a:pt x="189" y="84"/>
                    <a:pt x="200" y="94"/>
                  </a:cubicBezTo>
                  <a:cubicBezTo>
                    <a:pt x="209" y="100"/>
                    <a:pt x="201" y="108"/>
                    <a:pt x="200" y="122"/>
                  </a:cubicBezTo>
                  <a:cubicBezTo>
                    <a:pt x="198" y="153"/>
                    <a:pt x="38" y="121"/>
                    <a:pt x="0" y="107"/>
                  </a:cubicBezTo>
                  <a:cubicBezTo>
                    <a:pt x="0" y="107"/>
                    <a:pt x="2" y="46"/>
                    <a:pt x="9" y="23"/>
                  </a:cubicBezTo>
                  <a:cubicBezTo>
                    <a:pt x="16" y="0"/>
                    <a:pt x="112" y="23"/>
                    <a:pt x="112" y="23"/>
                  </a:cubicBezTo>
                  <a:close/>
                </a:path>
              </a:pathLst>
            </a:custGeom>
            <a:solidFill>
              <a:srgbClr val="382B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73"/>
            <p:cNvSpPr>
              <a:spLocks/>
            </p:cNvSpPr>
            <p:nvPr/>
          </p:nvSpPr>
          <p:spPr bwMode="auto">
            <a:xfrm>
              <a:off x="1456067" y="4580055"/>
              <a:ext cx="438952" cy="1337890"/>
            </a:xfrm>
            <a:custGeom>
              <a:avLst/>
              <a:gdLst>
                <a:gd name="T0" fmla="*/ 0 w 290"/>
                <a:gd name="T1" fmla="*/ 62 h 886"/>
                <a:gd name="T2" fmla="*/ 35 w 290"/>
                <a:gd name="T3" fmla="*/ 866 h 886"/>
                <a:gd name="T4" fmla="*/ 162 w 290"/>
                <a:gd name="T5" fmla="*/ 866 h 886"/>
                <a:gd name="T6" fmla="*/ 224 w 290"/>
                <a:gd name="T7" fmla="*/ 135 h 886"/>
                <a:gd name="T8" fmla="*/ 290 w 290"/>
                <a:gd name="T9" fmla="*/ 15 h 886"/>
                <a:gd name="T10" fmla="*/ 0 w 290"/>
                <a:gd name="T11" fmla="*/ 6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0" h="886">
                  <a:moveTo>
                    <a:pt x="0" y="62"/>
                  </a:moveTo>
                  <a:cubicBezTo>
                    <a:pt x="0" y="62"/>
                    <a:pt x="69" y="543"/>
                    <a:pt x="35" y="866"/>
                  </a:cubicBezTo>
                  <a:cubicBezTo>
                    <a:pt x="35" y="866"/>
                    <a:pt x="105" y="886"/>
                    <a:pt x="162" y="866"/>
                  </a:cubicBezTo>
                  <a:cubicBezTo>
                    <a:pt x="162" y="866"/>
                    <a:pt x="224" y="195"/>
                    <a:pt x="224" y="135"/>
                  </a:cubicBezTo>
                  <a:cubicBezTo>
                    <a:pt x="224" y="75"/>
                    <a:pt x="290" y="15"/>
                    <a:pt x="290" y="15"/>
                  </a:cubicBezTo>
                  <a:cubicBezTo>
                    <a:pt x="290" y="15"/>
                    <a:pt x="29" y="0"/>
                    <a:pt x="0" y="62"/>
                  </a:cubicBezTo>
                  <a:close/>
                </a:path>
              </a:pathLst>
            </a:custGeom>
            <a:solidFill>
              <a:srgbClr val="46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74"/>
            <p:cNvSpPr>
              <a:spLocks/>
            </p:cNvSpPr>
            <p:nvPr/>
          </p:nvSpPr>
          <p:spPr bwMode="auto">
            <a:xfrm>
              <a:off x="1663623" y="4560422"/>
              <a:ext cx="288895" cy="1340695"/>
            </a:xfrm>
            <a:custGeom>
              <a:avLst/>
              <a:gdLst>
                <a:gd name="T0" fmla="*/ 173 w 191"/>
                <a:gd name="T1" fmla="*/ 28 h 888"/>
                <a:gd name="T2" fmla="*/ 98 w 191"/>
                <a:gd name="T3" fmla="*/ 873 h 888"/>
                <a:gd name="T4" fmla="*/ 0 w 191"/>
                <a:gd name="T5" fmla="*/ 863 h 888"/>
                <a:gd name="T6" fmla="*/ 20 w 191"/>
                <a:gd name="T7" fmla="*/ 356 h 888"/>
                <a:gd name="T8" fmla="*/ 52 w 191"/>
                <a:gd name="T9" fmla="*/ 45 h 888"/>
                <a:gd name="T10" fmla="*/ 173 w 191"/>
                <a:gd name="T11" fmla="*/ 2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888">
                  <a:moveTo>
                    <a:pt x="173" y="28"/>
                  </a:moveTo>
                  <a:cubicBezTo>
                    <a:pt x="173" y="28"/>
                    <a:pt x="191" y="485"/>
                    <a:pt x="98" y="873"/>
                  </a:cubicBezTo>
                  <a:cubicBezTo>
                    <a:pt x="98" y="873"/>
                    <a:pt x="44" y="888"/>
                    <a:pt x="0" y="863"/>
                  </a:cubicBezTo>
                  <a:cubicBezTo>
                    <a:pt x="0" y="863"/>
                    <a:pt x="20" y="436"/>
                    <a:pt x="20" y="356"/>
                  </a:cubicBezTo>
                  <a:cubicBezTo>
                    <a:pt x="20" y="276"/>
                    <a:pt x="45" y="64"/>
                    <a:pt x="52" y="45"/>
                  </a:cubicBezTo>
                  <a:cubicBezTo>
                    <a:pt x="60" y="26"/>
                    <a:pt x="127" y="0"/>
                    <a:pt x="173" y="28"/>
                  </a:cubicBezTo>
                  <a:close/>
                </a:path>
              </a:pathLst>
            </a:custGeom>
            <a:solidFill>
              <a:srgbClr val="46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75"/>
            <p:cNvSpPr>
              <a:spLocks/>
            </p:cNvSpPr>
            <p:nvPr/>
          </p:nvSpPr>
          <p:spPr bwMode="auto">
            <a:xfrm>
              <a:off x="1721121" y="4682431"/>
              <a:ext cx="107985" cy="1079848"/>
            </a:xfrm>
            <a:custGeom>
              <a:avLst/>
              <a:gdLst>
                <a:gd name="T0" fmla="*/ 71 w 71"/>
                <a:gd name="T1" fmla="*/ 0 h 715"/>
                <a:gd name="T2" fmla="*/ 47 w 71"/>
                <a:gd name="T3" fmla="*/ 99 h 715"/>
                <a:gd name="T4" fmla="*/ 0 w 71"/>
                <a:gd name="T5" fmla="*/ 715 h 715"/>
                <a:gd name="T6" fmla="*/ 36 w 71"/>
                <a:gd name="T7" fmla="*/ 103 h 715"/>
                <a:gd name="T8" fmla="*/ 71 w 71"/>
                <a:gd name="T9" fmla="*/ 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15">
                  <a:moveTo>
                    <a:pt x="71" y="0"/>
                  </a:moveTo>
                  <a:cubicBezTo>
                    <a:pt x="71" y="0"/>
                    <a:pt x="50" y="30"/>
                    <a:pt x="47" y="99"/>
                  </a:cubicBezTo>
                  <a:cubicBezTo>
                    <a:pt x="43" y="169"/>
                    <a:pt x="16" y="606"/>
                    <a:pt x="0" y="715"/>
                  </a:cubicBezTo>
                  <a:cubicBezTo>
                    <a:pt x="0" y="715"/>
                    <a:pt x="38" y="156"/>
                    <a:pt x="36" y="103"/>
                  </a:cubicBezTo>
                  <a:cubicBezTo>
                    <a:pt x="34" y="51"/>
                    <a:pt x="63" y="13"/>
                    <a:pt x="71" y="0"/>
                  </a:cubicBezTo>
                  <a:close/>
                </a:path>
              </a:pathLst>
            </a:custGeom>
            <a:solidFill>
              <a:srgbClr val="23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76"/>
            <p:cNvSpPr>
              <a:spLocks/>
            </p:cNvSpPr>
            <p:nvPr/>
          </p:nvSpPr>
          <p:spPr bwMode="auto">
            <a:xfrm>
              <a:off x="1116686" y="3780687"/>
              <a:ext cx="866684" cy="957840"/>
            </a:xfrm>
            <a:custGeom>
              <a:avLst/>
              <a:gdLst>
                <a:gd name="T0" fmla="*/ 127 w 573"/>
                <a:gd name="T1" fmla="*/ 11 h 634"/>
                <a:gd name="T2" fmla="*/ 19 w 573"/>
                <a:gd name="T3" fmla="*/ 35 h 634"/>
                <a:gd name="T4" fmla="*/ 85 w 573"/>
                <a:gd name="T5" fmla="*/ 178 h 634"/>
                <a:gd name="T6" fmla="*/ 201 w 573"/>
                <a:gd name="T7" fmla="*/ 634 h 634"/>
                <a:gd name="T8" fmla="*/ 458 w 573"/>
                <a:gd name="T9" fmla="*/ 578 h 634"/>
                <a:gd name="T10" fmla="*/ 458 w 573"/>
                <a:gd name="T11" fmla="*/ 539 h 634"/>
                <a:gd name="T12" fmla="*/ 475 w 573"/>
                <a:gd name="T13" fmla="*/ 573 h 634"/>
                <a:gd name="T14" fmla="*/ 573 w 573"/>
                <a:gd name="T15" fmla="*/ 573 h 634"/>
                <a:gd name="T16" fmla="*/ 310 w 573"/>
                <a:gd name="T17" fmla="*/ 0 h 634"/>
                <a:gd name="T18" fmla="*/ 127 w 573"/>
                <a:gd name="T19" fmla="*/ 11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3" h="634">
                  <a:moveTo>
                    <a:pt x="127" y="11"/>
                  </a:moveTo>
                  <a:cubicBezTo>
                    <a:pt x="127" y="11"/>
                    <a:pt x="38" y="30"/>
                    <a:pt x="19" y="35"/>
                  </a:cubicBezTo>
                  <a:cubicBezTo>
                    <a:pt x="0" y="41"/>
                    <a:pt x="56" y="114"/>
                    <a:pt x="85" y="178"/>
                  </a:cubicBezTo>
                  <a:cubicBezTo>
                    <a:pt x="113" y="242"/>
                    <a:pt x="193" y="537"/>
                    <a:pt x="201" y="634"/>
                  </a:cubicBezTo>
                  <a:cubicBezTo>
                    <a:pt x="201" y="634"/>
                    <a:pt x="421" y="578"/>
                    <a:pt x="458" y="578"/>
                  </a:cubicBezTo>
                  <a:cubicBezTo>
                    <a:pt x="458" y="539"/>
                    <a:pt x="458" y="539"/>
                    <a:pt x="458" y="539"/>
                  </a:cubicBezTo>
                  <a:cubicBezTo>
                    <a:pt x="458" y="539"/>
                    <a:pt x="469" y="557"/>
                    <a:pt x="475" y="573"/>
                  </a:cubicBezTo>
                  <a:cubicBezTo>
                    <a:pt x="475" y="573"/>
                    <a:pt x="550" y="571"/>
                    <a:pt x="573" y="573"/>
                  </a:cubicBezTo>
                  <a:cubicBezTo>
                    <a:pt x="573" y="573"/>
                    <a:pt x="382" y="116"/>
                    <a:pt x="310" y="0"/>
                  </a:cubicBezTo>
                  <a:cubicBezTo>
                    <a:pt x="310" y="0"/>
                    <a:pt x="174" y="0"/>
                    <a:pt x="127" y="11"/>
                  </a:cubicBezTo>
                  <a:close/>
                </a:path>
              </a:pathLst>
            </a:custGeom>
            <a:solidFill>
              <a:srgbClr val="46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77"/>
            <p:cNvSpPr>
              <a:spLocks/>
            </p:cNvSpPr>
            <p:nvPr/>
          </p:nvSpPr>
          <p:spPr bwMode="auto">
            <a:xfrm>
              <a:off x="1339668" y="3644655"/>
              <a:ext cx="166886" cy="335174"/>
            </a:xfrm>
            <a:custGeom>
              <a:avLst/>
              <a:gdLst>
                <a:gd name="T0" fmla="*/ 55 w 110"/>
                <a:gd name="T1" fmla="*/ 28 h 222"/>
                <a:gd name="T2" fmla="*/ 100 w 110"/>
                <a:gd name="T3" fmla="*/ 99 h 222"/>
                <a:gd name="T4" fmla="*/ 32 w 110"/>
                <a:gd name="T5" fmla="*/ 114 h 222"/>
                <a:gd name="T6" fmla="*/ 6 w 110"/>
                <a:gd name="T7" fmla="*/ 28 h 222"/>
                <a:gd name="T8" fmla="*/ 55 w 110"/>
                <a:gd name="T9" fmla="*/ 2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222">
                  <a:moveTo>
                    <a:pt x="55" y="28"/>
                  </a:moveTo>
                  <a:cubicBezTo>
                    <a:pt x="55" y="28"/>
                    <a:pt x="88" y="90"/>
                    <a:pt x="100" y="99"/>
                  </a:cubicBezTo>
                  <a:cubicBezTo>
                    <a:pt x="110" y="222"/>
                    <a:pt x="32" y="114"/>
                    <a:pt x="32" y="114"/>
                  </a:cubicBezTo>
                  <a:cubicBezTo>
                    <a:pt x="32" y="114"/>
                    <a:pt x="12" y="56"/>
                    <a:pt x="6" y="28"/>
                  </a:cubicBezTo>
                  <a:cubicBezTo>
                    <a:pt x="0" y="0"/>
                    <a:pt x="55" y="28"/>
                    <a:pt x="55" y="28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78"/>
            <p:cNvSpPr>
              <a:spLocks/>
            </p:cNvSpPr>
            <p:nvPr/>
          </p:nvSpPr>
          <p:spPr bwMode="auto">
            <a:xfrm>
              <a:off x="1308815" y="3780687"/>
              <a:ext cx="347795" cy="433342"/>
            </a:xfrm>
            <a:custGeom>
              <a:avLst/>
              <a:gdLst>
                <a:gd name="T0" fmla="*/ 74 w 230"/>
                <a:gd name="T1" fmla="*/ 0 h 287"/>
                <a:gd name="T2" fmla="*/ 112 w 230"/>
                <a:gd name="T3" fmla="*/ 62 h 287"/>
                <a:gd name="T4" fmla="*/ 96 w 230"/>
                <a:gd name="T5" fmla="*/ 0 h 287"/>
                <a:gd name="T6" fmla="*/ 144 w 230"/>
                <a:gd name="T7" fmla="*/ 0 h 287"/>
                <a:gd name="T8" fmla="*/ 230 w 230"/>
                <a:gd name="T9" fmla="*/ 287 h 287"/>
                <a:gd name="T10" fmla="*/ 0 w 230"/>
                <a:gd name="T11" fmla="*/ 38 h 287"/>
                <a:gd name="T12" fmla="*/ 74 w 230"/>
                <a:gd name="T13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287">
                  <a:moveTo>
                    <a:pt x="74" y="0"/>
                  </a:moveTo>
                  <a:cubicBezTo>
                    <a:pt x="112" y="62"/>
                    <a:pt x="112" y="62"/>
                    <a:pt x="112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4" y="0"/>
                    <a:pt x="221" y="197"/>
                    <a:pt x="230" y="287"/>
                  </a:cubicBezTo>
                  <a:cubicBezTo>
                    <a:pt x="230" y="287"/>
                    <a:pt x="46" y="72"/>
                    <a:pt x="0" y="38"/>
                  </a:cubicBezTo>
                  <a:lnTo>
                    <a:pt x="74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79"/>
            <p:cNvSpPr>
              <a:spLocks/>
            </p:cNvSpPr>
            <p:nvPr/>
          </p:nvSpPr>
          <p:spPr bwMode="auto">
            <a:xfrm>
              <a:off x="1296194" y="3761053"/>
              <a:ext cx="123411" cy="113595"/>
            </a:xfrm>
            <a:custGeom>
              <a:avLst/>
              <a:gdLst>
                <a:gd name="T0" fmla="*/ 0 w 82"/>
                <a:gd name="T1" fmla="*/ 0 h 75"/>
                <a:gd name="T2" fmla="*/ 82 w 82"/>
                <a:gd name="T3" fmla="*/ 13 h 75"/>
                <a:gd name="T4" fmla="*/ 82 w 82"/>
                <a:gd name="T5" fmla="*/ 75 h 75"/>
                <a:gd name="T6" fmla="*/ 0 w 82"/>
                <a:gd name="T7" fmla="*/ 47 h 75"/>
                <a:gd name="T8" fmla="*/ 0 w 82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5">
                  <a:moveTo>
                    <a:pt x="0" y="0"/>
                  </a:moveTo>
                  <a:cubicBezTo>
                    <a:pt x="82" y="13"/>
                    <a:pt x="82" y="13"/>
                    <a:pt x="82" y="13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4" y="52"/>
                    <a:pt x="0" y="4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80"/>
            <p:cNvSpPr>
              <a:spLocks/>
            </p:cNvSpPr>
            <p:nvPr/>
          </p:nvSpPr>
          <p:spPr bwMode="auto">
            <a:xfrm>
              <a:off x="1440640" y="3855015"/>
              <a:ext cx="99571" cy="75730"/>
            </a:xfrm>
            <a:custGeom>
              <a:avLst/>
              <a:gdLst>
                <a:gd name="T0" fmla="*/ 0 w 66"/>
                <a:gd name="T1" fmla="*/ 22 h 50"/>
                <a:gd name="T2" fmla="*/ 54 w 66"/>
                <a:gd name="T3" fmla="*/ 5 h 50"/>
                <a:gd name="T4" fmla="*/ 66 w 66"/>
                <a:gd name="T5" fmla="*/ 37 h 50"/>
                <a:gd name="T6" fmla="*/ 39 w 66"/>
                <a:gd name="T7" fmla="*/ 50 h 50"/>
                <a:gd name="T8" fmla="*/ 0 w 66"/>
                <a:gd name="T9" fmla="*/ 2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50">
                  <a:moveTo>
                    <a:pt x="0" y="22"/>
                  </a:moveTo>
                  <a:cubicBezTo>
                    <a:pt x="0" y="22"/>
                    <a:pt x="29" y="0"/>
                    <a:pt x="54" y="5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39" y="50"/>
                    <a:pt x="39" y="50"/>
                    <a:pt x="39" y="5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1414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81"/>
            <p:cNvSpPr>
              <a:spLocks/>
            </p:cNvSpPr>
            <p:nvPr/>
          </p:nvSpPr>
          <p:spPr bwMode="auto">
            <a:xfrm>
              <a:off x="1499541" y="3911111"/>
              <a:ext cx="171093" cy="319747"/>
            </a:xfrm>
            <a:custGeom>
              <a:avLst/>
              <a:gdLst>
                <a:gd name="T0" fmla="*/ 11 w 113"/>
                <a:gd name="T1" fmla="*/ 95 h 212"/>
                <a:gd name="T2" fmla="*/ 0 w 113"/>
                <a:gd name="T3" fmla="*/ 13 h 212"/>
                <a:gd name="T4" fmla="*/ 27 w 113"/>
                <a:gd name="T5" fmla="*/ 0 h 212"/>
                <a:gd name="T6" fmla="*/ 94 w 113"/>
                <a:gd name="T7" fmla="*/ 109 h 212"/>
                <a:gd name="T8" fmla="*/ 113 w 113"/>
                <a:gd name="T9" fmla="*/ 212 h 212"/>
                <a:gd name="T10" fmla="*/ 11 w 113"/>
                <a:gd name="T11" fmla="*/ 9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212">
                  <a:moveTo>
                    <a:pt x="11" y="95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79" y="86"/>
                    <a:pt x="94" y="109"/>
                  </a:cubicBezTo>
                  <a:cubicBezTo>
                    <a:pt x="113" y="212"/>
                    <a:pt x="113" y="212"/>
                    <a:pt x="113" y="212"/>
                  </a:cubicBezTo>
                  <a:lnTo>
                    <a:pt x="11" y="95"/>
                  </a:lnTo>
                  <a:close/>
                </a:path>
              </a:pathLst>
            </a:custGeom>
            <a:solidFill>
              <a:srgbClr val="1414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82"/>
            <p:cNvSpPr>
              <a:spLocks/>
            </p:cNvSpPr>
            <p:nvPr/>
          </p:nvSpPr>
          <p:spPr bwMode="auto">
            <a:xfrm>
              <a:off x="1244304" y="3780687"/>
              <a:ext cx="426330" cy="450171"/>
            </a:xfrm>
            <a:custGeom>
              <a:avLst/>
              <a:gdLst>
                <a:gd name="T0" fmla="*/ 34 w 281"/>
                <a:gd name="T1" fmla="*/ 0 h 298"/>
                <a:gd name="T2" fmla="*/ 0 w 281"/>
                <a:gd name="T3" fmla="*/ 99 h 298"/>
                <a:gd name="T4" fmla="*/ 102 w 281"/>
                <a:gd name="T5" fmla="*/ 122 h 298"/>
                <a:gd name="T6" fmla="*/ 84 w 281"/>
                <a:gd name="T7" fmla="*/ 221 h 298"/>
                <a:gd name="T8" fmla="*/ 281 w 281"/>
                <a:gd name="T9" fmla="*/ 298 h 298"/>
                <a:gd name="T10" fmla="*/ 42 w 281"/>
                <a:gd name="T11" fmla="*/ 35 h 298"/>
                <a:gd name="T12" fmla="*/ 34 w 281"/>
                <a:gd name="T1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1" h="298">
                  <a:moveTo>
                    <a:pt x="34" y="0"/>
                  </a:moveTo>
                  <a:cubicBezTo>
                    <a:pt x="34" y="0"/>
                    <a:pt x="11" y="60"/>
                    <a:pt x="0" y="99"/>
                  </a:cubicBezTo>
                  <a:cubicBezTo>
                    <a:pt x="0" y="99"/>
                    <a:pt x="47" y="116"/>
                    <a:pt x="102" y="122"/>
                  </a:cubicBezTo>
                  <a:cubicBezTo>
                    <a:pt x="102" y="122"/>
                    <a:pt x="81" y="214"/>
                    <a:pt x="84" y="221"/>
                  </a:cubicBezTo>
                  <a:cubicBezTo>
                    <a:pt x="84" y="221"/>
                    <a:pt x="221" y="265"/>
                    <a:pt x="281" y="298"/>
                  </a:cubicBezTo>
                  <a:cubicBezTo>
                    <a:pt x="241" y="251"/>
                    <a:pt x="82" y="73"/>
                    <a:pt x="42" y="35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rgbClr val="676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83"/>
            <p:cNvSpPr>
              <a:spLocks/>
            </p:cNvSpPr>
            <p:nvPr/>
          </p:nvSpPr>
          <p:spPr bwMode="auto">
            <a:xfrm>
              <a:off x="1514968" y="3756847"/>
              <a:ext cx="197739" cy="474011"/>
            </a:xfrm>
            <a:custGeom>
              <a:avLst/>
              <a:gdLst>
                <a:gd name="T0" fmla="*/ 0 w 130"/>
                <a:gd name="T1" fmla="*/ 0 h 314"/>
                <a:gd name="T2" fmla="*/ 73 w 130"/>
                <a:gd name="T3" fmla="*/ 53 h 314"/>
                <a:gd name="T4" fmla="*/ 55 w 130"/>
                <a:gd name="T5" fmla="*/ 102 h 314"/>
                <a:gd name="T6" fmla="*/ 130 w 130"/>
                <a:gd name="T7" fmla="*/ 159 h 314"/>
                <a:gd name="T8" fmla="*/ 102 w 130"/>
                <a:gd name="T9" fmla="*/ 314 h 314"/>
                <a:gd name="T10" fmla="*/ 0 w 130"/>
                <a:gd name="T1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314">
                  <a:moveTo>
                    <a:pt x="0" y="0"/>
                  </a:moveTo>
                  <a:cubicBezTo>
                    <a:pt x="0" y="0"/>
                    <a:pt x="39" y="36"/>
                    <a:pt x="73" y="53"/>
                  </a:cubicBezTo>
                  <a:cubicBezTo>
                    <a:pt x="73" y="53"/>
                    <a:pt x="66" y="84"/>
                    <a:pt x="55" y="102"/>
                  </a:cubicBezTo>
                  <a:cubicBezTo>
                    <a:pt x="55" y="102"/>
                    <a:pt x="108" y="138"/>
                    <a:pt x="130" y="159"/>
                  </a:cubicBezTo>
                  <a:cubicBezTo>
                    <a:pt x="130" y="159"/>
                    <a:pt x="102" y="239"/>
                    <a:pt x="102" y="314"/>
                  </a:cubicBezTo>
                  <a:cubicBezTo>
                    <a:pt x="102" y="314"/>
                    <a:pt x="20" y="30"/>
                    <a:pt x="0" y="0"/>
                  </a:cubicBezTo>
                  <a:close/>
                </a:path>
              </a:pathLst>
            </a:custGeom>
            <a:solidFill>
              <a:srgbClr val="676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84"/>
            <p:cNvSpPr>
              <a:spLocks/>
            </p:cNvSpPr>
            <p:nvPr/>
          </p:nvSpPr>
          <p:spPr bwMode="auto">
            <a:xfrm>
              <a:off x="1676244" y="4249089"/>
              <a:ext cx="130424" cy="322552"/>
            </a:xfrm>
            <a:custGeom>
              <a:avLst/>
              <a:gdLst>
                <a:gd name="T0" fmla="*/ 0 w 86"/>
                <a:gd name="T1" fmla="*/ 0 h 214"/>
                <a:gd name="T2" fmla="*/ 86 w 86"/>
                <a:gd name="T3" fmla="*/ 214 h 214"/>
                <a:gd name="T4" fmla="*/ 0 w 86"/>
                <a:gd name="T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214">
                  <a:moveTo>
                    <a:pt x="0" y="0"/>
                  </a:moveTo>
                  <a:cubicBezTo>
                    <a:pt x="0" y="0"/>
                    <a:pt x="75" y="154"/>
                    <a:pt x="86" y="214"/>
                  </a:cubicBezTo>
                  <a:cubicBezTo>
                    <a:pt x="86" y="214"/>
                    <a:pt x="9" y="35"/>
                    <a:pt x="0" y="0"/>
                  </a:cubicBezTo>
                  <a:close/>
                </a:path>
              </a:pathLst>
            </a:custGeom>
            <a:solidFill>
              <a:srgbClr val="23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85"/>
            <p:cNvSpPr>
              <a:spLocks/>
            </p:cNvSpPr>
            <p:nvPr/>
          </p:nvSpPr>
          <p:spPr bwMode="auto">
            <a:xfrm>
              <a:off x="1698682" y="4476278"/>
              <a:ext cx="44877" cy="49084"/>
            </a:xfrm>
            <a:custGeom>
              <a:avLst/>
              <a:gdLst>
                <a:gd name="T0" fmla="*/ 27 w 30"/>
                <a:gd name="T1" fmla="*/ 11 h 32"/>
                <a:gd name="T2" fmla="*/ 21 w 30"/>
                <a:gd name="T3" fmla="*/ 30 h 32"/>
                <a:gd name="T4" fmla="*/ 3 w 30"/>
                <a:gd name="T5" fmla="*/ 21 h 32"/>
                <a:gd name="T6" fmla="*/ 9 w 30"/>
                <a:gd name="T7" fmla="*/ 2 h 32"/>
                <a:gd name="T8" fmla="*/ 27 w 30"/>
                <a:gd name="T9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2">
                  <a:moveTo>
                    <a:pt x="27" y="11"/>
                  </a:moveTo>
                  <a:cubicBezTo>
                    <a:pt x="30" y="19"/>
                    <a:pt x="27" y="27"/>
                    <a:pt x="21" y="30"/>
                  </a:cubicBezTo>
                  <a:cubicBezTo>
                    <a:pt x="14" y="32"/>
                    <a:pt x="6" y="29"/>
                    <a:pt x="3" y="21"/>
                  </a:cubicBezTo>
                  <a:cubicBezTo>
                    <a:pt x="0" y="14"/>
                    <a:pt x="3" y="5"/>
                    <a:pt x="9" y="2"/>
                  </a:cubicBezTo>
                  <a:cubicBezTo>
                    <a:pt x="16" y="0"/>
                    <a:pt x="24" y="4"/>
                    <a:pt x="27" y="11"/>
                  </a:cubicBezTo>
                  <a:close/>
                </a:path>
              </a:pathLst>
            </a:custGeom>
            <a:solidFill>
              <a:srgbClr val="23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86"/>
            <p:cNvSpPr>
              <a:spLocks/>
            </p:cNvSpPr>
            <p:nvPr/>
          </p:nvSpPr>
          <p:spPr bwMode="auto">
            <a:xfrm>
              <a:off x="1646794" y="4323416"/>
              <a:ext cx="46280" cy="49084"/>
            </a:xfrm>
            <a:custGeom>
              <a:avLst/>
              <a:gdLst>
                <a:gd name="T0" fmla="*/ 27 w 30"/>
                <a:gd name="T1" fmla="*/ 11 h 33"/>
                <a:gd name="T2" fmla="*/ 21 w 30"/>
                <a:gd name="T3" fmla="*/ 30 h 33"/>
                <a:gd name="T4" fmla="*/ 3 w 30"/>
                <a:gd name="T5" fmla="*/ 21 h 33"/>
                <a:gd name="T6" fmla="*/ 10 w 30"/>
                <a:gd name="T7" fmla="*/ 3 h 33"/>
                <a:gd name="T8" fmla="*/ 27 w 30"/>
                <a:gd name="T9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3">
                  <a:moveTo>
                    <a:pt x="27" y="11"/>
                  </a:moveTo>
                  <a:cubicBezTo>
                    <a:pt x="30" y="19"/>
                    <a:pt x="27" y="27"/>
                    <a:pt x="21" y="30"/>
                  </a:cubicBezTo>
                  <a:cubicBezTo>
                    <a:pt x="14" y="33"/>
                    <a:pt x="6" y="29"/>
                    <a:pt x="3" y="21"/>
                  </a:cubicBezTo>
                  <a:cubicBezTo>
                    <a:pt x="0" y="14"/>
                    <a:pt x="3" y="6"/>
                    <a:pt x="10" y="3"/>
                  </a:cubicBezTo>
                  <a:cubicBezTo>
                    <a:pt x="16" y="0"/>
                    <a:pt x="24" y="4"/>
                    <a:pt x="27" y="11"/>
                  </a:cubicBezTo>
                  <a:close/>
                </a:path>
              </a:pathLst>
            </a:custGeom>
            <a:solidFill>
              <a:srgbClr val="23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87"/>
            <p:cNvSpPr>
              <a:spLocks/>
            </p:cNvSpPr>
            <p:nvPr/>
          </p:nvSpPr>
          <p:spPr bwMode="auto">
            <a:xfrm>
              <a:off x="1453262" y="3734408"/>
              <a:ext cx="78534" cy="117802"/>
            </a:xfrm>
            <a:custGeom>
              <a:avLst/>
              <a:gdLst>
                <a:gd name="T0" fmla="*/ 0 w 52"/>
                <a:gd name="T1" fmla="*/ 31 h 78"/>
                <a:gd name="T2" fmla="*/ 45 w 52"/>
                <a:gd name="T3" fmla="*/ 78 h 78"/>
                <a:gd name="T4" fmla="*/ 48 w 52"/>
                <a:gd name="T5" fmla="*/ 18 h 78"/>
                <a:gd name="T6" fmla="*/ 25 w 52"/>
                <a:gd name="T7" fmla="*/ 0 h 78"/>
                <a:gd name="T8" fmla="*/ 0 w 52"/>
                <a:gd name="T9" fmla="*/ 3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78">
                  <a:moveTo>
                    <a:pt x="0" y="31"/>
                  </a:move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52" y="31"/>
                    <a:pt x="48" y="18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88"/>
            <p:cNvSpPr>
              <a:spLocks/>
            </p:cNvSpPr>
            <p:nvPr/>
          </p:nvSpPr>
          <p:spPr bwMode="auto">
            <a:xfrm>
              <a:off x="1514968" y="4584263"/>
              <a:ext cx="455781" cy="131826"/>
            </a:xfrm>
            <a:custGeom>
              <a:avLst/>
              <a:gdLst>
                <a:gd name="T0" fmla="*/ 0 w 301"/>
                <a:gd name="T1" fmla="*/ 87 h 87"/>
                <a:gd name="T2" fmla="*/ 188 w 301"/>
                <a:gd name="T3" fmla="*/ 43 h 87"/>
                <a:gd name="T4" fmla="*/ 194 w 301"/>
                <a:gd name="T5" fmla="*/ 0 h 87"/>
                <a:gd name="T6" fmla="*/ 211 w 301"/>
                <a:gd name="T7" fmla="*/ 41 h 87"/>
                <a:gd name="T8" fmla="*/ 301 w 301"/>
                <a:gd name="T9" fmla="*/ 40 h 87"/>
                <a:gd name="T10" fmla="*/ 207 w 301"/>
                <a:gd name="T11" fmla="*/ 49 h 87"/>
                <a:gd name="T12" fmla="*/ 200 w 301"/>
                <a:gd name="T13" fmla="*/ 32 h 87"/>
                <a:gd name="T14" fmla="*/ 197 w 301"/>
                <a:gd name="T15" fmla="*/ 52 h 87"/>
                <a:gd name="T16" fmla="*/ 0 w 301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1" h="87">
                  <a:moveTo>
                    <a:pt x="0" y="87"/>
                  </a:moveTo>
                  <a:cubicBezTo>
                    <a:pt x="0" y="87"/>
                    <a:pt x="85" y="58"/>
                    <a:pt x="188" y="43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194" y="0"/>
                    <a:pt x="206" y="28"/>
                    <a:pt x="211" y="41"/>
                  </a:cubicBezTo>
                  <a:cubicBezTo>
                    <a:pt x="211" y="41"/>
                    <a:pt x="283" y="38"/>
                    <a:pt x="301" y="40"/>
                  </a:cubicBezTo>
                  <a:cubicBezTo>
                    <a:pt x="301" y="40"/>
                    <a:pt x="217" y="47"/>
                    <a:pt x="207" y="49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2"/>
                    <a:pt x="198" y="46"/>
                    <a:pt x="197" y="52"/>
                  </a:cubicBezTo>
                  <a:cubicBezTo>
                    <a:pt x="194" y="55"/>
                    <a:pt x="45" y="67"/>
                    <a:pt x="0" y="87"/>
                  </a:cubicBezTo>
                  <a:close/>
                </a:path>
              </a:pathLst>
            </a:custGeom>
            <a:solidFill>
              <a:srgbClr val="23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89"/>
            <p:cNvSpPr>
              <a:spLocks/>
            </p:cNvSpPr>
            <p:nvPr/>
          </p:nvSpPr>
          <p:spPr bwMode="auto">
            <a:xfrm>
              <a:off x="810963" y="3807333"/>
              <a:ext cx="525901" cy="792357"/>
            </a:xfrm>
            <a:custGeom>
              <a:avLst/>
              <a:gdLst>
                <a:gd name="T0" fmla="*/ 221 w 348"/>
                <a:gd name="T1" fmla="*/ 17 h 524"/>
                <a:gd name="T2" fmla="*/ 20 w 348"/>
                <a:gd name="T3" fmla="*/ 356 h 524"/>
                <a:gd name="T4" fmla="*/ 289 w 348"/>
                <a:gd name="T5" fmla="*/ 456 h 524"/>
                <a:gd name="T6" fmla="*/ 306 w 348"/>
                <a:gd name="T7" fmla="*/ 356 h 524"/>
                <a:gd name="T8" fmla="*/ 116 w 348"/>
                <a:gd name="T9" fmla="*/ 380 h 524"/>
                <a:gd name="T10" fmla="*/ 257 w 348"/>
                <a:gd name="T11" fmla="*/ 104 h 524"/>
                <a:gd name="T12" fmla="*/ 221 w 348"/>
                <a:gd name="T13" fmla="*/ 1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524">
                  <a:moveTo>
                    <a:pt x="221" y="17"/>
                  </a:moveTo>
                  <a:cubicBezTo>
                    <a:pt x="221" y="17"/>
                    <a:pt x="39" y="246"/>
                    <a:pt x="20" y="356"/>
                  </a:cubicBezTo>
                  <a:cubicBezTo>
                    <a:pt x="0" y="466"/>
                    <a:pt x="68" y="524"/>
                    <a:pt x="289" y="456"/>
                  </a:cubicBezTo>
                  <a:cubicBezTo>
                    <a:pt x="289" y="456"/>
                    <a:pt x="348" y="383"/>
                    <a:pt x="306" y="356"/>
                  </a:cubicBezTo>
                  <a:cubicBezTo>
                    <a:pt x="306" y="356"/>
                    <a:pt x="153" y="448"/>
                    <a:pt x="116" y="380"/>
                  </a:cubicBezTo>
                  <a:cubicBezTo>
                    <a:pt x="78" y="313"/>
                    <a:pt x="186" y="215"/>
                    <a:pt x="257" y="104"/>
                  </a:cubicBezTo>
                  <a:cubicBezTo>
                    <a:pt x="257" y="104"/>
                    <a:pt x="296" y="0"/>
                    <a:pt x="221" y="17"/>
                  </a:cubicBezTo>
                  <a:close/>
                </a:path>
              </a:pathLst>
            </a:custGeom>
            <a:solidFill>
              <a:srgbClr val="46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90"/>
            <p:cNvSpPr>
              <a:spLocks/>
            </p:cNvSpPr>
            <p:nvPr/>
          </p:nvSpPr>
          <p:spPr bwMode="auto">
            <a:xfrm>
              <a:off x="1118088" y="4192993"/>
              <a:ext cx="368832" cy="311333"/>
            </a:xfrm>
            <a:custGeom>
              <a:avLst/>
              <a:gdLst>
                <a:gd name="T0" fmla="*/ 134 w 244"/>
                <a:gd name="T1" fmla="*/ 188 h 206"/>
                <a:gd name="T2" fmla="*/ 36 w 244"/>
                <a:gd name="T3" fmla="*/ 162 h 206"/>
                <a:gd name="T4" fmla="*/ 26 w 244"/>
                <a:gd name="T5" fmla="*/ 46 h 206"/>
                <a:gd name="T6" fmla="*/ 48 w 244"/>
                <a:gd name="T7" fmla="*/ 80 h 206"/>
                <a:gd name="T8" fmla="*/ 65 w 244"/>
                <a:gd name="T9" fmla="*/ 109 h 206"/>
                <a:gd name="T10" fmla="*/ 73 w 244"/>
                <a:gd name="T11" fmla="*/ 21 h 206"/>
                <a:gd name="T12" fmla="*/ 107 w 244"/>
                <a:gd name="T13" fmla="*/ 30 h 206"/>
                <a:gd name="T14" fmla="*/ 113 w 244"/>
                <a:gd name="T15" fmla="*/ 103 h 206"/>
                <a:gd name="T16" fmla="*/ 138 w 244"/>
                <a:gd name="T17" fmla="*/ 34 h 206"/>
                <a:gd name="T18" fmla="*/ 164 w 244"/>
                <a:gd name="T19" fmla="*/ 52 h 206"/>
                <a:gd name="T20" fmla="*/ 149 w 244"/>
                <a:gd name="T21" fmla="*/ 103 h 206"/>
                <a:gd name="T22" fmla="*/ 172 w 244"/>
                <a:gd name="T23" fmla="*/ 129 h 206"/>
                <a:gd name="T24" fmla="*/ 228 w 244"/>
                <a:gd name="T25" fmla="*/ 111 h 206"/>
                <a:gd name="T26" fmla="*/ 244 w 244"/>
                <a:gd name="T27" fmla="*/ 139 h 206"/>
                <a:gd name="T28" fmla="*/ 187 w 244"/>
                <a:gd name="T29" fmla="*/ 166 h 206"/>
                <a:gd name="T30" fmla="*/ 134 w 244"/>
                <a:gd name="T31" fmla="*/ 188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4" h="206">
                  <a:moveTo>
                    <a:pt x="134" y="188"/>
                  </a:moveTo>
                  <a:cubicBezTo>
                    <a:pt x="109" y="197"/>
                    <a:pt x="71" y="206"/>
                    <a:pt x="36" y="162"/>
                  </a:cubicBezTo>
                  <a:cubicBezTo>
                    <a:pt x="0" y="119"/>
                    <a:pt x="0" y="60"/>
                    <a:pt x="26" y="46"/>
                  </a:cubicBezTo>
                  <a:cubicBezTo>
                    <a:pt x="43" y="37"/>
                    <a:pt x="47" y="51"/>
                    <a:pt x="48" y="80"/>
                  </a:cubicBezTo>
                  <a:cubicBezTo>
                    <a:pt x="48" y="108"/>
                    <a:pt x="65" y="109"/>
                    <a:pt x="65" y="109"/>
                  </a:cubicBezTo>
                  <a:cubicBezTo>
                    <a:pt x="65" y="109"/>
                    <a:pt x="53" y="45"/>
                    <a:pt x="73" y="21"/>
                  </a:cubicBezTo>
                  <a:cubicBezTo>
                    <a:pt x="90" y="0"/>
                    <a:pt x="117" y="11"/>
                    <a:pt x="107" y="30"/>
                  </a:cubicBezTo>
                  <a:cubicBezTo>
                    <a:pt x="98" y="48"/>
                    <a:pt x="110" y="93"/>
                    <a:pt x="113" y="103"/>
                  </a:cubicBezTo>
                  <a:cubicBezTo>
                    <a:pt x="113" y="103"/>
                    <a:pt x="115" y="43"/>
                    <a:pt x="138" y="34"/>
                  </a:cubicBezTo>
                  <a:cubicBezTo>
                    <a:pt x="158" y="26"/>
                    <a:pt x="165" y="41"/>
                    <a:pt x="164" y="52"/>
                  </a:cubicBezTo>
                  <a:cubicBezTo>
                    <a:pt x="162" y="62"/>
                    <a:pt x="153" y="67"/>
                    <a:pt x="149" y="103"/>
                  </a:cubicBezTo>
                  <a:cubicBezTo>
                    <a:pt x="146" y="140"/>
                    <a:pt x="169" y="134"/>
                    <a:pt x="172" y="129"/>
                  </a:cubicBezTo>
                  <a:cubicBezTo>
                    <a:pt x="176" y="124"/>
                    <a:pt x="215" y="103"/>
                    <a:pt x="228" y="111"/>
                  </a:cubicBezTo>
                  <a:cubicBezTo>
                    <a:pt x="240" y="118"/>
                    <a:pt x="244" y="139"/>
                    <a:pt x="244" y="139"/>
                  </a:cubicBezTo>
                  <a:cubicBezTo>
                    <a:pt x="244" y="139"/>
                    <a:pt x="206" y="156"/>
                    <a:pt x="187" y="166"/>
                  </a:cubicBezTo>
                  <a:cubicBezTo>
                    <a:pt x="167" y="176"/>
                    <a:pt x="151" y="181"/>
                    <a:pt x="134" y="188"/>
                  </a:cubicBezTo>
                  <a:close/>
                </a:path>
              </a:pathLst>
            </a:custGeom>
            <a:solidFill>
              <a:srgbClr val="FFDC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91"/>
            <p:cNvSpPr>
              <a:spLocks/>
            </p:cNvSpPr>
            <p:nvPr/>
          </p:nvSpPr>
          <p:spPr bwMode="auto">
            <a:xfrm>
              <a:off x="1242902" y="4366890"/>
              <a:ext cx="70120" cy="89754"/>
            </a:xfrm>
            <a:custGeom>
              <a:avLst/>
              <a:gdLst>
                <a:gd name="T0" fmla="*/ 0 w 46"/>
                <a:gd name="T1" fmla="*/ 24 h 60"/>
                <a:gd name="T2" fmla="*/ 45 w 46"/>
                <a:gd name="T3" fmla="*/ 60 h 60"/>
                <a:gd name="T4" fmla="*/ 0 w 46"/>
                <a:gd name="T5" fmla="*/ 2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60">
                  <a:moveTo>
                    <a:pt x="0" y="24"/>
                  </a:moveTo>
                  <a:cubicBezTo>
                    <a:pt x="0" y="24"/>
                    <a:pt x="40" y="12"/>
                    <a:pt x="45" y="60"/>
                  </a:cubicBezTo>
                  <a:cubicBezTo>
                    <a:pt x="45" y="60"/>
                    <a:pt x="46" y="0"/>
                    <a:pt x="0" y="24"/>
                  </a:cubicBezTo>
                  <a:close/>
                </a:path>
              </a:pathLst>
            </a:custGeom>
            <a:solidFill>
              <a:srgbClr val="CB8F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627386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>
                <a:solidFill>
                  <a:srgbClr val="292929"/>
                </a:solidFill>
              </a:rPr>
              <a:t>Business </a:t>
            </a:r>
            <a:r>
              <a:rPr lang="tr-TR" dirty="0" err="1">
                <a:solidFill>
                  <a:srgbClr val="292929"/>
                </a:solidFill>
              </a:rPr>
              <a:t>Key</a:t>
            </a:r>
            <a:r>
              <a:rPr lang="tr-TR" dirty="0">
                <a:solidFill>
                  <a:srgbClr val="292929"/>
                </a:solidFill>
              </a:rPr>
              <a:t> – </a:t>
            </a:r>
            <a:r>
              <a:rPr lang="tr-TR" dirty="0" err="1">
                <a:solidFill>
                  <a:srgbClr val="292929"/>
                </a:solidFill>
              </a:rPr>
              <a:t>BOA’s</a:t>
            </a:r>
            <a:r>
              <a:rPr lang="tr-TR" dirty="0">
                <a:solidFill>
                  <a:srgbClr val="292929"/>
                </a:solidFill>
              </a:rPr>
              <a:t> «</a:t>
            </a:r>
            <a:r>
              <a:rPr lang="tr-TR" dirty="0" err="1">
                <a:solidFill>
                  <a:srgbClr val="292929"/>
                </a:solidFill>
              </a:rPr>
              <a:t>National</a:t>
            </a:r>
            <a:r>
              <a:rPr lang="tr-TR" dirty="0">
                <a:solidFill>
                  <a:srgbClr val="292929"/>
                </a:solidFill>
              </a:rPr>
              <a:t> ID»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272581812"/>
              </p:ext>
            </p:extLst>
          </p:nvPr>
        </p:nvGraphicFramePr>
        <p:xfrm>
          <a:off x="5143500" y="1041400"/>
          <a:ext cx="7303994" cy="5207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644150" y="1802874"/>
            <a:ext cx="6036050" cy="3462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ry request stamped with a unique 27 digit key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cking the journey of request through layer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ecution Tree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 request allowed without a business key</a:t>
            </a:r>
            <a:b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02069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7CE3263-B591-4F6D-A9FB-379C1EE88D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graphicEl>
                                              <a:dgm id="{27CE3263-B591-4F6D-A9FB-379C1EE88D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graphicEl>
                                              <a:dgm id="{27CE3263-B591-4F6D-A9FB-379C1EE88D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E47144E-5E60-4984-B01A-F3AA18F544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graphicEl>
                                              <a:dgm id="{7E47144E-5E60-4984-B01A-F3AA18F544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graphicEl>
                                              <a:dgm id="{7E47144E-5E60-4984-B01A-F3AA18F544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230037D-9E3A-47D5-B651-88E82A6978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graphicEl>
                                              <a:dgm id="{C230037D-9E3A-47D5-B651-88E82A6978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graphicEl>
                                              <a:dgm id="{C230037D-9E3A-47D5-B651-88E82A6978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307E77E-97D0-4DCF-BBCC-65D725D712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graphicEl>
                                              <a:dgm id="{3307E77E-97D0-4DCF-BBCC-65D725D712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graphicEl>
                                              <a:dgm id="{3307E77E-97D0-4DCF-BBCC-65D725D712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Client+Server+Database</a:t>
            </a:r>
            <a:r>
              <a:rPr lang="en-US" dirty="0"/>
              <a:t> Logging, Journal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1008692"/>
              </p:ext>
            </p:extLst>
          </p:nvPr>
        </p:nvGraphicFramePr>
        <p:xfrm>
          <a:off x="5105400" y="91864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Flowchart: Magnetic Disk 4"/>
          <p:cNvSpPr/>
          <p:nvPr/>
        </p:nvSpPr>
        <p:spPr bwMode="auto">
          <a:xfrm>
            <a:off x="10363200" y="4754045"/>
            <a:ext cx="1295400" cy="1447800"/>
          </a:xfrm>
          <a:prstGeom prst="flowChartMagneticDisk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tr-TR" sz="2400" dirty="0">
                <a:solidFill>
                  <a:schemeClr val="tx1">
                    <a:lumMod val="50000"/>
                  </a:schemeClr>
                </a:solidFill>
              </a:rPr>
              <a:t>Journal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116993120"/>
              </p:ext>
            </p:extLst>
          </p:nvPr>
        </p:nvGraphicFramePr>
        <p:xfrm>
          <a:off x="6019800" y="4627045"/>
          <a:ext cx="4191000" cy="195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ectangle 9"/>
          <p:cNvSpPr txBox="1">
            <a:spLocks noChangeArrowheads="1"/>
          </p:cNvSpPr>
          <p:nvPr/>
        </p:nvSpPr>
        <p:spPr>
          <a:xfrm>
            <a:off x="990600" y="1464745"/>
            <a:ext cx="3911600" cy="29718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363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 typeface="Wingdings" panose="05000000000000000000" pitchFamily="2" charset="2"/>
              <a:buChar char="Ø"/>
              <a:tabLst/>
              <a:defRPr/>
            </a:pPr>
            <a:r>
              <a:rPr lang="tr-TR" sz="24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levels of logging</a:t>
            </a:r>
          </a:p>
          <a:p>
            <a:pPr marL="342900" marR="0" lvl="0" indent="-342900" algn="l" defTabSz="914363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 typeface="Wingdings" panose="05000000000000000000" pitchFamily="2" charset="2"/>
              <a:buChar char="Ø"/>
              <a:tabLst/>
              <a:defRPr/>
            </a:pPr>
            <a:r>
              <a:rPr lang="tr-TR" sz="2400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</a:t>
            </a:r>
            <a:r>
              <a:rPr lang="tr-TR" sz="24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usiness transactions are serialized </a:t>
            </a:r>
            <a:r>
              <a:rPr lang="tr-TR" sz="2400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tr-TR" sz="24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2400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ournal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 typeface="Wingdings" panose="05000000000000000000" pitchFamily="2" charset="2"/>
              <a:buChar char="Ø"/>
              <a:tabLst/>
              <a:defRPr/>
            </a:pP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60375" marR="0" lvl="0" indent="-460375" algn="l" defTabSz="914363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Pct val="85000"/>
              <a:buFont typeface="Wingdings" panose="05000000000000000000" pitchFamily="2" charset="2"/>
              <a:buChar char="Ø"/>
              <a:tabLst/>
              <a:defRPr/>
            </a:pP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1790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385B3163-5E57-42F0-9E1B-BE68F31FA8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graphicEl>
                                              <a:dgm id="{385B3163-5E57-42F0-9E1B-BE68F31FA8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graphicEl>
                                              <a:dgm id="{385B3163-5E57-42F0-9E1B-BE68F31FA8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58586B14-B2A1-4583-914D-D600F6FA35F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graphicEl>
                                              <a:dgm id="{58586B14-B2A1-4583-914D-D600F6FA35F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graphicEl>
                                              <a:dgm id="{58586B14-B2A1-4583-914D-D600F6FA35F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604E52F0-159C-4A7F-B9C4-55EE45ADC9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graphicEl>
                                              <a:dgm id="{604E52F0-159C-4A7F-B9C4-55EE45ADC9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graphicEl>
                                              <a:dgm id="{604E52F0-159C-4A7F-B9C4-55EE45ADC9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737391DA-3E60-4ED7-AEE1-2B98059C4C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graphicEl>
                                              <a:dgm id="{737391DA-3E60-4ED7-AEE1-2B98059C4C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graphicEl>
                                              <a:dgm id="{737391DA-3E60-4ED7-AEE1-2B98059C4C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 animBg="1"/>
      <p:bldGraphic spid="6" grpId="0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35506" y="1332108"/>
            <a:ext cx="8113058" cy="4945811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racking/Monitoring the Journal</a:t>
            </a:r>
          </a:p>
        </p:txBody>
      </p:sp>
      <p:sp>
        <p:nvSpPr>
          <p:cNvPr id="3" name="Rectangle 2"/>
          <p:cNvSpPr/>
          <p:nvPr/>
        </p:nvSpPr>
        <p:spPr>
          <a:xfrm>
            <a:off x="176491" y="1767261"/>
            <a:ext cx="363350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cking user /channel / screen request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cking any window’s reques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2729" y="1583504"/>
            <a:ext cx="7763518" cy="4443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052367"/>
      </p:ext>
    </p:extLst>
  </p:cSld>
  <p:clrMapOvr>
    <a:masterClrMapping/>
  </p:clrMapOvr>
  <p:transition spd="slow" advTm="2000">
    <p:cover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xternal Integration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4012" y="1013011"/>
            <a:ext cx="8243977" cy="525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390126"/>
      </p:ext>
    </p:extLst>
  </p:cSld>
  <p:clrMapOvr>
    <a:masterClrMapping/>
  </p:clrMapOvr>
  <p:transition spd="slow" advTm="2000">
    <p:cover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Fraud</a:t>
            </a:r>
            <a:r>
              <a:rPr lang="tr-TR" dirty="0"/>
              <a:t> </a:t>
            </a:r>
            <a:r>
              <a:rPr lang="tr-TR" dirty="0" err="1"/>
              <a:t>Detection</a:t>
            </a:r>
            <a:r>
              <a:rPr lang="tr-TR" dirty="0"/>
              <a:t> System</a:t>
            </a:r>
            <a:endParaRPr lang="en-US" dirty="0"/>
          </a:p>
        </p:txBody>
      </p:sp>
      <p:sp>
        <p:nvSpPr>
          <p:cNvPr id="3" name="Freeform 2"/>
          <p:cNvSpPr/>
          <p:nvPr/>
        </p:nvSpPr>
        <p:spPr>
          <a:xfrm>
            <a:off x="6642847" y="1595717"/>
            <a:ext cx="5004048" cy="4051890"/>
          </a:xfrm>
          <a:custGeom>
            <a:avLst/>
            <a:gdLst>
              <a:gd name="connsiteX0" fmla="*/ 0 w 5112568"/>
              <a:gd name="connsiteY0" fmla="*/ 257069 h 3024336"/>
              <a:gd name="connsiteX1" fmla="*/ 257069 w 5112568"/>
              <a:gd name="connsiteY1" fmla="*/ 0 h 3024336"/>
              <a:gd name="connsiteX2" fmla="*/ 4855499 w 5112568"/>
              <a:gd name="connsiteY2" fmla="*/ 0 h 3024336"/>
              <a:gd name="connsiteX3" fmla="*/ 5112568 w 5112568"/>
              <a:gd name="connsiteY3" fmla="*/ 257069 h 3024336"/>
              <a:gd name="connsiteX4" fmla="*/ 5112568 w 5112568"/>
              <a:gd name="connsiteY4" fmla="*/ 2767267 h 3024336"/>
              <a:gd name="connsiteX5" fmla="*/ 4855499 w 5112568"/>
              <a:gd name="connsiteY5" fmla="*/ 3024336 h 3024336"/>
              <a:gd name="connsiteX6" fmla="*/ 257069 w 5112568"/>
              <a:gd name="connsiteY6" fmla="*/ 3024336 h 3024336"/>
              <a:gd name="connsiteX7" fmla="*/ 0 w 5112568"/>
              <a:gd name="connsiteY7" fmla="*/ 2767267 h 3024336"/>
              <a:gd name="connsiteX8" fmla="*/ 0 w 5112568"/>
              <a:gd name="connsiteY8" fmla="*/ 257069 h 3024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12568" h="3024336">
                <a:moveTo>
                  <a:pt x="0" y="257069"/>
                </a:moveTo>
                <a:cubicBezTo>
                  <a:pt x="0" y="115094"/>
                  <a:pt x="115094" y="0"/>
                  <a:pt x="257069" y="0"/>
                </a:cubicBezTo>
                <a:lnTo>
                  <a:pt x="4855499" y="0"/>
                </a:lnTo>
                <a:cubicBezTo>
                  <a:pt x="4997474" y="0"/>
                  <a:pt x="5112568" y="115094"/>
                  <a:pt x="5112568" y="257069"/>
                </a:cubicBezTo>
                <a:lnTo>
                  <a:pt x="5112568" y="2767267"/>
                </a:lnTo>
                <a:cubicBezTo>
                  <a:pt x="5112568" y="2909242"/>
                  <a:pt x="4997474" y="3024336"/>
                  <a:pt x="4855499" y="3024336"/>
                </a:cubicBezTo>
                <a:lnTo>
                  <a:pt x="257069" y="3024336"/>
                </a:lnTo>
                <a:cubicBezTo>
                  <a:pt x="115094" y="3024336"/>
                  <a:pt x="0" y="2909242"/>
                  <a:pt x="0" y="2767267"/>
                </a:cubicBezTo>
                <a:lnTo>
                  <a:pt x="0" y="257069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5783" tIns="185783" rIns="185783" bIns="2422514" numCol="1" spcCol="1270" anchor="t" anchorCtr="0">
            <a:noAutofit/>
          </a:bodyPr>
          <a:lstStyle/>
          <a:p>
            <a:pPr lvl="0" algn="l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900" kern="1200" dirty="0" err="1"/>
              <a:t>Fraud</a:t>
            </a:r>
            <a:r>
              <a:rPr lang="tr-TR" sz="2900" kern="1200" dirty="0"/>
              <a:t> Engine</a:t>
            </a:r>
          </a:p>
        </p:txBody>
      </p:sp>
      <p:sp>
        <p:nvSpPr>
          <p:cNvPr id="4" name="Freeform 3"/>
          <p:cNvSpPr/>
          <p:nvPr/>
        </p:nvSpPr>
        <p:spPr>
          <a:xfrm>
            <a:off x="6761487" y="2345318"/>
            <a:ext cx="851041" cy="2836323"/>
          </a:xfrm>
          <a:custGeom>
            <a:avLst/>
            <a:gdLst>
              <a:gd name="connsiteX0" fmla="*/ 0 w 766885"/>
              <a:gd name="connsiteY0" fmla="*/ 80523 h 2117035"/>
              <a:gd name="connsiteX1" fmla="*/ 80523 w 766885"/>
              <a:gd name="connsiteY1" fmla="*/ 0 h 2117035"/>
              <a:gd name="connsiteX2" fmla="*/ 686362 w 766885"/>
              <a:gd name="connsiteY2" fmla="*/ 0 h 2117035"/>
              <a:gd name="connsiteX3" fmla="*/ 766885 w 766885"/>
              <a:gd name="connsiteY3" fmla="*/ 80523 h 2117035"/>
              <a:gd name="connsiteX4" fmla="*/ 766885 w 766885"/>
              <a:gd name="connsiteY4" fmla="*/ 2036512 h 2117035"/>
              <a:gd name="connsiteX5" fmla="*/ 686362 w 766885"/>
              <a:gd name="connsiteY5" fmla="*/ 2117035 h 2117035"/>
              <a:gd name="connsiteX6" fmla="*/ 80523 w 766885"/>
              <a:gd name="connsiteY6" fmla="*/ 2117035 h 2117035"/>
              <a:gd name="connsiteX7" fmla="*/ 0 w 766885"/>
              <a:gd name="connsiteY7" fmla="*/ 2036512 h 2117035"/>
              <a:gd name="connsiteX8" fmla="*/ 0 w 766885"/>
              <a:gd name="connsiteY8" fmla="*/ 80523 h 2117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885" h="2117035">
                <a:moveTo>
                  <a:pt x="0" y="80523"/>
                </a:moveTo>
                <a:cubicBezTo>
                  <a:pt x="0" y="36051"/>
                  <a:pt x="36051" y="0"/>
                  <a:pt x="80523" y="0"/>
                </a:cubicBezTo>
                <a:lnTo>
                  <a:pt x="686362" y="0"/>
                </a:lnTo>
                <a:cubicBezTo>
                  <a:pt x="730834" y="0"/>
                  <a:pt x="766885" y="36051"/>
                  <a:pt x="766885" y="80523"/>
                </a:cubicBezTo>
                <a:lnTo>
                  <a:pt x="766885" y="2036512"/>
                </a:lnTo>
                <a:cubicBezTo>
                  <a:pt x="766885" y="2080984"/>
                  <a:pt x="730834" y="2117035"/>
                  <a:pt x="686362" y="2117035"/>
                </a:cubicBezTo>
                <a:lnTo>
                  <a:pt x="80523" y="2117035"/>
                </a:lnTo>
                <a:cubicBezTo>
                  <a:pt x="36051" y="2117035"/>
                  <a:pt x="0" y="2080984"/>
                  <a:pt x="0" y="2036512"/>
                </a:cubicBezTo>
                <a:lnTo>
                  <a:pt x="0" y="80523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9304" tIns="69304" rIns="69304" bIns="69304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200" kern="1200" dirty="0"/>
              <a:t>Fraud Windows Service</a:t>
            </a:r>
          </a:p>
        </p:txBody>
      </p:sp>
      <p:sp>
        <p:nvSpPr>
          <p:cNvPr id="5" name="Freeform 4"/>
          <p:cNvSpPr/>
          <p:nvPr/>
        </p:nvSpPr>
        <p:spPr>
          <a:xfrm>
            <a:off x="7734148" y="2345318"/>
            <a:ext cx="3781184" cy="2836323"/>
          </a:xfrm>
          <a:custGeom>
            <a:avLst/>
            <a:gdLst>
              <a:gd name="connsiteX0" fmla="*/ 0 w 3962240"/>
              <a:gd name="connsiteY0" fmla="*/ 222289 h 2117035"/>
              <a:gd name="connsiteX1" fmla="*/ 222289 w 3962240"/>
              <a:gd name="connsiteY1" fmla="*/ 0 h 2117035"/>
              <a:gd name="connsiteX2" fmla="*/ 3739951 w 3962240"/>
              <a:gd name="connsiteY2" fmla="*/ 0 h 2117035"/>
              <a:gd name="connsiteX3" fmla="*/ 3962240 w 3962240"/>
              <a:gd name="connsiteY3" fmla="*/ 222289 h 2117035"/>
              <a:gd name="connsiteX4" fmla="*/ 3962240 w 3962240"/>
              <a:gd name="connsiteY4" fmla="*/ 1894746 h 2117035"/>
              <a:gd name="connsiteX5" fmla="*/ 3739951 w 3962240"/>
              <a:gd name="connsiteY5" fmla="*/ 2117035 h 2117035"/>
              <a:gd name="connsiteX6" fmla="*/ 222289 w 3962240"/>
              <a:gd name="connsiteY6" fmla="*/ 2117035 h 2117035"/>
              <a:gd name="connsiteX7" fmla="*/ 0 w 3962240"/>
              <a:gd name="connsiteY7" fmla="*/ 1894746 h 2117035"/>
              <a:gd name="connsiteX8" fmla="*/ 0 w 3962240"/>
              <a:gd name="connsiteY8" fmla="*/ 222289 h 2117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62240" h="2117035">
                <a:moveTo>
                  <a:pt x="0" y="222289"/>
                </a:moveTo>
                <a:cubicBezTo>
                  <a:pt x="0" y="99522"/>
                  <a:pt x="99522" y="0"/>
                  <a:pt x="222289" y="0"/>
                </a:cubicBezTo>
                <a:lnTo>
                  <a:pt x="3739951" y="0"/>
                </a:lnTo>
                <a:cubicBezTo>
                  <a:pt x="3862718" y="0"/>
                  <a:pt x="3962240" y="99522"/>
                  <a:pt x="3962240" y="222289"/>
                </a:cubicBezTo>
                <a:lnTo>
                  <a:pt x="3962240" y="1894746"/>
                </a:lnTo>
                <a:cubicBezTo>
                  <a:pt x="3962240" y="2017513"/>
                  <a:pt x="3862718" y="2117035"/>
                  <a:pt x="3739951" y="2117035"/>
                </a:cubicBezTo>
                <a:lnTo>
                  <a:pt x="222289" y="2117035"/>
                </a:lnTo>
                <a:cubicBezTo>
                  <a:pt x="99522" y="2117035"/>
                  <a:pt x="0" y="2017513"/>
                  <a:pt x="0" y="1894746"/>
                </a:cubicBezTo>
                <a:lnTo>
                  <a:pt x="0" y="222289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5596" tIns="175596" rIns="175596" bIns="1409423" numCol="1" spcCol="1270" anchor="t" anchorCtr="0">
            <a:noAutofit/>
          </a:bodyPr>
          <a:lstStyle/>
          <a:p>
            <a:pPr lvl="0" algn="l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900" kern="1200" dirty="0" err="1"/>
              <a:t>Fraud</a:t>
            </a:r>
            <a:r>
              <a:rPr lang="tr-TR" sz="2900" kern="1200" dirty="0"/>
              <a:t> Subsystem</a:t>
            </a:r>
          </a:p>
        </p:txBody>
      </p:sp>
      <p:sp>
        <p:nvSpPr>
          <p:cNvPr id="6" name="Freeform 5"/>
          <p:cNvSpPr/>
          <p:nvPr/>
        </p:nvSpPr>
        <p:spPr>
          <a:xfrm>
            <a:off x="7853048" y="3621662"/>
            <a:ext cx="1091787" cy="1276344"/>
          </a:xfrm>
          <a:custGeom>
            <a:avLst/>
            <a:gdLst>
              <a:gd name="connsiteX0" fmla="*/ 0 w 1236942"/>
              <a:gd name="connsiteY0" fmla="*/ 100030 h 952665"/>
              <a:gd name="connsiteX1" fmla="*/ 100030 w 1236942"/>
              <a:gd name="connsiteY1" fmla="*/ 0 h 952665"/>
              <a:gd name="connsiteX2" fmla="*/ 1136912 w 1236942"/>
              <a:gd name="connsiteY2" fmla="*/ 0 h 952665"/>
              <a:gd name="connsiteX3" fmla="*/ 1236942 w 1236942"/>
              <a:gd name="connsiteY3" fmla="*/ 100030 h 952665"/>
              <a:gd name="connsiteX4" fmla="*/ 1236942 w 1236942"/>
              <a:gd name="connsiteY4" fmla="*/ 852635 h 952665"/>
              <a:gd name="connsiteX5" fmla="*/ 1136912 w 1236942"/>
              <a:gd name="connsiteY5" fmla="*/ 952665 h 952665"/>
              <a:gd name="connsiteX6" fmla="*/ 100030 w 1236942"/>
              <a:gd name="connsiteY6" fmla="*/ 952665 h 952665"/>
              <a:gd name="connsiteX7" fmla="*/ 0 w 1236942"/>
              <a:gd name="connsiteY7" fmla="*/ 852635 h 952665"/>
              <a:gd name="connsiteX8" fmla="*/ 0 w 1236942"/>
              <a:gd name="connsiteY8" fmla="*/ 100030 h 952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942" h="952665">
                <a:moveTo>
                  <a:pt x="0" y="100030"/>
                </a:moveTo>
                <a:cubicBezTo>
                  <a:pt x="0" y="44785"/>
                  <a:pt x="44785" y="0"/>
                  <a:pt x="100030" y="0"/>
                </a:cubicBezTo>
                <a:lnTo>
                  <a:pt x="1136912" y="0"/>
                </a:lnTo>
                <a:cubicBezTo>
                  <a:pt x="1192157" y="0"/>
                  <a:pt x="1236942" y="44785"/>
                  <a:pt x="1236942" y="100030"/>
                </a:cubicBezTo>
                <a:lnTo>
                  <a:pt x="1236942" y="852635"/>
                </a:lnTo>
                <a:cubicBezTo>
                  <a:pt x="1236942" y="907880"/>
                  <a:pt x="1192157" y="952665"/>
                  <a:pt x="1136912" y="952665"/>
                </a:cubicBezTo>
                <a:lnTo>
                  <a:pt x="100030" y="952665"/>
                </a:lnTo>
                <a:cubicBezTo>
                  <a:pt x="44785" y="952665"/>
                  <a:pt x="0" y="907880"/>
                  <a:pt x="0" y="852635"/>
                </a:cubicBezTo>
                <a:lnTo>
                  <a:pt x="0" y="100030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18" tIns="75018" rIns="75018" bIns="75018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200" kern="1200" dirty="0" err="1"/>
              <a:t>Fraud</a:t>
            </a:r>
            <a:r>
              <a:rPr lang="tr-TR" sz="1200" kern="1200" dirty="0"/>
              <a:t> Definition</a:t>
            </a:r>
          </a:p>
        </p:txBody>
      </p:sp>
      <p:sp>
        <p:nvSpPr>
          <p:cNvPr id="7" name="Freeform 6"/>
          <p:cNvSpPr/>
          <p:nvPr/>
        </p:nvSpPr>
        <p:spPr>
          <a:xfrm>
            <a:off x="8969501" y="3621662"/>
            <a:ext cx="1210687" cy="1276344"/>
          </a:xfrm>
          <a:custGeom>
            <a:avLst/>
            <a:gdLst>
              <a:gd name="connsiteX0" fmla="*/ 0 w 1236942"/>
              <a:gd name="connsiteY0" fmla="*/ 100030 h 952665"/>
              <a:gd name="connsiteX1" fmla="*/ 100030 w 1236942"/>
              <a:gd name="connsiteY1" fmla="*/ 0 h 952665"/>
              <a:gd name="connsiteX2" fmla="*/ 1136912 w 1236942"/>
              <a:gd name="connsiteY2" fmla="*/ 0 h 952665"/>
              <a:gd name="connsiteX3" fmla="*/ 1236942 w 1236942"/>
              <a:gd name="connsiteY3" fmla="*/ 100030 h 952665"/>
              <a:gd name="connsiteX4" fmla="*/ 1236942 w 1236942"/>
              <a:gd name="connsiteY4" fmla="*/ 852635 h 952665"/>
              <a:gd name="connsiteX5" fmla="*/ 1136912 w 1236942"/>
              <a:gd name="connsiteY5" fmla="*/ 952665 h 952665"/>
              <a:gd name="connsiteX6" fmla="*/ 100030 w 1236942"/>
              <a:gd name="connsiteY6" fmla="*/ 952665 h 952665"/>
              <a:gd name="connsiteX7" fmla="*/ 0 w 1236942"/>
              <a:gd name="connsiteY7" fmla="*/ 852635 h 952665"/>
              <a:gd name="connsiteX8" fmla="*/ 0 w 1236942"/>
              <a:gd name="connsiteY8" fmla="*/ 100030 h 952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942" h="952665">
                <a:moveTo>
                  <a:pt x="0" y="100030"/>
                </a:moveTo>
                <a:cubicBezTo>
                  <a:pt x="0" y="44785"/>
                  <a:pt x="44785" y="0"/>
                  <a:pt x="100030" y="0"/>
                </a:cubicBezTo>
                <a:lnTo>
                  <a:pt x="1136912" y="0"/>
                </a:lnTo>
                <a:cubicBezTo>
                  <a:pt x="1192157" y="0"/>
                  <a:pt x="1236942" y="44785"/>
                  <a:pt x="1236942" y="100030"/>
                </a:cubicBezTo>
                <a:lnTo>
                  <a:pt x="1236942" y="852635"/>
                </a:lnTo>
                <a:cubicBezTo>
                  <a:pt x="1236942" y="907880"/>
                  <a:pt x="1192157" y="952665"/>
                  <a:pt x="1136912" y="952665"/>
                </a:cubicBezTo>
                <a:lnTo>
                  <a:pt x="100030" y="952665"/>
                </a:lnTo>
                <a:cubicBezTo>
                  <a:pt x="44785" y="952665"/>
                  <a:pt x="0" y="907880"/>
                  <a:pt x="0" y="852635"/>
                </a:cubicBezTo>
                <a:lnTo>
                  <a:pt x="0" y="100030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18" tIns="75018" rIns="75018" bIns="75018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200" kern="1200" dirty="0"/>
              <a:t>Fraud  Detection</a:t>
            </a:r>
          </a:p>
        </p:txBody>
      </p:sp>
      <p:sp>
        <p:nvSpPr>
          <p:cNvPr id="8" name="Freeform 7"/>
          <p:cNvSpPr/>
          <p:nvPr/>
        </p:nvSpPr>
        <p:spPr>
          <a:xfrm>
            <a:off x="10204855" y="3621662"/>
            <a:ext cx="1188919" cy="1276344"/>
          </a:xfrm>
          <a:custGeom>
            <a:avLst/>
            <a:gdLst>
              <a:gd name="connsiteX0" fmla="*/ 0 w 1236942"/>
              <a:gd name="connsiteY0" fmla="*/ 100030 h 952665"/>
              <a:gd name="connsiteX1" fmla="*/ 100030 w 1236942"/>
              <a:gd name="connsiteY1" fmla="*/ 0 h 952665"/>
              <a:gd name="connsiteX2" fmla="*/ 1136912 w 1236942"/>
              <a:gd name="connsiteY2" fmla="*/ 0 h 952665"/>
              <a:gd name="connsiteX3" fmla="*/ 1236942 w 1236942"/>
              <a:gd name="connsiteY3" fmla="*/ 100030 h 952665"/>
              <a:gd name="connsiteX4" fmla="*/ 1236942 w 1236942"/>
              <a:gd name="connsiteY4" fmla="*/ 852635 h 952665"/>
              <a:gd name="connsiteX5" fmla="*/ 1136912 w 1236942"/>
              <a:gd name="connsiteY5" fmla="*/ 952665 h 952665"/>
              <a:gd name="connsiteX6" fmla="*/ 100030 w 1236942"/>
              <a:gd name="connsiteY6" fmla="*/ 952665 h 952665"/>
              <a:gd name="connsiteX7" fmla="*/ 0 w 1236942"/>
              <a:gd name="connsiteY7" fmla="*/ 852635 h 952665"/>
              <a:gd name="connsiteX8" fmla="*/ 0 w 1236942"/>
              <a:gd name="connsiteY8" fmla="*/ 100030 h 952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942" h="952665">
                <a:moveTo>
                  <a:pt x="0" y="100030"/>
                </a:moveTo>
                <a:cubicBezTo>
                  <a:pt x="0" y="44785"/>
                  <a:pt x="44785" y="0"/>
                  <a:pt x="100030" y="0"/>
                </a:cubicBezTo>
                <a:lnTo>
                  <a:pt x="1136912" y="0"/>
                </a:lnTo>
                <a:cubicBezTo>
                  <a:pt x="1192157" y="0"/>
                  <a:pt x="1236942" y="44785"/>
                  <a:pt x="1236942" y="100030"/>
                </a:cubicBezTo>
                <a:lnTo>
                  <a:pt x="1236942" y="852635"/>
                </a:lnTo>
                <a:cubicBezTo>
                  <a:pt x="1236942" y="907880"/>
                  <a:pt x="1192157" y="952665"/>
                  <a:pt x="1136912" y="952665"/>
                </a:cubicBezTo>
                <a:lnTo>
                  <a:pt x="100030" y="952665"/>
                </a:lnTo>
                <a:cubicBezTo>
                  <a:pt x="44785" y="952665"/>
                  <a:pt x="0" y="907880"/>
                  <a:pt x="0" y="852635"/>
                </a:cubicBezTo>
                <a:lnTo>
                  <a:pt x="0" y="100030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18" tIns="75018" rIns="75018" bIns="75018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200" kern="1200" dirty="0"/>
              <a:t>Fraud Tiger Team</a:t>
            </a:r>
          </a:p>
        </p:txBody>
      </p:sp>
      <p:sp>
        <p:nvSpPr>
          <p:cNvPr id="9" name="Rectangle 8"/>
          <p:cNvSpPr/>
          <p:nvPr/>
        </p:nvSpPr>
        <p:spPr>
          <a:xfrm>
            <a:off x="176490" y="1767261"/>
            <a:ext cx="5838827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tects fraudulent transactions of employees and customers Analyzes abnormal internet branch transactions to find fraud operation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zes call center employee actions to find suspicious person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zes customer actions to find suspicious transactions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668144"/>
      </p:ext>
    </p:extLst>
  </p:cSld>
  <p:clrMapOvr>
    <a:masterClrMapping/>
  </p:clrMapOvr>
  <p:transition spd="slow" advTm="2000">
    <p:cover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36775" y="1114330"/>
            <a:ext cx="6795247" cy="5169929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tegrated Workflow with Full Designer Support </a:t>
            </a:r>
          </a:p>
          <a:p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5405718" y="1344706"/>
            <a:ext cx="6189506" cy="471543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76491" y="1767261"/>
            <a:ext cx="5072344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uent user friendly designer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y integrated to transactional system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b Flow Mechanism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Assigning based on rule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sily History Tracking</a:t>
            </a: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201756"/>
      </p:ext>
    </p:extLst>
  </p:cSld>
  <p:clrMapOvr>
    <a:masterClrMapping/>
  </p:clrMapOvr>
  <p:transition spd="slow" advTm="2000">
    <p:cover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entralized Authorization Syste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1787" y="1101636"/>
            <a:ext cx="4516746" cy="26598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1513" y="3924072"/>
            <a:ext cx="4526809" cy="269335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94421" y="1399708"/>
            <a:ext cx="5072344" cy="3041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ry Window is a Resource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ry Button is an Action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on Based Authorization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horization For Workgroups, Roles and User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669430"/>
      </p:ext>
    </p:extLst>
  </p:cSld>
  <p:clrMapOvr>
    <a:masterClrMapping/>
  </p:clrMapOvr>
  <p:transition spd="slow" advTm="2000">
    <p:cover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entralized Business Services</a:t>
            </a:r>
          </a:p>
        </p:txBody>
      </p:sp>
      <p:graphicFrame>
        <p:nvGraphicFramePr>
          <p:cNvPr id="3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273015"/>
              </p:ext>
            </p:extLst>
          </p:nvPr>
        </p:nvGraphicFramePr>
        <p:xfrm>
          <a:off x="1447760" y="1263575"/>
          <a:ext cx="8501004" cy="6354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 descr="C:\Users\meryemd\AppData\Local\Temp\SNAGHTML36696f72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49575" y="1913450"/>
            <a:ext cx="1393607" cy="117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:\Users\meryemd\AppData\Local\Temp\SNAGHTML3669bf08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67570" y="2189140"/>
            <a:ext cx="1521503" cy="1288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5159" y="1950613"/>
            <a:ext cx="1292708" cy="727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1765" y="1922217"/>
            <a:ext cx="1602648" cy="1171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3590" y="2286143"/>
            <a:ext cx="1578459" cy="115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62725" y="2406894"/>
            <a:ext cx="1691908" cy="9516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5551" y="1950613"/>
            <a:ext cx="359467" cy="368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2968" y="2084251"/>
            <a:ext cx="359467" cy="368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2719" y="2505970"/>
            <a:ext cx="359467" cy="368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5293" y="2374713"/>
            <a:ext cx="359467" cy="368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463878117"/>
              </p:ext>
            </p:extLst>
          </p:nvPr>
        </p:nvGraphicFramePr>
        <p:xfrm>
          <a:off x="3476644" y="4228034"/>
          <a:ext cx="4844027" cy="2293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cxnSp>
        <p:nvCxnSpPr>
          <p:cNvPr id="15" name="Curved Connector 14"/>
          <p:cNvCxnSpPr/>
          <p:nvPr/>
        </p:nvCxnSpPr>
        <p:spPr>
          <a:xfrm>
            <a:off x="1919243" y="3506482"/>
            <a:ext cx="3017223" cy="1501758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/>
          <p:cNvCxnSpPr/>
          <p:nvPr/>
        </p:nvCxnSpPr>
        <p:spPr>
          <a:xfrm rot="5400000">
            <a:off x="7421603" y="3165826"/>
            <a:ext cx="1221545" cy="1801626"/>
          </a:xfrm>
          <a:prstGeom prst="curved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urved Connector 16"/>
          <p:cNvCxnSpPr/>
          <p:nvPr/>
        </p:nvCxnSpPr>
        <p:spPr>
          <a:xfrm rot="5400000">
            <a:off x="5351935" y="3815261"/>
            <a:ext cx="936196" cy="22707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urved Connector 17"/>
          <p:cNvCxnSpPr/>
          <p:nvPr/>
        </p:nvCxnSpPr>
        <p:spPr>
          <a:xfrm rot="16200000" flipH="1">
            <a:off x="4036154" y="3803676"/>
            <a:ext cx="1151622" cy="420171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025153" y="616723"/>
            <a:ext cx="430887" cy="1240794"/>
          </a:xfrm>
          <a:prstGeom prst="rect">
            <a:avLst/>
          </a:prstGeom>
          <a:noFill/>
        </p:spPr>
        <p:txBody>
          <a:bodyPr vert="vert270"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r>
              <a:rPr lang="tr-TR" sz="1600" dirty="0">
                <a:solidFill>
                  <a:schemeClr val="tx1">
                    <a:lumMod val="50000"/>
                  </a:schemeClr>
                </a:solidFill>
              </a:rPr>
              <a:t>|</a:t>
            </a:r>
            <a:r>
              <a:rPr lang="tr-TR" sz="1600" b="1" dirty="0">
                <a:solidFill>
                  <a:schemeClr val="tx1">
                    <a:lumMod val="50000"/>
                  </a:schemeClr>
                </a:solidFill>
              </a:rPr>
              <a:t> Channel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10993" y="1860976"/>
            <a:ext cx="430887" cy="1104068"/>
          </a:xfrm>
          <a:prstGeom prst="rect">
            <a:avLst/>
          </a:prstGeom>
          <a:noFill/>
        </p:spPr>
        <p:txBody>
          <a:bodyPr vert="vert270"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r>
              <a:rPr lang="tr-TR" sz="1600" b="1" dirty="0">
                <a:solidFill>
                  <a:schemeClr val="tx1">
                    <a:lumMod val="50000"/>
                  </a:schemeClr>
                </a:solidFill>
              </a:rPr>
              <a:t>Resource</a:t>
            </a:r>
          </a:p>
        </p:txBody>
      </p:sp>
      <p:sp>
        <p:nvSpPr>
          <p:cNvPr id="22" name="Rectangle 9"/>
          <p:cNvSpPr txBox="1">
            <a:spLocks noChangeArrowheads="1"/>
          </p:cNvSpPr>
          <p:nvPr/>
        </p:nvSpPr>
        <p:spPr>
          <a:xfrm>
            <a:off x="7512424" y="5449580"/>
            <a:ext cx="4391776" cy="897432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ndreds of centralized business services flows through </a:t>
            </a:r>
            <a:r>
              <a:rPr lang="tr-TR" sz="18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8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hannels and </a:t>
            </a:r>
            <a:r>
              <a:rPr lang="tr-TR" sz="18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000</a:t>
            </a:r>
            <a:r>
              <a:rPr lang="en-US" sz="1800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creens</a:t>
            </a:r>
          </a:p>
        </p:txBody>
      </p:sp>
      <p:cxnSp>
        <p:nvCxnSpPr>
          <p:cNvPr id="23" name="Curved Connector 22"/>
          <p:cNvCxnSpPr/>
          <p:nvPr/>
        </p:nvCxnSpPr>
        <p:spPr>
          <a:xfrm rot="5400000">
            <a:off x="6300229" y="3209350"/>
            <a:ext cx="1400533" cy="837214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1115" y="1977709"/>
            <a:ext cx="968587" cy="146024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4525" y="1857517"/>
            <a:ext cx="957092" cy="144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24378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135C3BD-83D5-4683-8B58-AD2A8BA0584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400"/>
                                        <p:tgtEl>
                                          <p:spTgt spid="3">
                                            <p:graphicEl>
                                              <a:dgm id="{C135C3BD-83D5-4683-8B58-AD2A8BA0584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7083D60-AE03-4B7B-B516-90B32628AA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500"/>
                                        <p:tgtEl>
                                          <p:spTgt spid="3">
                                            <p:graphicEl>
                                              <a:dgm id="{57083D60-AE03-4B7B-B516-90B32628AA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AAB2993-73EF-42C8-AB7A-87401D9ACC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500"/>
                                        <p:tgtEl>
                                          <p:spTgt spid="3">
                                            <p:graphicEl>
                                              <a:dgm id="{5AAB2993-73EF-42C8-AB7A-87401D9ACC8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81AB078-672C-4D68-A0B5-2F80AFE3E7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500"/>
                                        <p:tgtEl>
                                          <p:spTgt spid="3">
                                            <p:graphicEl>
                                              <a:dgm id="{F81AB078-672C-4D68-A0B5-2F80AFE3E7A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2627961-8139-48D0-B26C-DB27F54783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500"/>
                                        <p:tgtEl>
                                          <p:spTgt spid="3">
                                            <p:graphicEl>
                                              <a:dgm id="{E2627961-8139-48D0-B26C-DB27F54783E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A5EE4C8-83D0-4AAF-B450-7F71BF563E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500"/>
                                        <p:tgtEl>
                                          <p:spTgt spid="3">
                                            <p:graphicEl>
                                              <a:dgm id="{FA5EE4C8-83D0-4AAF-B450-7F71BF563E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164127A-2EB2-412A-8823-12B60BC798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500"/>
                                        <p:tgtEl>
                                          <p:spTgt spid="3">
                                            <p:graphicEl>
                                              <a:dgm id="{D164127A-2EB2-412A-8823-12B60BC798F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C5261C8-D31E-4FD7-969A-57C78B8312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500"/>
                                        <p:tgtEl>
                                          <p:spTgt spid="3">
                                            <p:graphicEl>
                                              <a:dgm id="{EC5261C8-D31E-4FD7-969A-57C78B83121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5581449-756A-453E-97AB-FE0150CBC79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500"/>
                                        <p:tgtEl>
                                          <p:spTgt spid="3">
                                            <p:graphicEl>
                                              <a:dgm id="{05581449-756A-453E-97AB-FE0150CBC79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F40742B-22A5-4789-89C7-B72EE2FBB3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500"/>
                                        <p:tgtEl>
                                          <p:spTgt spid="3">
                                            <p:graphicEl>
                                              <a:dgm id="{EF40742B-22A5-4789-89C7-B72EE2FBB31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09C8FBF-5B0F-477D-AFE3-DB58AFB4E1D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500"/>
                                        <p:tgtEl>
                                          <p:spTgt spid="3">
                                            <p:graphicEl>
                                              <a:dgm id="{E09C8FBF-5B0F-477D-AFE3-DB58AFB4E1D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B5F5AC6-8695-4C71-AF48-16547404003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6" dur="500"/>
                                        <p:tgtEl>
                                          <p:spTgt spid="3">
                                            <p:graphicEl>
                                              <a:dgm id="{9B5F5AC6-8695-4C71-AF48-16547404003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278079B-85A5-44A3-8E4E-C4315E9793C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1" dur="400"/>
                                        <p:tgtEl>
                                          <p:spTgt spid="3">
                                            <p:graphicEl>
                                              <a:dgm id="{1278079B-85A5-44A3-8E4E-C4315E9793C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6ADC8CD-8D17-4CAA-A9BE-6E4A3C9B39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4" dur="400"/>
                                        <p:tgtEl>
                                          <p:spTgt spid="3">
                                            <p:graphicEl>
                                              <a:dgm id="{46ADC8CD-8D17-4CAA-A9BE-6E4A3C9B39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7B8EDE0-6193-48C9-B0C1-B1D9B750E2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7" dur="400"/>
                                        <p:tgtEl>
                                          <p:spTgt spid="3">
                                            <p:graphicEl>
                                              <a:dgm id="{17B8EDE0-6193-48C9-B0C1-B1D9B750E2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5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9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2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5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F3979588-1AEC-440D-9614-78EB8E4943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500"/>
                                        <p:tgtEl>
                                          <p:spTgt spid="14">
                                            <p:graphicEl>
                                              <a:dgm id="{F3979588-1AEC-440D-9614-78EB8E4943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FEF80105-D55B-4BA5-87BA-A6AF61F7E63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1" dur="500"/>
                                        <p:tgtEl>
                                          <p:spTgt spid="14">
                                            <p:graphicEl>
                                              <a:dgm id="{FEF80105-D55B-4BA5-87BA-A6AF61F7E63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3B15DC4B-23C5-48D6-8E95-09BD878FBE5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4" dur="500"/>
                                        <p:tgtEl>
                                          <p:spTgt spid="14">
                                            <p:graphicEl>
                                              <a:dgm id="{3B15DC4B-23C5-48D6-8E95-09BD878FBE5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EE5A92B3-9C5A-4CFE-8648-2C41ECB513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9" dur="500"/>
                                        <p:tgtEl>
                                          <p:spTgt spid="14">
                                            <p:graphicEl>
                                              <a:dgm id="{EE5A92B3-9C5A-4CFE-8648-2C41ECB5136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594B5E29-670F-4E3C-A1F6-D7434573E3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4" dur="500"/>
                                        <p:tgtEl>
                                          <p:spTgt spid="14">
                                            <p:graphicEl>
                                              <a:dgm id="{594B5E29-670F-4E3C-A1F6-D7434573E3A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EC946288-25CC-4E4A-B085-FA0264E95E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9" dur="500"/>
                                        <p:tgtEl>
                                          <p:spTgt spid="14">
                                            <p:graphicEl>
                                              <a:dgm id="{EC946288-25CC-4E4A-B085-FA0264E95E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dgm id="{C510C534-8E8A-4AFF-BC03-3A8A72C69A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4" dur="500"/>
                                        <p:tgtEl>
                                          <p:spTgt spid="14">
                                            <p:graphicEl>
                                              <a:dgm id="{C510C534-8E8A-4AFF-BC03-3A8A72C69A3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7" dur="2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  <p:bldGraphic spid="14" grpId="0">
        <p:bldSub>
          <a:bldDgm bld="one"/>
        </p:bldSub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Information Engine</a:t>
            </a:r>
            <a:endParaRPr lang="en-US" dirty="0"/>
          </a:p>
        </p:txBody>
      </p:sp>
      <p:sp>
        <p:nvSpPr>
          <p:cNvPr id="71" name="Rounded Rectangle 70"/>
          <p:cNvSpPr/>
          <p:nvPr/>
        </p:nvSpPr>
        <p:spPr>
          <a:xfrm>
            <a:off x="3137650" y="1420257"/>
            <a:ext cx="3755991" cy="4968552"/>
          </a:xfrm>
          <a:prstGeom prst="roundRect">
            <a:avLst/>
          </a:prstGeom>
          <a:solidFill>
            <a:srgbClr val="3A94D2"/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7253682" y="1420257"/>
            <a:ext cx="1413773" cy="4968552"/>
          </a:xfrm>
          <a:prstGeom prst="roundRect">
            <a:avLst/>
          </a:prstGeom>
          <a:solidFill>
            <a:srgbClr val="2570A3">
              <a:lumMod val="5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504182" y="1091617"/>
            <a:ext cx="3065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b="1" dirty="0">
                <a:solidFill>
                  <a:srgbClr val="000000"/>
                </a:solidFill>
                <a:latin typeface="Segoe UI"/>
              </a:rPr>
              <a:t>BOA COMMUNICATION</a:t>
            </a:r>
          </a:p>
        </p:txBody>
      </p:sp>
      <p:sp>
        <p:nvSpPr>
          <p:cNvPr id="74" name="Rounded Rectangle 73"/>
          <p:cNvSpPr/>
          <p:nvPr/>
        </p:nvSpPr>
        <p:spPr>
          <a:xfrm>
            <a:off x="3324162" y="2005613"/>
            <a:ext cx="1490250" cy="4132240"/>
          </a:xfrm>
          <a:prstGeom prst="roundRect">
            <a:avLst/>
          </a:prstGeom>
          <a:solidFill>
            <a:srgbClr val="FFE784">
              <a:lumMod val="40000"/>
              <a:lumOff val="6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7038352" y="813737"/>
            <a:ext cx="1793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en-US" dirty="0">
                <a:solidFill>
                  <a:srgbClr val="000000"/>
                </a:solidFill>
                <a:latin typeface="Segoe UI"/>
              </a:rPr>
              <a:t>Third Parties and Other DBs</a:t>
            </a:r>
            <a:endParaRPr lang="tr-TR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324162" y="1636281"/>
            <a:ext cx="1443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dirty="0">
                <a:solidFill>
                  <a:srgbClr val="FFFFFF"/>
                </a:solidFill>
                <a:latin typeface="Segoe UI"/>
              </a:rPr>
              <a:t>DEFINITION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3527417" y="2244530"/>
            <a:ext cx="1140973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" name="Rounded Rectangle 77"/>
          <p:cNvSpPr/>
          <p:nvPr/>
        </p:nvSpPr>
        <p:spPr>
          <a:xfrm>
            <a:off x="3514840" y="3167922"/>
            <a:ext cx="1140973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3514839" y="4122111"/>
            <a:ext cx="1140973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3514838" y="5070844"/>
            <a:ext cx="1140973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4888175" y="2005613"/>
            <a:ext cx="1789752" cy="4132240"/>
          </a:xfrm>
          <a:prstGeom prst="roundRect">
            <a:avLst/>
          </a:prstGeom>
          <a:solidFill>
            <a:srgbClr val="FFE784">
              <a:lumMod val="40000"/>
              <a:lumOff val="6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594027" y="2473233"/>
            <a:ext cx="1020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dirty="0">
                <a:solidFill>
                  <a:srgbClr val="FFFFFF"/>
                </a:solidFill>
                <a:latin typeface="Segoe UI"/>
              </a:rPr>
              <a:t>E-MAI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640672" y="3396725"/>
            <a:ext cx="845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dirty="0">
                <a:solidFill>
                  <a:srgbClr val="FFFFFF"/>
                </a:solidFill>
                <a:latin typeface="Segoe UI"/>
              </a:rPr>
              <a:t>SM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662698" y="4304068"/>
            <a:ext cx="845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dirty="0" err="1">
                <a:solidFill>
                  <a:srgbClr val="FFFFFF"/>
                </a:solidFill>
                <a:latin typeface="Segoe UI"/>
              </a:rPr>
              <a:t>Push</a:t>
            </a:r>
            <a:endParaRPr lang="tr-TR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3636901" y="5179373"/>
            <a:ext cx="8452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dirty="0">
                <a:solidFill>
                  <a:srgbClr val="FFFFFF"/>
                </a:solidFill>
                <a:latin typeface="Segoe UI"/>
              </a:rPr>
              <a:t>BOA </a:t>
            </a:r>
            <a:r>
              <a:rPr lang="tr-TR" dirty="0" err="1">
                <a:solidFill>
                  <a:srgbClr val="FFFFFF"/>
                </a:solidFill>
                <a:latin typeface="Segoe UI"/>
              </a:rPr>
              <a:t>Alert</a:t>
            </a:r>
            <a:endParaRPr lang="tr-TR" dirty="0">
              <a:solidFill>
                <a:srgbClr val="FFFFFF"/>
              </a:solidFill>
              <a:latin typeface="Segoe UI"/>
            </a:endParaRPr>
          </a:p>
          <a:p>
            <a:pPr algn="ctr" defTabSz="914363"/>
            <a:endParaRPr lang="tr-TR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017035" y="1626989"/>
            <a:ext cx="1443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dirty="0">
                <a:solidFill>
                  <a:srgbClr val="FFFFFF"/>
                </a:solidFill>
                <a:latin typeface="Segoe UI"/>
              </a:rPr>
              <a:t>INSTANCE</a:t>
            </a:r>
          </a:p>
        </p:txBody>
      </p:sp>
      <p:sp>
        <p:nvSpPr>
          <p:cNvPr id="87" name="Rounded Rectangle 86"/>
          <p:cNvSpPr/>
          <p:nvPr/>
        </p:nvSpPr>
        <p:spPr>
          <a:xfrm>
            <a:off x="5666742" y="2262285"/>
            <a:ext cx="779300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717294" y="2466992"/>
            <a:ext cx="6722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sz="1100" dirty="0">
                <a:solidFill>
                  <a:srgbClr val="FFFFFF"/>
                </a:solidFill>
                <a:latin typeface="Segoe UI"/>
              </a:rPr>
              <a:t>E-MAIL QUEUE</a:t>
            </a:r>
            <a:endParaRPr lang="tr-TR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5674327" y="3326383"/>
            <a:ext cx="779300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641470" y="3516498"/>
            <a:ext cx="7793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sz="1100" dirty="0">
                <a:solidFill>
                  <a:srgbClr val="FFFFFF"/>
                </a:solidFill>
                <a:latin typeface="Segoe UI"/>
              </a:rPr>
              <a:t>SMS QUEUE</a:t>
            </a:r>
            <a:endParaRPr lang="tr-TR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5060347" y="2256300"/>
            <a:ext cx="419133" cy="3630865"/>
          </a:xfrm>
          <a:prstGeom prst="roundRect">
            <a:avLst/>
          </a:prstGeom>
          <a:solidFill>
            <a:srgbClr val="2570A3">
              <a:lumMod val="75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048713" y="2244530"/>
            <a:ext cx="461665" cy="367744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defTabSz="914363"/>
            <a:r>
              <a:rPr lang="tr-TR" dirty="0">
                <a:solidFill>
                  <a:srgbClr val="FFFFFF"/>
                </a:solidFill>
                <a:latin typeface="Segoe UI"/>
              </a:rPr>
              <a:t>BOA COMMUNICATION JOURNAL</a:t>
            </a:r>
          </a:p>
        </p:txBody>
      </p:sp>
      <p:sp>
        <p:nvSpPr>
          <p:cNvPr id="93" name="Oval 92"/>
          <p:cNvSpPr/>
          <p:nvPr/>
        </p:nvSpPr>
        <p:spPr>
          <a:xfrm>
            <a:off x="7541714" y="2212345"/>
            <a:ext cx="902668" cy="827689"/>
          </a:xfrm>
          <a:prstGeom prst="ellipse">
            <a:avLst/>
          </a:prstGeom>
          <a:solidFill>
            <a:srgbClr val="8CA923">
              <a:lumMod val="20000"/>
              <a:lumOff val="8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Oval 93"/>
          <p:cNvSpPr/>
          <p:nvPr/>
        </p:nvSpPr>
        <p:spPr>
          <a:xfrm>
            <a:off x="7541714" y="3364473"/>
            <a:ext cx="902668" cy="827689"/>
          </a:xfrm>
          <a:prstGeom prst="ellipse">
            <a:avLst/>
          </a:prstGeom>
          <a:solidFill>
            <a:srgbClr val="8CA923">
              <a:lumMod val="20000"/>
              <a:lumOff val="8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603887" y="2413798"/>
            <a:ext cx="8204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sz="1100" dirty="0">
                <a:solidFill>
                  <a:srgbClr val="000000"/>
                </a:solidFill>
                <a:latin typeface="Segoe UI"/>
              </a:rPr>
              <a:t>E-MAIL QUEUE</a:t>
            </a:r>
            <a:endParaRPr lang="tr-TR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7643605" y="3574419"/>
            <a:ext cx="6988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sz="1100" dirty="0">
                <a:solidFill>
                  <a:srgbClr val="000000"/>
                </a:solidFill>
                <a:latin typeface="Segoe UI"/>
              </a:rPr>
              <a:t>SMS QUEUE</a:t>
            </a:r>
            <a:endParaRPr lang="tr-TR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7" name="Up-Down Arrow 96"/>
          <p:cNvSpPr/>
          <p:nvPr/>
        </p:nvSpPr>
        <p:spPr>
          <a:xfrm rot="16200000">
            <a:off x="6751216" y="2213308"/>
            <a:ext cx="574273" cy="975255"/>
          </a:xfrm>
          <a:prstGeom prst="upDownArrow">
            <a:avLst/>
          </a:prstGeom>
          <a:solidFill>
            <a:srgbClr val="FED45C"/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vert="vert"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EX</a:t>
            </a:r>
          </a:p>
        </p:txBody>
      </p:sp>
      <p:sp>
        <p:nvSpPr>
          <p:cNvPr id="98" name="Up-Down Arrow 97"/>
          <p:cNvSpPr/>
          <p:nvPr/>
        </p:nvSpPr>
        <p:spPr>
          <a:xfrm rot="16200000">
            <a:off x="6734093" y="3278430"/>
            <a:ext cx="574273" cy="975255"/>
          </a:xfrm>
          <a:prstGeom prst="upDownArrow">
            <a:avLst/>
          </a:prstGeom>
          <a:solidFill>
            <a:srgbClr val="FED45C"/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vert="vert"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EX</a:t>
            </a:r>
          </a:p>
        </p:txBody>
      </p:sp>
      <p:sp>
        <p:nvSpPr>
          <p:cNvPr id="99" name="Rounded Rectangle 98"/>
          <p:cNvSpPr/>
          <p:nvPr/>
        </p:nvSpPr>
        <p:spPr>
          <a:xfrm>
            <a:off x="5650342" y="5061199"/>
            <a:ext cx="779300" cy="828092"/>
          </a:xfrm>
          <a:prstGeom prst="roundRect">
            <a:avLst/>
          </a:prstGeom>
          <a:solidFill>
            <a:srgbClr val="2570A3">
              <a:lumMod val="9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0" name="Oval 99"/>
          <p:cNvSpPr/>
          <p:nvPr/>
        </p:nvSpPr>
        <p:spPr>
          <a:xfrm>
            <a:off x="7577718" y="5150101"/>
            <a:ext cx="902668" cy="827689"/>
          </a:xfrm>
          <a:prstGeom prst="ellipse">
            <a:avLst/>
          </a:prstGeom>
          <a:solidFill>
            <a:srgbClr val="8CA923">
              <a:lumMod val="20000"/>
              <a:lumOff val="80000"/>
            </a:srgbClr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1" name="Up-Down Arrow 100"/>
          <p:cNvSpPr/>
          <p:nvPr/>
        </p:nvSpPr>
        <p:spPr>
          <a:xfrm rot="16200000">
            <a:off x="6770097" y="5021620"/>
            <a:ext cx="574273" cy="975255"/>
          </a:xfrm>
          <a:prstGeom prst="upDownArrow">
            <a:avLst/>
          </a:prstGeom>
          <a:solidFill>
            <a:srgbClr val="FED45C"/>
          </a:solidFill>
          <a:ln w="42500" cap="flat" cmpd="sng" algn="ctr">
            <a:solidFill>
              <a:srgbClr val="3A94D2">
                <a:shade val="50000"/>
              </a:srgbClr>
            </a:solidFill>
            <a:prstDash val="solid"/>
          </a:ln>
          <a:effectLst/>
        </p:spPr>
        <p:txBody>
          <a:bodyPr vert="vert"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EX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5683962" y="5243374"/>
            <a:ext cx="7056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sz="1100" dirty="0" err="1">
                <a:solidFill>
                  <a:srgbClr val="FFFFFF"/>
                </a:solidFill>
                <a:latin typeface="Segoe UI"/>
              </a:rPr>
              <a:t>Push</a:t>
            </a:r>
            <a:r>
              <a:rPr lang="tr-TR" sz="1100" dirty="0">
                <a:solidFill>
                  <a:srgbClr val="FFFFFF"/>
                </a:solidFill>
                <a:latin typeface="Segoe UI"/>
              </a:rPr>
              <a:t> QUEUE</a:t>
            </a:r>
            <a:endParaRPr lang="tr-TR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7666060" y="5348501"/>
            <a:ext cx="7549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3"/>
            <a:r>
              <a:rPr lang="tr-TR" sz="1100" dirty="0" err="1">
                <a:solidFill>
                  <a:srgbClr val="000000"/>
                </a:solidFill>
                <a:latin typeface="Segoe UI"/>
              </a:rPr>
              <a:t>Push</a:t>
            </a:r>
            <a:r>
              <a:rPr lang="tr-TR" sz="1100" dirty="0">
                <a:solidFill>
                  <a:srgbClr val="000000"/>
                </a:solidFill>
                <a:latin typeface="Segoe UI"/>
              </a:rPr>
              <a:t> QUEUE</a:t>
            </a:r>
            <a:endParaRPr lang="tr-TR" dirty="0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8578507"/>
      </p:ext>
    </p:extLst>
  </p:cSld>
  <p:clrMapOvr>
    <a:masterClrMapping/>
  </p:clrMapOvr>
  <p:transition spd="slow" advTm="2000">
    <p:cover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  <p:bldP spid="72" grpId="0" animBg="1"/>
      <p:bldP spid="73" grpId="0"/>
      <p:bldP spid="74" grpId="0" animBg="1"/>
      <p:bldP spid="75" grpId="0"/>
      <p:bldP spid="76" grpId="0"/>
      <p:bldP spid="77" grpId="0" animBg="1"/>
      <p:bldP spid="78" grpId="0" animBg="1"/>
      <p:bldP spid="79" grpId="0" animBg="1"/>
      <p:bldP spid="80" grpId="0" animBg="1"/>
      <p:bldP spid="81" grpId="0" animBg="1"/>
      <p:bldP spid="82" grpId="0"/>
      <p:bldP spid="83" grpId="0"/>
      <p:bldP spid="84" grpId="0"/>
      <p:bldP spid="85" grpId="0"/>
      <p:bldP spid="86" grpId="0"/>
      <p:bldP spid="87" grpId="0" animBg="1"/>
      <p:bldP spid="88" grpId="0"/>
      <p:bldP spid="89" grpId="0" animBg="1"/>
      <p:bldP spid="90" grpId="0"/>
      <p:bldP spid="91" grpId="0" animBg="1"/>
      <p:bldP spid="92" grpId="0"/>
      <p:bldP spid="93" grpId="0" animBg="1"/>
      <p:bldP spid="94" grpId="0" animBg="1"/>
      <p:bldP spid="95" grpId="0"/>
      <p:bldP spid="96" grpId="0"/>
      <p:bldP spid="97" grpId="0" animBg="1"/>
      <p:bldP spid="98" grpId="0" animBg="1"/>
      <p:bldP spid="99" grpId="0" animBg="1"/>
      <p:bldP spid="100" grpId="0" animBg="1"/>
      <p:bldP spid="101" grpId="0" animBg="1"/>
      <p:bldP spid="102" grpId="0"/>
      <p:bldP spid="10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783106" y="1114331"/>
            <a:ext cx="8148916" cy="4721693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Rule</a:t>
            </a:r>
            <a:r>
              <a:rPr lang="tr-TR" dirty="0"/>
              <a:t> Engin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4173" y="1425388"/>
            <a:ext cx="7684938" cy="412376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76491" y="1767261"/>
            <a:ext cx="315838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amework embedded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ghtly Coupled and Loosely Coupled  rule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 integration needed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n use BOA Kernel Librarie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93303"/>
      </p:ext>
    </p:extLst>
  </p:cSld>
  <p:clrMapOvr>
    <a:masterClrMapping/>
  </p:clrMapOvr>
  <p:transition spd="slow" advTm="2000">
    <p:cover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293962" y="1121434"/>
            <a:ext cx="9549442" cy="5236234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sz="2400" dirty="0"/>
              <a:t>Complete Banking System</a:t>
            </a:r>
            <a:endParaRPr lang="en-US" sz="2400" dirty="0"/>
          </a:p>
        </p:txBody>
      </p:sp>
      <p:pic>
        <p:nvPicPr>
          <p:cNvPr id="18" name="Resim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5050" y="1338952"/>
            <a:ext cx="8981901" cy="4832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192621"/>
      </p:ext>
    </p:extLst>
  </p:cSld>
  <p:clrMapOvr>
    <a:masterClrMapping/>
  </p:clrMapOvr>
  <p:transition spd="slow" advTm="2000">
    <p:cover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1553" y="941294"/>
            <a:ext cx="8265459" cy="5719482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atch Transactions (EOD) Management</a:t>
            </a:r>
          </a:p>
          <a:p>
            <a:endParaRPr lang="en-US" dirty="0"/>
          </a:p>
        </p:txBody>
      </p:sp>
      <p:pic>
        <p:nvPicPr>
          <p:cNvPr id="3" name="Resim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6297" y="1092112"/>
            <a:ext cx="7651433" cy="5344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964598"/>
      </p:ext>
    </p:extLst>
  </p:cSld>
  <p:clrMapOvr>
    <a:masterClrMapping/>
  </p:clrMapOvr>
  <p:transition spd="slow" advTm="2000">
    <p:cover dir="d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Filestream</a:t>
            </a:r>
            <a:r>
              <a:rPr lang="en-US" dirty="0"/>
              <a:t> Technology</a:t>
            </a:r>
          </a:p>
        </p:txBody>
      </p:sp>
      <p:pic>
        <p:nvPicPr>
          <p:cNvPr id="3" name="Picture 2" descr="http://www.sqlskills.com/blogs/paul/content/binary/FilestreamRea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8964" y="0"/>
            <a:ext cx="4419600" cy="3192687"/>
          </a:xfrm>
          <a:prstGeom prst="rect">
            <a:avLst/>
          </a:prstGeom>
          <a:noFill/>
        </p:spPr>
      </p:pic>
      <p:pic>
        <p:nvPicPr>
          <p:cNvPr id="4" name="Picture 4" descr="http://www.sqlskills.com/blogs/paul/content/binary/FilestreamUpdat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25082" y="3191249"/>
            <a:ext cx="4423482" cy="3200400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176490" y="1767261"/>
            <a:ext cx="6421533" cy="390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for the New Generation Integrated Document Management System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ed Costs and Better Performance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suring Transactional Integrity for Document Management Operation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 with Transactional System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672374"/>
      </p:ext>
    </p:extLst>
  </p:cSld>
  <p:clrMapOvr>
    <a:masterClrMapping/>
  </p:clrMapOvr>
  <p:transition spd="slow" advTm="2000">
    <p:cover dir="d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>
                <a:solidFill>
                  <a:srgbClr val="292929"/>
                </a:solidFill>
              </a:rPr>
              <a:t>Rich</a:t>
            </a:r>
            <a:r>
              <a:rPr lang="tr-TR" dirty="0">
                <a:solidFill>
                  <a:srgbClr val="292929"/>
                </a:solidFill>
              </a:rPr>
              <a:t> Device Integra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6490" y="1767261"/>
            <a:ext cx="6421533" cy="5432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atic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Ticket Machine (Numerator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Hunter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Cash Counter Machine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mera Integration For Customer Photo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TM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9707" y="895398"/>
            <a:ext cx="1939802" cy="1939802"/>
          </a:xfrm>
          <a:prstGeom prst="rect">
            <a:avLst/>
          </a:prstGeom>
        </p:spPr>
      </p:pic>
      <p:pic>
        <p:nvPicPr>
          <p:cNvPr id="5" name="Picture 4" descr="http://www.teknoross.com/urunler/qmatik_rulosu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131950" y="3029808"/>
            <a:ext cx="1995316" cy="3218252"/>
          </a:xfrm>
          <a:prstGeom prst="rect">
            <a:avLst/>
          </a:prstGeom>
          <a:noFill/>
        </p:spPr>
      </p:pic>
      <p:pic>
        <p:nvPicPr>
          <p:cNvPr id="6" name="Picture 6" descr="http://www.madeniparasaymamakinesi.biz/PARA_SAYMA_MAK%C4%B0NES%C4%B0_%C4%B0-HUNTER_KARI%C5%9EIK_PARA_SAYMA_MAK%C4%B0NES%C4%B0_dosyalar/ihunter-para-sayma-makinesi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6485" y="4334314"/>
            <a:ext cx="1823949" cy="1932437"/>
          </a:xfrm>
          <a:prstGeom prst="rect">
            <a:avLst/>
          </a:prstGeom>
          <a:noFill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1906" y="1201008"/>
            <a:ext cx="2455989" cy="497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029056"/>
      </p:ext>
    </p:extLst>
  </p:cSld>
  <p:clrMapOvr>
    <a:masterClrMapping/>
  </p:clrMapOvr>
  <p:transition spd="slow" advTm="2000">
    <p:cover dir="d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Demand</a:t>
            </a:r>
            <a:r>
              <a:rPr lang="tr-TR" dirty="0"/>
              <a:t> &amp; </a:t>
            </a:r>
            <a:r>
              <a:rPr lang="en-US" dirty="0"/>
              <a:t>SDLC</a:t>
            </a:r>
            <a:r>
              <a:rPr lang="tr-TR" dirty="0"/>
              <a:t> Management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B90AC8-BFC3-4AF3-8E00-E41A9EDF27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909" y="1444316"/>
            <a:ext cx="10351858" cy="3969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AC25A9-2D63-4606-A563-5462B158F4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3896" y="892344"/>
            <a:ext cx="2536575" cy="5472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83715321"/>
      </p:ext>
    </p:extLst>
  </p:cSld>
  <p:clrMapOvr>
    <a:masterClrMapping/>
  </p:clrMapOvr>
  <p:transition spd="slow" advTm="2000">
    <p:cover dir="d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oftware Quality </a:t>
            </a:r>
            <a:r>
              <a:rPr lang="tr-TR" dirty="0" err="1"/>
              <a:t>Assurance</a:t>
            </a:r>
            <a:endParaRPr lang="en-US" dirty="0"/>
          </a:p>
          <a:p>
            <a:endParaRPr lang="en-US" dirty="0"/>
          </a:p>
        </p:txBody>
      </p:sp>
      <p:pic>
        <p:nvPicPr>
          <p:cNvPr id="3" name="Content Placeholder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4505" y="3715917"/>
            <a:ext cx="4114801" cy="2363900"/>
          </a:xfrm>
          <a:prstGeom prst="rect">
            <a:avLst/>
          </a:prstGeom>
        </p:spPr>
      </p:pic>
      <p:pic>
        <p:nvPicPr>
          <p:cNvPr id="4" name="Resim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237" y="1978590"/>
            <a:ext cx="6439620" cy="347465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0708" y="1057000"/>
            <a:ext cx="3744081" cy="2343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34574"/>
      </p:ext>
    </p:extLst>
  </p:cSld>
  <p:clrMapOvr>
    <a:masterClrMapping/>
  </p:clrMapOvr>
  <p:transition spd="slow" advTm="2000">
    <p:cover dir="d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doption to ITIL Processes</a:t>
            </a:r>
          </a:p>
        </p:txBody>
      </p:sp>
      <p:pic>
        <p:nvPicPr>
          <p:cNvPr id="3" name="Picture 2" descr="http://dash.firescope.com/images/svc_view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313" y="3222812"/>
            <a:ext cx="7953375" cy="3495675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511237" y="946979"/>
            <a:ext cx="820245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ynthetic Transactions Channel for Diagnostics and Monitoring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 and Service Interruption Management</a:t>
            </a:r>
          </a:p>
          <a:p>
            <a:pPr lvl="1">
              <a:lnSpc>
                <a:spcPct val="200000"/>
              </a:lnSpc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059561"/>
      </p:ext>
    </p:extLst>
  </p:cSld>
  <p:clrMapOvr>
    <a:masterClrMapping/>
  </p:clrMapOvr>
  <p:transition spd="slow" advTm="2000">
    <p:cover dir="d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Application </a:t>
            </a:r>
            <a:r>
              <a:rPr lang="tr-TR" dirty="0" err="1"/>
              <a:t>Production</a:t>
            </a:r>
            <a:r>
              <a:rPr lang="tr-TR" dirty="0"/>
              <a:t> </a:t>
            </a:r>
            <a:r>
              <a:rPr lang="tr-TR" dirty="0" err="1"/>
              <a:t>Line</a:t>
            </a:r>
            <a:endParaRPr lang="en-US" dirty="0"/>
          </a:p>
        </p:txBody>
      </p:sp>
      <p:pic>
        <p:nvPicPr>
          <p:cNvPr id="3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4979" y="1007391"/>
            <a:ext cx="5254568" cy="5429666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Resi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6294" y="1945340"/>
            <a:ext cx="3428599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86365"/>
      </p:ext>
    </p:extLst>
  </p:cSld>
  <p:clrMapOvr>
    <a:masterClrMapping/>
  </p:clrMapOvr>
  <p:transition spd="slow" advTm="2000">
    <p:cover dir="d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ush/Pull Models for Deployment</a:t>
            </a:r>
          </a:p>
          <a:p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51245559"/>
              </p:ext>
            </p:extLst>
          </p:nvPr>
        </p:nvGraphicFramePr>
        <p:xfrm>
          <a:off x="6373906" y="1030940"/>
          <a:ext cx="4755776" cy="3442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Resim 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6153" y="4589929"/>
            <a:ext cx="3791282" cy="169507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76490" y="1767261"/>
            <a:ext cx="4727204" cy="3462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le package deployment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 branch deployment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ployment Automation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nge Management Automation using  B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A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nge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nagement</a:t>
            </a: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253022"/>
      </p:ext>
    </p:extLst>
  </p:cSld>
  <p:clrMapOvr>
    <a:masterClrMapping/>
  </p:clrMapOvr>
  <p:transition spd="slow" advTm="2000">
    <p:cover dir="d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BOA </a:t>
            </a:r>
            <a:r>
              <a:rPr lang="tr-TR" dirty="0" err="1"/>
              <a:t>Change</a:t>
            </a:r>
            <a:r>
              <a:rPr lang="tr-TR" dirty="0"/>
              <a:t> Managemen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95078D-DF1D-4F11-99B7-D3D0CD8BB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335" y="960889"/>
            <a:ext cx="7210021" cy="33032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EB9F265-A518-41AA-84AB-A2A9066083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6689" y="3066255"/>
            <a:ext cx="6576554" cy="330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770572"/>
      </p:ext>
    </p:extLst>
  </p:cSld>
  <p:clrMapOvr>
    <a:masterClrMapping/>
  </p:clrMapOvr>
  <p:transition spd="slow" advTm="2000">
    <p:cover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BOA </a:t>
            </a:r>
            <a:r>
              <a:rPr lang="tr-TR" dirty="0" err="1"/>
              <a:t>Change</a:t>
            </a:r>
            <a:r>
              <a:rPr lang="tr-TR" dirty="0"/>
              <a:t> Management</a:t>
            </a:r>
            <a:endParaRPr lang="en-US" dirty="0"/>
          </a:p>
        </p:txBody>
      </p:sp>
      <p:pic>
        <p:nvPicPr>
          <p:cNvPr id="3076" name="Picture 4" descr="https://bilgin.kuveytturk.com.tr/wp-content/uploads/2020/09/8-1.png">
            <a:extLst>
              <a:ext uri="{FF2B5EF4-FFF2-40B4-BE49-F238E27FC236}">
                <a16:creationId xmlns:a16="http://schemas.microsoft.com/office/drawing/2014/main" id="{A9C2607B-CF01-4B05-9B09-A88F82DC2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374" y="1037966"/>
            <a:ext cx="7177410" cy="4782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9474818"/>
      </p:ext>
    </p:extLst>
  </p:cSld>
  <p:clrMapOvr>
    <a:masterClrMapping/>
  </p:clrMapOvr>
  <p:transition spd="slow" advTm="2000">
    <p:cover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sz="2400" dirty="0"/>
              <a:t>Complete Banking System</a:t>
            </a:r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B9D173-0548-4A6D-B770-BEDD19FA4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540" y="943141"/>
            <a:ext cx="10958920" cy="536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301659"/>
      </p:ext>
    </p:extLst>
  </p:cSld>
  <p:clrMapOvr>
    <a:masterClrMapping/>
  </p:clrMapOvr>
  <p:transition spd="slow" advTm="2000">
    <p:cover dir="d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BOA </a:t>
            </a:r>
            <a:r>
              <a:rPr lang="tr-TR" dirty="0" err="1"/>
              <a:t>Change</a:t>
            </a:r>
            <a:r>
              <a:rPr lang="tr-TR" dirty="0"/>
              <a:t> Management</a:t>
            </a:r>
            <a:endParaRPr lang="en-US" dirty="0"/>
          </a:p>
        </p:txBody>
      </p:sp>
      <p:pic>
        <p:nvPicPr>
          <p:cNvPr id="5122" name="Picture 2" descr="https://bilgin.kuveytturk.com.tr/wp-content/uploads/2020/09/dbprocess-1.png">
            <a:extLst>
              <a:ext uri="{FF2B5EF4-FFF2-40B4-BE49-F238E27FC236}">
                <a16:creationId xmlns:a16="http://schemas.microsoft.com/office/drawing/2014/main" id="{1DE19724-791E-449F-AFAA-141489F79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37" y="898825"/>
            <a:ext cx="4250304" cy="5472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s://bilgin.kuveytturk.com.tr/wp-content/uploads/2019/11/a-1.png">
            <a:extLst>
              <a:ext uri="{FF2B5EF4-FFF2-40B4-BE49-F238E27FC236}">
                <a16:creationId xmlns:a16="http://schemas.microsoft.com/office/drawing/2014/main" id="{0FDDFE48-461E-4B26-8549-1A0FC37312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223" y="898825"/>
            <a:ext cx="6020102" cy="5472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395844"/>
      </p:ext>
    </p:extLst>
  </p:cSld>
  <p:clrMapOvr>
    <a:masterClrMapping/>
  </p:clrMapOvr>
  <p:transition spd="slow" advTm="2000">
    <p:cover dir="d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tandards Ensured At Every Level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176" y="1600754"/>
            <a:ext cx="3124199" cy="25446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0" y="5257800"/>
            <a:ext cx="4876800" cy="975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7678" y="3730619"/>
            <a:ext cx="2904551" cy="25980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36224" y="1059637"/>
            <a:ext cx="3581400" cy="24530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6"/>
          <p:cNvSpPr/>
          <p:nvPr/>
        </p:nvSpPr>
        <p:spPr>
          <a:xfrm>
            <a:off x="717177" y="1134695"/>
            <a:ext cx="3039036" cy="369332"/>
          </a:xfrm>
          <a:prstGeom prst="rect">
            <a:avLst/>
          </a:prstGeom>
          <a:ln w="28575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 Solution Structure</a:t>
            </a:r>
          </a:p>
        </p:txBody>
      </p:sp>
      <p:sp>
        <p:nvSpPr>
          <p:cNvPr id="9" name="Rectangle 8"/>
          <p:cNvSpPr/>
          <p:nvPr/>
        </p:nvSpPr>
        <p:spPr>
          <a:xfrm>
            <a:off x="1557618" y="4611469"/>
            <a:ext cx="2198595" cy="369332"/>
          </a:xfrm>
          <a:prstGeom prst="rect">
            <a:avLst/>
          </a:prstGeom>
          <a:ln w="28575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 S</a:t>
            </a:r>
            <a:r>
              <a:rPr lang="tr-TR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ippets</a:t>
            </a:r>
            <a:endParaRPr lang="en-US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75261" y="2527659"/>
            <a:ext cx="1394011" cy="923330"/>
          </a:xfrm>
          <a:prstGeom prst="rect">
            <a:avLst/>
          </a:prstGeom>
          <a:ln w="28575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 </a:t>
            </a:r>
            <a:r>
              <a:rPr lang="tr-TR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ding</a:t>
            </a:r>
            <a:r>
              <a:rPr lang="tr-TR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locks</a:t>
            </a:r>
            <a:endParaRPr lang="en-US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527903" y="5336297"/>
            <a:ext cx="1541931" cy="923330"/>
          </a:xfrm>
          <a:prstGeom prst="rect">
            <a:avLst/>
          </a:prstGeom>
          <a:ln w="28575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 S</a:t>
            </a:r>
            <a:r>
              <a:rPr lang="tr-TR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ed</a:t>
            </a:r>
            <a:r>
              <a:rPr lang="tr-TR" dirty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dirty="0" err="1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dures</a:t>
            </a:r>
            <a:endParaRPr lang="en-US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787233"/>
      </p:ext>
    </p:extLst>
  </p:cSld>
  <p:clrMapOvr>
    <a:masterClrMapping/>
  </p:clrMapOvr>
  <p:transition spd="slow" advTm="2000">
    <p:cover dir="d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eset Project and Form Templates for Developer</a:t>
            </a:r>
          </a:p>
        </p:txBody>
      </p:sp>
      <p:pic>
        <p:nvPicPr>
          <p:cNvPr id="3" name="Picture 2" descr="Proje Sablonu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44804" y="1143000"/>
            <a:ext cx="3969090" cy="3254654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 bwMode="auto">
          <a:xfrm>
            <a:off x="7475444" y="2322825"/>
            <a:ext cx="2659940" cy="857250"/>
          </a:xfrm>
          <a:prstGeom prst="ellipse">
            <a:avLst/>
          </a:prstGeom>
          <a:solidFill>
            <a:schemeClr val="lt1">
              <a:alpha val="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tr-TR" sz="2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5444" y="3180075"/>
            <a:ext cx="4210050" cy="3677925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 bwMode="auto">
          <a:xfrm>
            <a:off x="8221924" y="5158007"/>
            <a:ext cx="2743200" cy="902438"/>
          </a:xfrm>
          <a:prstGeom prst="ellipse">
            <a:avLst/>
          </a:prstGeom>
          <a:solidFill>
            <a:schemeClr val="lt1">
              <a:alpha val="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tr-TR" sz="2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53911" y="1279552"/>
            <a:ext cx="6421533" cy="373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 Templates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hestration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ypes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I</a:t>
            </a:r>
          </a:p>
          <a:p>
            <a:pPr lvl="1">
              <a:lnSpc>
                <a:spcPct val="15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m Templates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owse Form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 Form</a:t>
            </a: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al Browse Form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174914" y="1690859"/>
            <a:ext cx="288000" cy="288000"/>
            <a:chOff x="6919201" y="2053139"/>
            <a:chExt cx="604695" cy="604695"/>
          </a:xfrm>
        </p:grpSpPr>
        <p:sp>
          <p:nvSpPr>
            <p:cNvPr id="9" name="Rounded Rectangle 8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174913" y="3667443"/>
            <a:ext cx="288000" cy="288000"/>
            <a:chOff x="6919201" y="2053139"/>
            <a:chExt cx="604695" cy="604695"/>
          </a:xfrm>
        </p:grpSpPr>
        <p:sp>
          <p:nvSpPr>
            <p:cNvPr id="12" name="Rounded Rectangle 11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4342111"/>
      </p:ext>
    </p:extLst>
  </p:cSld>
  <p:clrMapOvr>
    <a:masterClrMapping/>
  </p:clrMapOvr>
  <p:transition spd="slow" advTm="2000">
    <p:cover dir="d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utomated Code Generation </a:t>
            </a:r>
            <a:r>
              <a:rPr lang="tr-TR" dirty="0"/>
              <a:t>a</a:t>
            </a:r>
            <a:r>
              <a:rPr lang="en-US" dirty="0"/>
              <a:t>t Every Level</a:t>
            </a:r>
          </a:p>
        </p:txBody>
      </p:sp>
      <p:pic>
        <p:nvPicPr>
          <p:cNvPr id="3" name="Resim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4524" y="1106501"/>
            <a:ext cx="4289014" cy="3662568"/>
          </a:xfrm>
          <a:prstGeom prst="rect">
            <a:avLst/>
          </a:prstGeom>
        </p:spPr>
      </p:pic>
      <p:pic>
        <p:nvPicPr>
          <p:cNvPr id="4" name="Resim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0022" y="2821244"/>
            <a:ext cx="6183702" cy="351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30525"/>
      </p:ext>
    </p:extLst>
  </p:cSld>
  <p:clrMapOvr>
    <a:masterClrMapping/>
  </p:clrMapOvr>
  <p:transition spd="slow" advTm="2000">
    <p:cover dir="d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ocumentations and Videos</a:t>
            </a:r>
          </a:p>
        </p:txBody>
      </p:sp>
      <p:pic>
        <p:nvPicPr>
          <p:cNvPr id="3" name="Resim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964" y="1080248"/>
            <a:ext cx="6518442" cy="3505200"/>
          </a:xfrm>
          <a:prstGeom prst="rect">
            <a:avLst/>
          </a:prstGeom>
        </p:spPr>
      </p:pic>
      <p:pic>
        <p:nvPicPr>
          <p:cNvPr id="4" name="Resim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520" y="3140068"/>
            <a:ext cx="4343400" cy="326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024377"/>
      </p:ext>
    </p:extLst>
  </p:cSld>
  <p:clrMapOvr>
    <a:masterClrMapping/>
  </p:clrMapOvr>
  <p:transition spd="slow" advTm="2000">
    <p:cover dir="d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nd-to-End Transaction Performance Metric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8141" y="3070697"/>
            <a:ext cx="4803443" cy="330803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1313" y="1027052"/>
            <a:ext cx="2567607" cy="325711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0972" y="3079376"/>
            <a:ext cx="2580682" cy="329935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09849" y="639262"/>
            <a:ext cx="6421533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y request-anywhere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uration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ecution Tree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content and Response content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737285"/>
      </p:ext>
    </p:extLst>
  </p:cSld>
  <p:clrMapOvr>
    <a:masterClrMapping/>
  </p:clrMapOvr>
  <p:transition spd="slow" advTm="2000">
    <p:cover dir="d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011902" y="869481"/>
            <a:ext cx="5764306" cy="3612776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erformance </a:t>
            </a:r>
            <a:r>
              <a:rPr lang="en-US" dirty="0" err="1"/>
              <a:t>HealthCheck</a:t>
            </a:r>
            <a:r>
              <a:rPr lang="en-US" dirty="0"/>
              <a:t> Reports and Alert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9383" y="4843310"/>
            <a:ext cx="5569344" cy="194999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1758" y="1004399"/>
            <a:ext cx="3967162" cy="167147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4934" y="2763498"/>
            <a:ext cx="2709121" cy="149365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7848" y="2763498"/>
            <a:ext cx="2563037" cy="151628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08878" y="1196616"/>
            <a:ext cx="464860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 Report Screen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ily Emailed Performance Report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ily Emailed Consistency Report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ily Emailed Error Report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ily Emailed DB Error Report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ily Emailed Slowest Requests Report</a:t>
            </a:r>
          </a:p>
          <a:p>
            <a:pPr lvl="1">
              <a:lnSpc>
                <a:spcPct val="200000"/>
              </a:lnSpc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3909040"/>
      </p:ext>
    </p:extLst>
  </p:cSld>
  <p:clrMapOvr>
    <a:masterClrMapping/>
  </p:clrMapOvr>
  <p:transition spd="slow" advTm="2000">
    <p:cover dir="d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erformance </a:t>
            </a:r>
            <a:r>
              <a:rPr lang="en-US" dirty="0" err="1"/>
              <a:t>HealthCheck</a:t>
            </a:r>
            <a:r>
              <a:rPr lang="en-US" dirty="0"/>
              <a:t> Reports and Alerts</a:t>
            </a:r>
          </a:p>
          <a:p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0BFB025-E7B1-4AFF-B276-9DE38091AF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8276362"/>
              </p:ext>
            </p:extLst>
          </p:nvPr>
        </p:nvGraphicFramePr>
        <p:xfrm>
          <a:off x="511237" y="1245735"/>
          <a:ext cx="8760432" cy="3917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4140367"/>
      </p:ext>
    </p:extLst>
  </p:cSld>
  <p:clrMapOvr>
    <a:masterClrMapping/>
  </p:clrMapOvr>
  <p:transition spd="slow" advTm="2000">
    <p:cover dir="d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OA Code Metrics – Maintainability Index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6817225"/>
              </p:ext>
            </p:extLst>
          </p:nvPr>
        </p:nvGraphicFramePr>
        <p:xfrm>
          <a:off x="833717" y="2018261"/>
          <a:ext cx="7848601" cy="4663451"/>
        </p:xfrm>
        <a:graphic>
          <a:graphicData uri="http://schemas.openxmlformats.org/drawingml/2006/table">
            <a:tbl>
              <a:tblPr/>
              <a:tblGrid>
                <a:gridCol w="26498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02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7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430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525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Project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* Maintainability Index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Cyclomatic Complexity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Depth of Inheritance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Class Coupling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Lines of Code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Base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75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07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0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503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BusinessBus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78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100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4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778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Common</a:t>
                      </a:r>
                      <a:r>
                        <a:rPr lang="tr-TR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92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954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57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813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Common.Constant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95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Integration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83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9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9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79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Orchestration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6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02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88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36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Process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43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05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8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420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Proxy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80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8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5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3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ServiceBus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77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99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0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9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82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117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34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50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Business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93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541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6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58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Business.Customer360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100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Common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95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7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3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Container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77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7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07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988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Exceptions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95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Resources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89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7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0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UI.Splash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100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OA.WCFService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82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0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8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usinessObjects\BOA.Business.Internal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57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56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59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86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usinessObjects\BOA.Business.Kernel 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5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155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91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903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2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BusinessObjects\BOA.Business.Security 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>
                          <a:solidFill>
                            <a:srgbClr val="008000"/>
                          </a:solidFill>
                          <a:highlight>
                            <a:srgbClr val="FFFF00"/>
                          </a:highlight>
                          <a:latin typeface="Calibri"/>
                          <a:ea typeface="Times New Roman"/>
                          <a:cs typeface="Calibri"/>
                        </a:rPr>
                        <a:t>56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07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2</a:t>
                      </a:r>
                      <a:endParaRPr lang="tr-TR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11</a:t>
                      </a:r>
                      <a:endParaRPr lang="tr-TR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094" marR="47094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</a:tbl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94228" y="1025137"/>
            <a:ext cx="4324350" cy="4381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Rectangle 9"/>
          <p:cNvSpPr txBox="1">
            <a:spLocks noChangeArrowheads="1"/>
          </p:cNvSpPr>
          <p:nvPr/>
        </p:nvSpPr>
        <p:spPr>
          <a:xfrm>
            <a:off x="833717" y="1573149"/>
            <a:ext cx="5486400" cy="372191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/>
          <a:lstStyle/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000" b="1" dirty="0">
                <a:solidFill>
                  <a:srgbClr val="000000"/>
                </a:solidFill>
                <a:latin typeface="Segoe UI"/>
                <a:cs typeface="Consolas" pitchFamily="49" charset="0"/>
              </a:rPr>
              <a:t>Halstead Volume (V)= N * log2 n </a:t>
            </a: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000" dirty="0">
                <a:solidFill>
                  <a:srgbClr val="000000"/>
                </a:solidFill>
                <a:latin typeface="Segoe UI"/>
                <a:cs typeface="Consolas" pitchFamily="49" charset="0"/>
              </a:rPr>
              <a:t>N (Program Length) =  Total </a:t>
            </a:r>
            <a:r>
              <a:rPr lang="tr-TR" sz="1000" dirty="0" err="1">
                <a:solidFill>
                  <a:srgbClr val="000000"/>
                </a:solidFill>
                <a:latin typeface="Segoe UI"/>
                <a:cs typeface="Consolas" pitchFamily="49" charset="0"/>
              </a:rPr>
              <a:t>Operators</a:t>
            </a:r>
            <a:r>
              <a:rPr lang="tr-TR" sz="1000" dirty="0">
                <a:solidFill>
                  <a:srgbClr val="000000"/>
                </a:solidFill>
                <a:latin typeface="Segoe UI"/>
                <a:cs typeface="Consolas" pitchFamily="49" charset="0"/>
              </a:rPr>
              <a:t> and Operands, n = </a:t>
            </a:r>
            <a:r>
              <a:rPr lang="tr-TR" sz="1000" dirty="0" err="1">
                <a:solidFill>
                  <a:srgbClr val="000000"/>
                </a:solidFill>
                <a:latin typeface="Segoe UI"/>
                <a:cs typeface="Consolas" pitchFamily="49" charset="0"/>
              </a:rPr>
              <a:t>unique</a:t>
            </a:r>
            <a:r>
              <a:rPr lang="tr-TR" sz="1000" dirty="0">
                <a:solidFill>
                  <a:srgbClr val="000000"/>
                </a:solidFill>
                <a:latin typeface="Segoe UI"/>
                <a:cs typeface="Consolas" pitchFamily="49" charset="0"/>
              </a:rPr>
              <a:t> </a:t>
            </a:r>
            <a:r>
              <a:rPr lang="tr-TR" sz="1000" dirty="0" err="1">
                <a:solidFill>
                  <a:srgbClr val="000000"/>
                </a:solidFill>
                <a:latin typeface="Segoe UI"/>
                <a:cs typeface="Consolas" pitchFamily="49" charset="0"/>
              </a:rPr>
              <a:t>operators</a:t>
            </a:r>
            <a:r>
              <a:rPr lang="tr-TR" sz="1000" dirty="0">
                <a:solidFill>
                  <a:srgbClr val="000000"/>
                </a:solidFill>
                <a:latin typeface="Segoe UI"/>
                <a:cs typeface="Consolas" pitchFamily="49" charset="0"/>
              </a:rPr>
              <a:t> and operands</a:t>
            </a:r>
            <a:endParaRPr lang="en-US" sz="1000" dirty="0">
              <a:solidFill>
                <a:srgbClr val="000000"/>
              </a:solidFill>
              <a:latin typeface="Segoe UI"/>
              <a:cs typeface="Consolas" pitchFamily="49" charset="0"/>
            </a:endParaRP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buFontTx/>
              <a:buBlip>
                <a:blip r:embed="rId3"/>
              </a:buBlip>
              <a:defRPr/>
            </a:pPr>
            <a:endParaRPr lang="en-US" sz="1000" dirty="0">
              <a:solidFill>
                <a:srgbClr val="000000"/>
              </a:solidFill>
              <a:latin typeface="Segoe UI"/>
              <a:cs typeface="Consolas" pitchFamily="49" charset="0"/>
            </a:endParaRP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endParaRPr lang="en-US" sz="1000" dirty="0">
              <a:solidFill>
                <a:srgbClr val="000000"/>
              </a:solidFill>
              <a:latin typeface="Segoe UI"/>
              <a:cs typeface="Consolas" pitchFamily="49" charset="0"/>
            </a:endParaRPr>
          </a:p>
        </p:txBody>
      </p:sp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8852647" y="1590564"/>
            <a:ext cx="3048000" cy="762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/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300" b="1" dirty="0">
                <a:solidFill>
                  <a:srgbClr val="008000"/>
                </a:solidFill>
                <a:latin typeface="Consolas" pitchFamily="49" charset="0"/>
                <a:cs typeface="Consolas" pitchFamily="49" charset="0"/>
              </a:rPr>
              <a:t>Green (good)  	: 20 - 100</a:t>
            </a: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300" b="1" dirty="0">
                <a:solidFill>
                  <a:srgbClr val="F3AF35"/>
                </a:solidFill>
                <a:latin typeface="Consolas" pitchFamily="49" charset="0"/>
                <a:cs typeface="Consolas" pitchFamily="49" charset="0"/>
              </a:rPr>
              <a:t>Yellow (so so)	: 10 - 19</a:t>
            </a: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r>
              <a:rPr lang="tr-TR" sz="1300" b="1" dirty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Red (bad)		: 0  - 9</a:t>
            </a: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endParaRPr lang="en-US" sz="1300" b="1" dirty="0">
              <a:solidFill>
                <a:srgbClr val="000000"/>
              </a:solidFill>
              <a:latin typeface="Consolas" pitchFamily="49" charset="0"/>
              <a:cs typeface="Consolas" pitchFamily="49" charset="0"/>
            </a:endParaRP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buFontTx/>
              <a:buBlip>
                <a:blip r:embed="rId3"/>
              </a:buBlip>
              <a:defRPr/>
            </a:pPr>
            <a:endParaRPr lang="en-US" sz="1300" b="1" dirty="0">
              <a:solidFill>
                <a:srgbClr val="000000"/>
              </a:solidFill>
              <a:latin typeface="Consolas" pitchFamily="49" charset="0"/>
              <a:cs typeface="Consolas" pitchFamily="49" charset="0"/>
            </a:endParaRPr>
          </a:p>
          <a:p>
            <a:pPr marL="460375" indent="-460375" defTabSz="914363">
              <a:lnSpc>
                <a:spcPct val="90000"/>
              </a:lnSpc>
              <a:spcBef>
                <a:spcPct val="20000"/>
              </a:spcBef>
              <a:buSzPct val="85000"/>
              <a:defRPr/>
            </a:pPr>
            <a:endParaRPr lang="en-US" sz="1300" b="1" dirty="0">
              <a:solidFill>
                <a:srgbClr val="000000"/>
              </a:solidFill>
              <a:latin typeface="Consolas" pitchFamily="49" charset="0"/>
              <a:cs typeface="Consolas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014122"/>
      </p:ext>
    </p:extLst>
  </p:cSld>
  <p:clrMapOvr>
    <a:masterClrMapping/>
  </p:clrMapOvr>
  <p:transition spd="slow" advTm="2000">
    <p:cover dir="d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OA </a:t>
            </a:r>
            <a:r>
              <a:rPr lang="tr-TR" dirty="0"/>
              <a:t>Application </a:t>
            </a:r>
            <a:r>
              <a:rPr lang="tr-TR" dirty="0" err="1"/>
              <a:t>and</a:t>
            </a:r>
            <a:r>
              <a:rPr lang="tr-TR" dirty="0"/>
              <a:t> Source </a:t>
            </a:r>
            <a:r>
              <a:rPr lang="tr-TR" dirty="0" err="1"/>
              <a:t>Code</a:t>
            </a:r>
            <a:r>
              <a:rPr lang="tr-TR" dirty="0"/>
              <a:t> </a:t>
            </a:r>
            <a:r>
              <a:rPr lang="tr-TR" dirty="0" err="1"/>
              <a:t>Analytic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6CAB8F-F4E2-4CC2-B6A6-01AEF666BD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081" y="961931"/>
            <a:ext cx="10771727" cy="54090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62466276"/>
      </p:ext>
    </p:extLst>
  </p:cSld>
  <p:clrMapOvr>
    <a:masterClrMapping/>
  </p:clrMapOvr>
  <p:transition spd="slow" advTm="2000">
    <p:cover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44128" y="992037"/>
            <a:ext cx="8764438" cy="5762445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sz="2400" dirty="0"/>
              <a:t>Kuveyt Turk </a:t>
            </a:r>
            <a:r>
              <a:rPr lang="tr-TR" sz="2400" dirty="0" err="1"/>
              <a:t>Modules</a:t>
            </a:r>
            <a:r>
              <a:rPr lang="tr-TR" sz="2400" dirty="0"/>
              <a:t> </a:t>
            </a:r>
            <a:r>
              <a:rPr lang="tr-TR" sz="2400" dirty="0" err="1"/>
              <a:t>Landscape</a:t>
            </a:r>
            <a:endParaRPr lang="en-US" sz="2400" dirty="0"/>
          </a:p>
        </p:txBody>
      </p:sp>
      <p:pic>
        <p:nvPicPr>
          <p:cNvPr id="18" name="Resim 1"/>
          <p:cNvPicPr>
            <a:picLocks noChangeAspect="1"/>
          </p:cNvPicPr>
          <p:nvPr/>
        </p:nvPicPr>
        <p:blipFill rotWithShape="1">
          <a:blip r:embed="rId2"/>
          <a:srcRect l="1289" t="2071" b="1465"/>
          <a:stretch/>
        </p:blipFill>
        <p:spPr>
          <a:xfrm>
            <a:off x="1708031" y="1123027"/>
            <a:ext cx="8384875" cy="546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236964"/>
      </p:ext>
    </p:extLst>
  </p:cSld>
  <p:clrMapOvr>
    <a:masterClrMapping/>
  </p:clrMapOvr>
  <p:transition spd="slow" advTm="2000">
    <p:cover dir="d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unich Benchmark</a:t>
            </a:r>
          </a:p>
        </p:txBody>
      </p:sp>
      <p:sp>
        <p:nvSpPr>
          <p:cNvPr id="3" name="Rectangle 2"/>
          <p:cNvSpPr/>
          <p:nvPr/>
        </p:nvSpPr>
        <p:spPr>
          <a:xfrm>
            <a:off x="1026877" y="1778244"/>
            <a:ext cx="7794394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ctober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009</a:t>
            </a: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Application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er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Total 68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e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, 1 SQL Server (16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e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60 GB RAM)</a:t>
            </a: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,950 Financial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</a:t>
            </a: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6,000 SQL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</a:t>
            </a: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se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ime: 30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endParaRPr lang="en-US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279457" y="6010006"/>
            <a:ext cx="6351478" cy="386269"/>
            <a:chOff x="5287923" y="5727913"/>
            <a:chExt cx="6351478" cy="386269"/>
          </a:xfrm>
        </p:grpSpPr>
        <p:sp>
          <p:nvSpPr>
            <p:cNvPr id="5" name="Rounded Rectangle 4"/>
            <p:cNvSpPr/>
            <p:nvPr/>
          </p:nvSpPr>
          <p:spPr>
            <a:xfrm>
              <a:off x="5287923" y="6042182"/>
              <a:ext cx="5155524" cy="72000"/>
            </a:xfrm>
            <a:prstGeom prst="roundRect">
              <a:avLst>
                <a:gd name="adj" fmla="val 50000"/>
              </a:avLst>
            </a:prstGeom>
            <a:solidFill>
              <a:srgbClr val="5CA5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7456876" y="5727913"/>
              <a:ext cx="4182525" cy="71795"/>
            </a:xfrm>
            <a:prstGeom prst="roundRect">
              <a:avLst>
                <a:gd name="adj" fmla="val 50000"/>
              </a:avLst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862203" y="5889308"/>
              <a:ext cx="4280718" cy="63274"/>
            </a:xfrm>
            <a:prstGeom prst="roundRect">
              <a:avLst>
                <a:gd name="adj" fmla="val 50000"/>
              </a:avLst>
            </a:prstGeom>
            <a:solidFill>
              <a:srgbClr val="E0EF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156985" y="1977729"/>
            <a:ext cx="288000" cy="288000"/>
            <a:chOff x="6919201" y="2053139"/>
            <a:chExt cx="604695" cy="604695"/>
          </a:xfrm>
        </p:grpSpPr>
        <p:sp>
          <p:nvSpPr>
            <p:cNvPr id="9" name="Rounded Rectangle 8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156984" y="2465214"/>
            <a:ext cx="288000" cy="288000"/>
            <a:chOff x="6919201" y="2053139"/>
            <a:chExt cx="604695" cy="604695"/>
          </a:xfrm>
        </p:grpSpPr>
        <p:sp>
          <p:nvSpPr>
            <p:cNvPr id="12" name="Rounded Rectangle 11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156984" y="2952699"/>
            <a:ext cx="288000" cy="288000"/>
            <a:chOff x="6919201" y="2053139"/>
            <a:chExt cx="604695" cy="604695"/>
          </a:xfrm>
        </p:grpSpPr>
        <p:sp>
          <p:nvSpPr>
            <p:cNvPr id="15" name="Rounded Rectangle 14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156984" y="3406438"/>
            <a:ext cx="288000" cy="288000"/>
            <a:chOff x="6919201" y="2053139"/>
            <a:chExt cx="604695" cy="604695"/>
          </a:xfrm>
        </p:grpSpPr>
        <p:sp>
          <p:nvSpPr>
            <p:cNvPr id="18" name="Rounded Rectangle 17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156983" y="3939232"/>
            <a:ext cx="288000" cy="288000"/>
            <a:chOff x="6919201" y="2053139"/>
            <a:chExt cx="604695" cy="604695"/>
          </a:xfrm>
        </p:grpSpPr>
        <p:sp>
          <p:nvSpPr>
            <p:cNvPr id="21" name="Rounded Rectangle 20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1418942"/>
      </p:ext>
    </p:extLst>
  </p:cSld>
  <p:clrMapOvr>
    <a:masterClrMapping/>
  </p:clrMapOvr>
  <p:transition spd="slow" advTm="2000">
    <p:cover dir="d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Seattle</a:t>
            </a:r>
            <a:r>
              <a:rPr lang="en-US" dirty="0"/>
              <a:t> Benchmark</a:t>
            </a:r>
          </a:p>
        </p:txBody>
      </p:sp>
      <p:sp>
        <p:nvSpPr>
          <p:cNvPr id="3" name="Rectangle 2"/>
          <p:cNvSpPr/>
          <p:nvPr/>
        </p:nvSpPr>
        <p:spPr>
          <a:xfrm>
            <a:off x="1072961" y="1216176"/>
            <a:ext cx="782002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rch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010</a:t>
            </a: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9 Application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er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552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e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, 1 SQL Server (48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e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128 GB RAM)</a:t>
            </a: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,200 Financial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</a:t>
            </a: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2,000 SQL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</a:t>
            </a: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lnSpc>
                <a:spcPct val="200000"/>
              </a:lnSpc>
            </a:pP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se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me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20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s</a:t>
            </a: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lvl="1">
              <a:lnSpc>
                <a:spcPct val="200000"/>
              </a:lnSpc>
            </a:pPr>
            <a:r>
              <a:rPr lang="tr-TR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ld </a:t>
            </a:r>
            <a:r>
              <a:rPr lang="tr-TR" sz="16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rd</a:t>
            </a: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279457" y="6010006"/>
            <a:ext cx="6351478" cy="386269"/>
            <a:chOff x="5287923" y="5727913"/>
            <a:chExt cx="6351478" cy="386269"/>
          </a:xfrm>
        </p:grpSpPr>
        <p:sp>
          <p:nvSpPr>
            <p:cNvPr id="5" name="Rounded Rectangle 4"/>
            <p:cNvSpPr/>
            <p:nvPr/>
          </p:nvSpPr>
          <p:spPr>
            <a:xfrm>
              <a:off x="5287923" y="6042182"/>
              <a:ext cx="5155524" cy="72000"/>
            </a:xfrm>
            <a:prstGeom prst="roundRect">
              <a:avLst>
                <a:gd name="adj" fmla="val 50000"/>
              </a:avLst>
            </a:prstGeom>
            <a:solidFill>
              <a:srgbClr val="5CA5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7456876" y="5727913"/>
              <a:ext cx="4182525" cy="71795"/>
            </a:xfrm>
            <a:prstGeom prst="roundRect">
              <a:avLst>
                <a:gd name="adj" fmla="val 50000"/>
              </a:avLst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862203" y="5889308"/>
              <a:ext cx="4280718" cy="63274"/>
            </a:xfrm>
            <a:prstGeom prst="roundRect">
              <a:avLst>
                <a:gd name="adj" fmla="val 50000"/>
              </a:avLst>
            </a:prstGeom>
            <a:solidFill>
              <a:srgbClr val="E0EF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156985" y="1920120"/>
            <a:ext cx="288000" cy="288000"/>
            <a:chOff x="6919201" y="2053139"/>
            <a:chExt cx="604695" cy="604695"/>
          </a:xfrm>
        </p:grpSpPr>
        <p:sp>
          <p:nvSpPr>
            <p:cNvPr id="9" name="Rounded Rectangle 8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156985" y="2416262"/>
            <a:ext cx="288000" cy="288000"/>
            <a:chOff x="6919201" y="2053139"/>
            <a:chExt cx="604695" cy="604695"/>
          </a:xfrm>
        </p:grpSpPr>
        <p:sp>
          <p:nvSpPr>
            <p:cNvPr id="12" name="Rounded Rectangle 11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156985" y="2841891"/>
            <a:ext cx="288000" cy="288000"/>
            <a:chOff x="6919201" y="2053139"/>
            <a:chExt cx="604695" cy="604695"/>
          </a:xfrm>
        </p:grpSpPr>
        <p:sp>
          <p:nvSpPr>
            <p:cNvPr id="15" name="Rounded Rectangle 14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156985" y="3305998"/>
            <a:ext cx="288000" cy="288000"/>
            <a:chOff x="6919201" y="2053139"/>
            <a:chExt cx="604695" cy="604695"/>
          </a:xfrm>
        </p:grpSpPr>
        <p:sp>
          <p:nvSpPr>
            <p:cNvPr id="18" name="Rounded Rectangle 17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156985" y="3817225"/>
            <a:ext cx="288000" cy="288000"/>
            <a:chOff x="6919201" y="2053139"/>
            <a:chExt cx="604695" cy="604695"/>
          </a:xfrm>
        </p:grpSpPr>
        <p:sp>
          <p:nvSpPr>
            <p:cNvPr id="21" name="Rounded Rectangle 20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158651" y="4300425"/>
            <a:ext cx="288000" cy="288000"/>
            <a:chOff x="6919201" y="2053139"/>
            <a:chExt cx="604695" cy="604695"/>
          </a:xfrm>
        </p:grpSpPr>
        <p:sp>
          <p:nvSpPr>
            <p:cNvPr id="24" name="Rounded Rectangle 23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8057183"/>
      </p:ext>
    </p:extLst>
  </p:cSld>
  <p:clrMapOvr>
    <a:masterClrMapping/>
  </p:clrMapOvr>
  <p:transition spd="slow" advTm="2000">
    <p:cover dir="d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existence Methodology</a:t>
            </a:r>
          </a:p>
        </p:txBody>
      </p:sp>
      <p:sp>
        <p:nvSpPr>
          <p:cNvPr id="3" name="Rectangle 2"/>
          <p:cNvSpPr/>
          <p:nvPr/>
        </p:nvSpPr>
        <p:spPr>
          <a:xfrm>
            <a:off x="642654" y="682530"/>
            <a:ext cx="891372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mediate/Delayed Synchronization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th systems coexisting “Peacefully”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ooth Culture and Module Transitions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w burden on resources</a:t>
            </a: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3035" y="3895687"/>
            <a:ext cx="4847106" cy="2143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99847" y="3854823"/>
            <a:ext cx="5110894" cy="2184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43470646"/>
      </p:ext>
    </p:extLst>
  </p:cSld>
  <p:clrMapOvr>
    <a:masterClrMapping/>
  </p:clrMapOvr>
  <p:transition spd="slow" advTm="2000">
    <p:cover dir="d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18565" y="1328029"/>
            <a:ext cx="2841812" cy="2571618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195482" y="3433482"/>
            <a:ext cx="3451412" cy="3021106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8184776" y="1389286"/>
            <a:ext cx="3406590" cy="2343041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ertified in Germany for KT Bank AG</a:t>
            </a:r>
          </a:p>
          <a:p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639578" y="1617888"/>
            <a:ext cx="4191000" cy="1274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Roboto Black" panose="02000000000000000000" pitchFamily="2" charset="0"/>
                <a:cs typeface="+mj-cs"/>
              </a:defRPr>
            </a:lvl1pPr>
          </a:lstStyle>
          <a:p>
            <a:pPr algn="ctr"/>
            <a:r>
              <a:rPr lang="tr-TR" sz="5400" dirty="0">
                <a:solidFill>
                  <a:schemeClr val="accent1"/>
                </a:solidFill>
              </a:rPr>
              <a:t>IDW PS 880</a:t>
            </a:r>
            <a:br>
              <a:rPr lang="tr-TR" dirty="0">
                <a:solidFill>
                  <a:schemeClr val="accent1"/>
                </a:solidFill>
              </a:rPr>
            </a:br>
            <a:r>
              <a:rPr lang="tr-TR" sz="2000" dirty="0" err="1">
                <a:solidFill>
                  <a:schemeClr val="accent1"/>
                </a:solidFill>
              </a:rPr>
              <a:t>Die</a:t>
            </a:r>
            <a:r>
              <a:rPr lang="tr-TR" sz="2000" dirty="0">
                <a:solidFill>
                  <a:schemeClr val="accent1"/>
                </a:solidFill>
              </a:rPr>
              <a:t> </a:t>
            </a:r>
            <a:r>
              <a:rPr lang="tr-TR" sz="2000" dirty="0" err="1">
                <a:solidFill>
                  <a:schemeClr val="accent1"/>
                </a:solidFill>
              </a:rPr>
              <a:t>Prüfung</a:t>
            </a:r>
            <a:r>
              <a:rPr lang="tr-TR" sz="2000" dirty="0">
                <a:solidFill>
                  <a:schemeClr val="accent1"/>
                </a:solidFill>
              </a:rPr>
              <a:t> </a:t>
            </a:r>
            <a:r>
              <a:rPr lang="tr-TR" sz="2000" dirty="0" err="1">
                <a:solidFill>
                  <a:schemeClr val="accent1"/>
                </a:solidFill>
              </a:rPr>
              <a:t>von</a:t>
            </a:r>
            <a:r>
              <a:rPr lang="tr-TR" sz="2000" dirty="0">
                <a:solidFill>
                  <a:schemeClr val="accent1"/>
                </a:solidFill>
              </a:rPr>
              <a:t> </a:t>
            </a:r>
            <a:r>
              <a:rPr lang="tr-TR" sz="2000" dirty="0" err="1">
                <a:solidFill>
                  <a:schemeClr val="accent1"/>
                </a:solidFill>
              </a:rPr>
              <a:t>Softwareprodukten</a:t>
            </a:r>
            <a:r>
              <a:rPr lang="tr-TR" sz="1800" dirty="0">
                <a:solidFill>
                  <a:schemeClr val="accent1"/>
                </a:solidFill>
              </a:rPr>
              <a:t> </a:t>
            </a:r>
            <a:br>
              <a:rPr lang="tr-TR" sz="1800" dirty="0">
                <a:solidFill>
                  <a:schemeClr val="accent1"/>
                </a:solidFill>
              </a:rPr>
            </a:br>
            <a:endParaRPr lang="en-US" sz="1800" dirty="0">
              <a:solidFill>
                <a:schemeClr val="accent1"/>
              </a:solidFill>
            </a:endParaRPr>
          </a:p>
        </p:txBody>
      </p:sp>
      <p:pic>
        <p:nvPicPr>
          <p:cNvPr id="4" name="Resim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1109" y="3732328"/>
            <a:ext cx="2704497" cy="2560896"/>
          </a:xfrm>
          <a:prstGeom prst="rect">
            <a:avLst/>
          </a:prstGeom>
        </p:spPr>
      </p:pic>
      <p:pic>
        <p:nvPicPr>
          <p:cNvPr id="5" name="Resi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054" y="1617888"/>
            <a:ext cx="2228850" cy="2028825"/>
          </a:xfrm>
          <a:prstGeom prst="rect">
            <a:avLst/>
          </a:prstGeom>
        </p:spPr>
      </p:pic>
      <p:pic>
        <p:nvPicPr>
          <p:cNvPr id="6" name="Resim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56719" y="1617888"/>
            <a:ext cx="2667000" cy="1904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189193"/>
      </p:ext>
    </p:extLst>
  </p:cSld>
  <p:clrMapOvr>
    <a:masterClrMapping/>
  </p:clrMapOvr>
  <p:transition spd="slow" advTm="2000">
    <p:cover dir="d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lumMod val="95000"/>
              <a:alpha val="55000"/>
            </a:srgbClr>
          </a:solidFill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4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Black"/>
              <a:ea typeface="Roboto Black" panose="02000000000000000000" pitchFamily="2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00" y="618599"/>
            <a:ext cx="7442200" cy="578507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hape 142"/>
          <p:cNvSpPr/>
          <p:nvPr/>
        </p:nvSpPr>
        <p:spPr>
          <a:xfrm>
            <a:off x="1378159" y="2816615"/>
            <a:ext cx="9435682" cy="10669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99" tIns="25399" rIns="25399" bIns="25399" anchor="ctr">
            <a:spAutoFit/>
          </a:bodyPr>
          <a:lstStyle/>
          <a:p>
            <a:pPr marL="0" marR="0" lvl="0" indent="0" algn="ctr" defTabSz="41272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00" cap="all">
                <a:solidFill>
                  <a:srgbClr val="343E47"/>
                </a:solidFill>
                <a:latin typeface="Roboto Black"/>
                <a:ea typeface="Roboto Black"/>
                <a:cs typeface="Roboto Black"/>
                <a:sym typeface="Roboto Black"/>
              </a:defRPr>
            </a:pPr>
            <a:r>
              <a:rPr kumimoji="0" lang="tr-TR" sz="6600" b="0" i="0" u="none" strike="noStrike" kern="0" cap="all" spc="0" normalizeH="0" baseline="0" noProof="0" dirty="0" err="1">
                <a:ln w="0"/>
                <a:solidFill>
                  <a:srgbClr val="E7E6E6">
                    <a:lumMod val="1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ource Sans Pro Bold" panose="020B0703030403020204" pitchFamily="34" charset="0"/>
                <a:ea typeface="Source Sans Pro Bold" panose="020B0703030403020204" pitchFamily="34" charset="0"/>
                <a:cs typeface="Roboto Black"/>
                <a:sym typeface="Roboto Black"/>
              </a:rPr>
              <a:t>Thank</a:t>
            </a:r>
            <a:r>
              <a:rPr kumimoji="0" lang="tr-TR" sz="6600" b="0" i="0" u="none" strike="noStrike" kern="0" cap="all" spc="0" normalizeH="0" noProof="0" dirty="0">
                <a:ln w="0"/>
                <a:solidFill>
                  <a:srgbClr val="E7E6E6">
                    <a:lumMod val="1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ource Sans Pro Bold" panose="020B0703030403020204" pitchFamily="34" charset="0"/>
                <a:ea typeface="Source Sans Pro Bold" panose="020B0703030403020204" pitchFamily="34" charset="0"/>
                <a:cs typeface="Roboto Black"/>
                <a:sym typeface="Roboto Black"/>
              </a:rPr>
              <a:t> </a:t>
            </a:r>
            <a:r>
              <a:rPr kumimoji="0" lang="tr-TR" sz="6600" b="0" i="0" u="none" strike="noStrike" kern="0" cap="all" spc="0" normalizeH="0" noProof="0" dirty="0" err="1">
                <a:ln w="0"/>
                <a:solidFill>
                  <a:srgbClr val="E7E6E6">
                    <a:lumMod val="1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ource Sans Pro Bold" panose="020B0703030403020204" pitchFamily="34" charset="0"/>
                <a:ea typeface="Source Sans Pro Bold" panose="020B0703030403020204" pitchFamily="34" charset="0"/>
                <a:cs typeface="Roboto Black"/>
                <a:sym typeface="Roboto Black"/>
              </a:rPr>
              <a:t>you</a:t>
            </a:r>
            <a:endParaRPr kumimoji="0" lang="tr-TR" sz="6600" b="0" i="0" u="none" strike="noStrike" kern="0" cap="all" spc="0" normalizeH="0" baseline="0" noProof="0" dirty="0">
              <a:ln w="0"/>
              <a:solidFill>
                <a:srgbClr val="E7E6E6">
                  <a:lumMod val="10000"/>
                </a:srgb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Source Sans Pro Bold" panose="020B0703030403020204" pitchFamily="34" charset="0"/>
              <a:ea typeface="Source Sans Pro Bold" panose="020B0703030403020204" pitchFamily="34" charset="0"/>
              <a:cs typeface="Roboto Black"/>
              <a:sym typeface="Roboto Black"/>
            </a:endParaRPr>
          </a:p>
        </p:txBody>
      </p:sp>
      <p:grpSp>
        <p:nvGrpSpPr>
          <p:cNvPr id="25" name="Group 4"/>
          <p:cNvGrpSpPr>
            <a:grpSpLocks noChangeAspect="1"/>
          </p:cNvGrpSpPr>
          <p:nvPr/>
        </p:nvGrpSpPr>
        <p:grpSpPr bwMode="auto">
          <a:xfrm>
            <a:off x="10285200" y="421200"/>
            <a:ext cx="1554879" cy="540000"/>
            <a:chOff x="2861" y="1820"/>
            <a:chExt cx="1958" cy="680"/>
          </a:xfrm>
        </p:grpSpPr>
        <p:sp>
          <p:nvSpPr>
            <p:cNvPr id="26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61" y="1820"/>
              <a:ext cx="1958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7" name="Freeform 5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8" name="Freeform 6"/>
            <p:cNvSpPr>
              <a:spLocks noEditPoints="1"/>
            </p:cNvSpPr>
            <p:nvPr/>
          </p:nvSpPr>
          <p:spPr bwMode="auto">
            <a:xfrm>
              <a:off x="3819" y="1820"/>
              <a:ext cx="863" cy="680"/>
            </a:xfrm>
            <a:custGeom>
              <a:avLst/>
              <a:gdLst>
                <a:gd name="T0" fmla="*/ 1537 w 1726"/>
                <a:gd name="T1" fmla="*/ 921 h 1360"/>
                <a:gd name="T2" fmla="*/ 1305 w 1726"/>
                <a:gd name="T3" fmla="*/ 921 h 1360"/>
                <a:gd name="T4" fmla="*/ 1305 w 1726"/>
                <a:gd name="T5" fmla="*/ 449 h 1360"/>
                <a:gd name="T6" fmla="*/ 1537 w 1726"/>
                <a:gd name="T7" fmla="*/ 449 h 1360"/>
                <a:gd name="T8" fmla="*/ 843 w 1726"/>
                <a:gd name="T9" fmla="*/ 0 h 1360"/>
                <a:gd name="T10" fmla="*/ 344 w 1726"/>
                <a:gd name="T11" fmla="*/ 449 h 1360"/>
                <a:gd name="T12" fmla="*/ 220 w 1726"/>
                <a:gd name="T13" fmla="*/ 921 h 1360"/>
                <a:gd name="T14" fmla="*/ 25 w 1726"/>
                <a:gd name="T15" fmla="*/ 514 h 1360"/>
                <a:gd name="T16" fmla="*/ 1492 w 1726"/>
                <a:gd name="T17" fmla="*/ 1269 h 1360"/>
                <a:gd name="T18" fmla="*/ 667 w 1726"/>
                <a:gd name="T19" fmla="*/ 514 h 1360"/>
                <a:gd name="T20" fmla="*/ 667 w 1726"/>
                <a:gd name="T21" fmla="*/ 633 h 1360"/>
                <a:gd name="T22" fmla="*/ 479 w 1726"/>
                <a:gd name="T23" fmla="*/ 852 h 1360"/>
                <a:gd name="T24" fmla="*/ 403 w 1726"/>
                <a:gd name="T25" fmla="*/ 921 h 1360"/>
                <a:gd name="T26" fmla="*/ 667 w 1726"/>
                <a:gd name="T27" fmla="*/ 514 h 1360"/>
                <a:gd name="T28" fmla="*/ 1116 w 1726"/>
                <a:gd name="T29" fmla="*/ 551 h 1360"/>
                <a:gd name="T30" fmla="*/ 1064 w 1726"/>
                <a:gd name="T31" fmla="*/ 523 h 1360"/>
                <a:gd name="T32" fmla="*/ 1027 w 1726"/>
                <a:gd name="T33" fmla="*/ 513 h 1360"/>
                <a:gd name="T34" fmla="*/ 988 w 1726"/>
                <a:gd name="T35" fmla="*/ 509 h 1360"/>
                <a:gd name="T36" fmla="*/ 951 w 1726"/>
                <a:gd name="T37" fmla="*/ 512 h 1360"/>
                <a:gd name="T38" fmla="*/ 903 w 1726"/>
                <a:gd name="T39" fmla="*/ 528 h 1360"/>
                <a:gd name="T40" fmla="*/ 861 w 1726"/>
                <a:gd name="T41" fmla="*/ 558 h 1360"/>
                <a:gd name="T42" fmla="*/ 840 w 1726"/>
                <a:gd name="T43" fmla="*/ 585 h 1360"/>
                <a:gd name="T44" fmla="*/ 820 w 1726"/>
                <a:gd name="T45" fmla="*/ 631 h 1360"/>
                <a:gd name="T46" fmla="*/ 814 w 1726"/>
                <a:gd name="T47" fmla="*/ 687 h 1360"/>
                <a:gd name="T48" fmla="*/ 816 w 1726"/>
                <a:gd name="T49" fmla="*/ 724 h 1360"/>
                <a:gd name="T50" fmla="*/ 831 w 1726"/>
                <a:gd name="T51" fmla="*/ 772 h 1360"/>
                <a:gd name="T52" fmla="*/ 861 w 1726"/>
                <a:gd name="T53" fmla="*/ 814 h 1360"/>
                <a:gd name="T54" fmla="*/ 886 w 1726"/>
                <a:gd name="T55" fmla="*/ 835 h 1360"/>
                <a:gd name="T56" fmla="*/ 930 w 1726"/>
                <a:gd name="T57" fmla="*/ 856 h 1360"/>
                <a:gd name="T58" fmla="*/ 980 w 1726"/>
                <a:gd name="T59" fmla="*/ 862 h 1360"/>
                <a:gd name="T60" fmla="*/ 1020 w 1726"/>
                <a:gd name="T61" fmla="*/ 858 h 1360"/>
                <a:gd name="T62" fmla="*/ 1060 w 1726"/>
                <a:gd name="T63" fmla="*/ 847 h 1360"/>
                <a:gd name="T64" fmla="*/ 1096 w 1726"/>
                <a:gd name="T65" fmla="*/ 830 h 1360"/>
                <a:gd name="T66" fmla="*/ 1132 w 1726"/>
                <a:gd name="T67" fmla="*/ 890 h 1360"/>
                <a:gd name="T68" fmla="*/ 1100 w 1726"/>
                <a:gd name="T69" fmla="*/ 908 h 1360"/>
                <a:gd name="T70" fmla="*/ 1065 w 1726"/>
                <a:gd name="T71" fmla="*/ 923 h 1360"/>
                <a:gd name="T72" fmla="*/ 1027 w 1726"/>
                <a:gd name="T73" fmla="*/ 931 h 1360"/>
                <a:gd name="T74" fmla="*/ 986 w 1726"/>
                <a:gd name="T75" fmla="*/ 933 h 1360"/>
                <a:gd name="T76" fmla="*/ 910 w 1726"/>
                <a:gd name="T77" fmla="*/ 923 h 1360"/>
                <a:gd name="T78" fmla="*/ 864 w 1726"/>
                <a:gd name="T79" fmla="*/ 906 h 1360"/>
                <a:gd name="T80" fmla="*/ 805 w 1726"/>
                <a:gd name="T81" fmla="*/ 865 h 1360"/>
                <a:gd name="T82" fmla="*/ 775 w 1726"/>
                <a:gd name="T83" fmla="*/ 827 h 1360"/>
                <a:gd name="T84" fmla="*/ 752 w 1726"/>
                <a:gd name="T85" fmla="*/ 784 h 1360"/>
                <a:gd name="T86" fmla="*/ 735 w 1726"/>
                <a:gd name="T87" fmla="*/ 712 h 1360"/>
                <a:gd name="T88" fmla="*/ 735 w 1726"/>
                <a:gd name="T89" fmla="*/ 661 h 1360"/>
                <a:gd name="T90" fmla="*/ 752 w 1726"/>
                <a:gd name="T91" fmla="*/ 589 h 1360"/>
                <a:gd name="T92" fmla="*/ 775 w 1726"/>
                <a:gd name="T93" fmla="*/ 545 h 1360"/>
                <a:gd name="T94" fmla="*/ 805 w 1726"/>
                <a:gd name="T95" fmla="*/ 508 h 1360"/>
                <a:gd name="T96" fmla="*/ 864 w 1726"/>
                <a:gd name="T97" fmla="*/ 467 h 1360"/>
                <a:gd name="T98" fmla="*/ 910 w 1726"/>
                <a:gd name="T99" fmla="*/ 448 h 1360"/>
                <a:gd name="T100" fmla="*/ 985 w 1726"/>
                <a:gd name="T101" fmla="*/ 438 h 1360"/>
                <a:gd name="T102" fmla="*/ 1025 w 1726"/>
                <a:gd name="T103" fmla="*/ 442 h 1360"/>
                <a:gd name="T104" fmla="*/ 1064 w 1726"/>
                <a:gd name="T105" fmla="*/ 450 h 1360"/>
                <a:gd name="T106" fmla="*/ 1101 w 1726"/>
                <a:gd name="T107" fmla="*/ 465 h 1360"/>
                <a:gd name="T108" fmla="*/ 1132 w 1726"/>
                <a:gd name="T109" fmla="*/ 564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6" h="1360">
                  <a:moveTo>
                    <a:pt x="1613" y="473"/>
                  </a:moveTo>
                  <a:lnTo>
                    <a:pt x="1613" y="921"/>
                  </a:lnTo>
                  <a:lnTo>
                    <a:pt x="1537" y="921"/>
                  </a:lnTo>
                  <a:lnTo>
                    <a:pt x="1537" y="692"/>
                  </a:lnTo>
                  <a:lnTo>
                    <a:pt x="1305" y="692"/>
                  </a:lnTo>
                  <a:lnTo>
                    <a:pt x="1305" y="921"/>
                  </a:lnTo>
                  <a:lnTo>
                    <a:pt x="1227" y="921"/>
                  </a:lnTo>
                  <a:lnTo>
                    <a:pt x="1227" y="449"/>
                  </a:lnTo>
                  <a:lnTo>
                    <a:pt x="1305" y="449"/>
                  </a:lnTo>
                  <a:lnTo>
                    <a:pt x="1305" y="624"/>
                  </a:lnTo>
                  <a:lnTo>
                    <a:pt x="1537" y="624"/>
                  </a:lnTo>
                  <a:lnTo>
                    <a:pt x="1537" y="449"/>
                  </a:lnTo>
                  <a:lnTo>
                    <a:pt x="1597" y="449"/>
                  </a:lnTo>
                  <a:lnTo>
                    <a:pt x="1375" y="122"/>
                  </a:lnTo>
                  <a:lnTo>
                    <a:pt x="843" y="0"/>
                  </a:lnTo>
                  <a:lnTo>
                    <a:pt x="0" y="332"/>
                  </a:lnTo>
                  <a:lnTo>
                    <a:pt x="16" y="449"/>
                  </a:lnTo>
                  <a:lnTo>
                    <a:pt x="344" y="449"/>
                  </a:lnTo>
                  <a:lnTo>
                    <a:pt x="344" y="514"/>
                  </a:lnTo>
                  <a:lnTo>
                    <a:pt x="220" y="514"/>
                  </a:lnTo>
                  <a:lnTo>
                    <a:pt x="220" y="921"/>
                  </a:lnTo>
                  <a:lnTo>
                    <a:pt x="143" y="921"/>
                  </a:lnTo>
                  <a:lnTo>
                    <a:pt x="143" y="514"/>
                  </a:lnTo>
                  <a:lnTo>
                    <a:pt x="25" y="514"/>
                  </a:lnTo>
                  <a:lnTo>
                    <a:pt x="100" y="1066"/>
                  </a:lnTo>
                  <a:lnTo>
                    <a:pt x="469" y="1360"/>
                  </a:lnTo>
                  <a:lnTo>
                    <a:pt x="1492" y="1269"/>
                  </a:lnTo>
                  <a:lnTo>
                    <a:pt x="1726" y="636"/>
                  </a:lnTo>
                  <a:lnTo>
                    <a:pt x="1613" y="473"/>
                  </a:lnTo>
                  <a:close/>
                  <a:moveTo>
                    <a:pt x="667" y="514"/>
                  </a:moveTo>
                  <a:lnTo>
                    <a:pt x="479" y="514"/>
                  </a:lnTo>
                  <a:lnTo>
                    <a:pt x="479" y="633"/>
                  </a:lnTo>
                  <a:lnTo>
                    <a:pt x="667" y="633"/>
                  </a:lnTo>
                  <a:lnTo>
                    <a:pt x="667" y="700"/>
                  </a:lnTo>
                  <a:lnTo>
                    <a:pt x="479" y="700"/>
                  </a:lnTo>
                  <a:lnTo>
                    <a:pt x="479" y="852"/>
                  </a:lnTo>
                  <a:lnTo>
                    <a:pt x="667" y="852"/>
                  </a:lnTo>
                  <a:lnTo>
                    <a:pt x="667" y="921"/>
                  </a:lnTo>
                  <a:lnTo>
                    <a:pt x="403" y="921"/>
                  </a:lnTo>
                  <a:lnTo>
                    <a:pt x="403" y="449"/>
                  </a:lnTo>
                  <a:lnTo>
                    <a:pt x="667" y="449"/>
                  </a:lnTo>
                  <a:lnTo>
                    <a:pt x="667" y="514"/>
                  </a:lnTo>
                  <a:close/>
                  <a:moveTo>
                    <a:pt x="1132" y="564"/>
                  </a:moveTo>
                  <a:lnTo>
                    <a:pt x="1132" y="564"/>
                  </a:lnTo>
                  <a:lnTo>
                    <a:pt x="1116" y="551"/>
                  </a:lnTo>
                  <a:lnTo>
                    <a:pt x="1100" y="540"/>
                  </a:lnTo>
                  <a:lnTo>
                    <a:pt x="1082" y="530"/>
                  </a:lnTo>
                  <a:lnTo>
                    <a:pt x="1064" y="523"/>
                  </a:lnTo>
                  <a:lnTo>
                    <a:pt x="1064" y="523"/>
                  </a:lnTo>
                  <a:lnTo>
                    <a:pt x="1046" y="517"/>
                  </a:lnTo>
                  <a:lnTo>
                    <a:pt x="1027" y="513"/>
                  </a:lnTo>
                  <a:lnTo>
                    <a:pt x="1027" y="513"/>
                  </a:lnTo>
                  <a:lnTo>
                    <a:pt x="1008" y="509"/>
                  </a:lnTo>
                  <a:lnTo>
                    <a:pt x="988" y="509"/>
                  </a:lnTo>
                  <a:lnTo>
                    <a:pt x="988" y="509"/>
                  </a:lnTo>
                  <a:lnTo>
                    <a:pt x="969" y="509"/>
                  </a:lnTo>
                  <a:lnTo>
                    <a:pt x="951" y="512"/>
                  </a:lnTo>
                  <a:lnTo>
                    <a:pt x="934" y="515"/>
                  </a:lnTo>
                  <a:lnTo>
                    <a:pt x="918" y="522"/>
                  </a:lnTo>
                  <a:lnTo>
                    <a:pt x="903" y="528"/>
                  </a:lnTo>
                  <a:lnTo>
                    <a:pt x="888" y="537"/>
                  </a:lnTo>
                  <a:lnTo>
                    <a:pt x="875" y="546"/>
                  </a:lnTo>
                  <a:lnTo>
                    <a:pt x="861" y="558"/>
                  </a:lnTo>
                  <a:lnTo>
                    <a:pt x="861" y="558"/>
                  </a:lnTo>
                  <a:lnTo>
                    <a:pt x="850" y="571"/>
                  </a:lnTo>
                  <a:lnTo>
                    <a:pt x="840" y="585"/>
                  </a:lnTo>
                  <a:lnTo>
                    <a:pt x="833" y="599"/>
                  </a:lnTo>
                  <a:lnTo>
                    <a:pt x="825" y="615"/>
                  </a:lnTo>
                  <a:lnTo>
                    <a:pt x="820" y="631"/>
                  </a:lnTo>
                  <a:lnTo>
                    <a:pt x="816" y="649"/>
                  </a:lnTo>
                  <a:lnTo>
                    <a:pt x="814" y="668"/>
                  </a:lnTo>
                  <a:lnTo>
                    <a:pt x="814" y="687"/>
                  </a:lnTo>
                  <a:lnTo>
                    <a:pt x="814" y="687"/>
                  </a:lnTo>
                  <a:lnTo>
                    <a:pt x="814" y="706"/>
                  </a:lnTo>
                  <a:lnTo>
                    <a:pt x="816" y="724"/>
                  </a:lnTo>
                  <a:lnTo>
                    <a:pt x="820" y="741"/>
                  </a:lnTo>
                  <a:lnTo>
                    <a:pt x="825" y="757"/>
                  </a:lnTo>
                  <a:lnTo>
                    <a:pt x="831" y="772"/>
                  </a:lnTo>
                  <a:lnTo>
                    <a:pt x="840" y="786"/>
                  </a:lnTo>
                  <a:lnTo>
                    <a:pt x="850" y="800"/>
                  </a:lnTo>
                  <a:lnTo>
                    <a:pt x="861" y="814"/>
                  </a:lnTo>
                  <a:lnTo>
                    <a:pt x="861" y="814"/>
                  </a:lnTo>
                  <a:lnTo>
                    <a:pt x="873" y="825"/>
                  </a:lnTo>
                  <a:lnTo>
                    <a:pt x="886" y="835"/>
                  </a:lnTo>
                  <a:lnTo>
                    <a:pt x="900" y="843"/>
                  </a:lnTo>
                  <a:lnTo>
                    <a:pt x="914" y="850"/>
                  </a:lnTo>
                  <a:lnTo>
                    <a:pt x="930" y="856"/>
                  </a:lnTo>
                  <a:lnTo>
                    <a:pt x="945" y="860"/>
                  </a:lnTo>
                  <a:lnTo>
                    <a:pt x="963" y="862"/>
                  </a:lnTo>
                  <a:lnTo>
                    <a:pt x="980" y="862"/>
                  </a:lnTo>
                  <a:lnTo>
                    <a:pt x="980" y="862"/>
                  </a:lnTo>
                  <a:lnTo>
                    <a:pt x="1000" y="862"/>
                  </a:lnTo>
                  <a:lnTo>
                    <a:pt x="1020" y="858"/>
                  </a:lnTo>
                  <a:lnTo>
                    <a:pt x="1020" y="858"/>
                  </a:lnTo>
                  <a:lnTo>
                    <a:pt x="1040" y="855"/>
                  </a:lnTo>
                  <a:lnTo>
                    <a:pt x="1060" y="847"/>
                  </a:lnTo>
                  <a:lnTo>
                    <a:pt x="1060" y="847"/>
                  </a:lnTo>
                  <a:lnTo>
                    <a:pt x="1077" y="840"/>
                  </a:lnTo>
                  <a:lnTo>
                    <a:pt x="1096" y="830"/>
                  </a:lnTo>
                  <a:lnTo>
                    <a:pt x="1115" y="817"/>
                  </a:lnTo>
                  <a:lnTo>
                    <a:pt x="1132" y="802"/>
                  </a:lnTo>
                  <a:lnTo>
                    <a:pt x="1132" y="890"/>
                  </a:lnTo>
                  <a:lnTo>
                    <a:pt x="1132" y="890"/>
                  </a:lnTo>
                  <a:lnTo>
                    <a:pt x="1116" y="900"/>
                  </a:lnTo>
                  <a:lnTo>
                    <a:pt x="1100" y="908"/>
                  </a:lnTo>
                  <a:lnTo>
                    <a:pt x="1082" y="917"/>
                  </a:lnTo>
                  <a:lnTo>
                    <a:pt x="1065" y="923"/>
                  </a:lnTo>
                  <a:lnTo>
                    <a:pt x="1065" y="923"/>
                  </a:lnTo>
                  <a:lnTo>
                    <a:pt x="1046" y="927"/>
                  </a:lnTo>
                  <a:lnTo>
                    <a:pt x="1027" y="931"/>
                  </a:lnTo>
                  <a:lnTo>
                    <a:pt x="1027" y="931"/>
                  </a:lnTo>
                  <a:lnTo>
                    <a:pt x="1006" y="933"/>
                  </a:lnTo>
                  <a:lnTo>
                    <a:pt x="986" y="933"/>
                  </a:lnTo>
                  <a:lnTo>
                    <a:pt x="986" y="933"/>
                  </a:lnTo>
                  <a:lnTo>
                    <a:pt x="959" y="932"/>
                  </a:lnTo>
                  <a:lnTo>
                    <a:pt x="934" y="930"/>
                  </a:lnTo>
                  <a:lnTo>
                    <a:pt x="910" y="923"/>
                  </a:lnTo>
                  <a:lnTo>
                    <a:pt x="886" y="916"/>
                  </a:lnTo>
                  <a:lnTo>
                    <a:pt x="886" y="916"/>
                  </a:lnTo>
                  <a:lnTo>
                    <a:pt x="864" y="906"/>
                  </a:lnTo>
                  <a:lnTo>
                    <a:pt x="843" y="895"/>
                  </a:lnTo>
                  <a:lnTo>
                    <a:pt x="824" y="881"/>
                  </a:lnTo>
                  <a:lnTo>
                    <a:pt x="805" y="865"/>
                  </a:lnTo>
                  <a:lnTo>
                    <a:pt x="805" y="865"/>
                  </a:lnTo>
                  <a:lnTo>
                    <a:pt x="789" y="846"/>
                  </a:lnTo>
                  <a:lnTo>
                    <a:pt x="775" y="827"/>
                  </a:lnTo>
                  <a:lnTo>
                    <a:pt x="763" y="806"/>
                  </a:lnTo>
                  <a:lnTo>
                    <a:pt x="752" y="784"/>
                  </a:lnTo>
                  <a:lnTo>
                    <a:pt x="752" y="784"/>
                  </a:lnTo>
                  <a:lnTo>
                    <a:pt x="744" y="761"/>
                  </a:lnTo>
                  <a:lnTo>
                    <a:pt x="738" y="736"/>
                  </a:lnTo>
                  <a:lnTo>
                    <a:pt x="735" y="712"/>
                  </a:lnTo>
                  <a:lnTo>
                    <a:pt x="734" y="686"/>
                  </a:lnTo>
                  <a:lnTo>
                    <a:pt x="734" y="686"/>
                  </a:lnTo>
                  <a:lnTo>
                    <a:pt x="735" y="661"/>
                  </a:lnTo>
                  <a:lnTo>
                    <a:pt x="738" y="636"/>
                  </a:lnTo>
                  <a:lnTo>
                    <a:pt x="744" y="613"/>
                  </a:lnTo>
                  <a:lnTo>
                    <a:pt x="752" y="589"/>
                  </a:lnTo>
                  <a:lnTo>
                    <a:pt x="752" y="589"/>
                  </a:lnTo>
                  <a:lnTo>
                    <a:pt x="763" y="566"/>
                  </a:lnTo>
                  <a:lnTo>
                    <a:pt x="775" y="545"/>
                  </a:lnTo>
                  <a:lnTo>
                    <a:pt x="789" y="527"/>
                  </a:lnTo>
                  <a:lnTo>
                    <a:pt x="805" y="508"/>
                  </a:lnTo>
                  <a:lnTo>
                    <a:pt x="805" y="508"/>
                  </a:lnTo>
                  <a:lnTo>
                    <a:pt x="824" y="492"/>
                  </a:lnTo>
                  <a:lnTo>
                    <a:pt x="843" y="478"/>
                  </a:lnTo>
                  <a:lnTo>
                    <a:pt x="864" y="467"/>
                  </a:lnTo>
                  <a:lnTo>
                    <a:pt x="886" y="457"/>
                  </a:lnTo>
                  <a:lnTo>
                    <a:pt x="886" y="457"/>
                  </a:lnTo>
                  <a:lnTo>
                    <a:pt x="910" y="448"/>
                  </a:lnTo>
                  <a:lnTo>
                    <a:pt x="934" y="443"/>
                  </a:lnTo>
                  <a:lnTo>
                    <a:pt x="959" y="439"/>
                  </a:lnTo>
                  <a:lnTo>
                    <a:pt x="985" y="438"/>
                  </a:lnTo>
                  <a:lnTo>
                    <a:pt x="985" y="438"/>
                  </a:lnTo>
                  <a:lnTo>
                    <a:pt x="1005" y="439"/>
                  </a:lnTo>
                  <a:lnTo>
                    <a:pt x="1025" y="442"/>
                  </a:lnTo>
                  <a:lnTo>
                    <a:pt x="1025" y="442"/>
                  </a:lnTo>
                  <a:lnTo>
                    <a:pt x="1045" y="445"/>
                  </a:lnTo>
                  <a:lnTo>
                    <a:pt x="1064" y="450"/>
                  </a:lnTo>
                  <a:lnTo>
                    <a:pt x="1064" y="450"/>
                  </a:lnTo>
                  <a:lnTo>
                    <a:pt x="1082" y="457"/>
                  </a:lnTo>
                  <a:lnTo>
                    <a:pt x="1101" y="465"/>
                  </a:lnTo>
                  <a:lnTo>
                    <a:pt x="1120" y="475"/>
                  </a:lnTo>
                  <a:lnTo>
                    <a:pt x="1137" y="487"/>
                  </a:lnTo>
                  <a:lnTo>
                    <a:pt x="1132" y="5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2861" y="2035"/>
              <a:ext cx="216" cy="245"/>
            </a:xfrm>
            <a:custGeom>
              <a:avLst/>
              <a:gdLst>
                <a:gd name="T0" fmla="*/ 81 w 432"/>
                <a:gd name="T1" fmla="*/ 491 h 491"/>
                <a:gd name="T2" fmla="*/ 0 w 432"/>
                <a:gd name="T3" fmla="*/ 491 h 491"/>
                <a:gd name="T4" fmla="*/ 216 w 432"/>
                <a:gd name="T5" fmla="*/ 0 h 491"/>
                <a:gd name="T6" fmla="*/ 432 w 432"/>
                <a:gd name="T7" fmla="*/ 491 h 491"/>
                <a:gd name="T8" fmla="*/ 352 w 432"/>
                <a:gd name="T9" fmla="*/ 491 h 491"/>
                <a:gd name="T10" fmla="*/ 217 w 432"/>
                <a:gd name="T11" fmla="*/ 160 h 491"/>
                <a:gd name="T12" fmla="*/ 81 w 432"/>
                <a:gd name="T1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" h="491">
                  <a:moveTo>
                    <a:pt x="81" y="491"/>
                  </a:moveTo>
                  <a:lnTo>
                    <a:pt x="0" y="491"/>
                  </a:lnTo>
                  <a:lnTo>
                    <a:pt x="216" y="0"/>
                  </a:lnTo>
                  <a:lnTo>
                    <a:pt x="432" y="491"/>
                  </a:lnTo>
                  <a:lnTo>
                    <a:pt x="352" y="491"/>
                  </a:lnTo>
                  <a:lnTo>
                    <a:pt x="217" y="160"/>
                  </a:lnTo>
                  <a:lnTo>
                    <a:pt x="81" y="4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0" name="Freeform 8"/>
            <p:cNvSpPr>
              <a:spLocks noEditPoints="1"/>
            </p:cNvSpPr>
            <p:nvPr/>
          </p:nvSpPr>
          <p:spPr bwMode="auto">
            <a:xfrm>
              <a:off x="3100" y="2045"/>
              <a:ext cx="162" cy="235"/>
            </a:xfrm>
            <a:custGeom>
              <a:avLst/>
              <a:gdLst>
                <a:gd name="T0" fmla="*/ 72 w 325"/>
                <a:gd name="T1" fmla="*/ 472 h 472"/>
                <a:gd name="T2" fmla="*/ 0 w 325"/>
                <a:gd name="T3" fmla="*/ 0 h 472"/>
                <a:gd name="T4" fmla="*/ 107 w 325"/>
                <a:gd name="T5" fmla="*/ 0 h 472"/>
                <a:gd name="T6" fmla="*/ 149 w 325"/>
                <a:gd name="T7" fmla="*/ 1 h 472"/>
                <a:gd name="T8" fmla="*/ 180 w 325"/>
                <a:gd name="T9" fmla="*/ 6 h 472"/>
                <a:gd name="T10" fmla="*/ 192 w 325"/>
                <a:gd name="T11" fmla="*/ 10 h 472"/>
                <a:gd name="T12" fmla="*/ 215 w 325"/>
                <a:gd name="T13" fmla="*/ 20 h 472"/>
                <a:gd name="T14" fmla="*/ 225 w 325"/>
                <a:gd name="T15" fmla="*/ 26 h 472"/>
                <a:gd name="T16" fmla="*/ 244 w 325"/>
                <a:gd name="T17" fmla="*/ 46 h 472"/>
                <a:gd name="T18" fmla="*/ 258 w 325"/>
                <a:gd name="T19" fmla="*/ 71 h 472"/>
                <a:gd name="T20" fmla="*/ 263 w 325"/>
                <a:gd name="T21" fmla="*/ 85 h 472"/>
                <a:gd name="T22" fmla="*/ 267 w 325"/>
                <a:gd name="T23" fmla="*/ 99 h 472"/>
                <a:gd name="T24" fmla="*/ 270 w 325"/>
                <a:gd name="T25" fmla="*/ 130 h 472"/>
                <a:gd name="T26" fmla="*/ 270 w 325"/>
                <a:gd name="T27" fmla="*/ 144 h 472"/>
                <a:gd name="T28" fmla="*/ 266 w 325"/>
                <a:gd name="T29" fmla="*/ 169 h 472"/>
                <a:gd name="T30" fmla="*/ 260 w 325"/>
                <a:gd name="T31" fmla="*/ 191 h 472"/>
                <a:gd name="T32" fmla="*/ 250 w 325"/>
                <a:gd name="T33" fmla="*/ 210 h 472"/>
                <a:gd name="T34" fmla="*/ 244 w 325"/>
                <a:gd name="T35" fmla="*/ 219 h 472"/>
                <a:gd name="T36" fmla="*/ 227 w 325"/>
                <a:gd name="T37" fmla="*/ 233 h 472"/>
                <a:gd name="T38" fmla="*/ 210 w 325"/>
                <a:gd name="T39" fmla="*/ 245 h 472"/>
                <a:gd name="T40" fmla="*/ 187 w 325"/>
                <a:gd name="T41" fmla="*/ 252 h 472"/>
                <a:gd name="T42" fmla="*/ 162 w 325"/>
                <a:gd name="T43" fmla="*/ 257 h 472"/>
                <a:gd name="T44" fmla="*/ 237 w 325"/>
                <a:gd name="T45" fmla="*/ 472 h 472"/>
                <a:gd name="T46" fmla="*/ 72 w 325"/>
                <a:gd name="T47" fmla="*/ 261 h 472"/>
                <a:gd name="T48" fmla="*/ 91 w 325"/>
                <a:gd name="T49" fmla="*/ 201 h 472"/>
                <a:gd name="T50" fmla="*/ 119 w 325"/>
                <a:gd name="T51" fmla="*/ 201 h 472"/>
                <a:gd name="T52" fmla="*/ 159 w 325"/>
                <a:gd name="T53" fmla="*/ 194 h 472"/>
                <a:gd name="T54" fmla="*/ 171 w 325"/>
                <a:gd name="T55" fmla="*/ 187 h 472"/>
                <a:gd name="T56" fmla="*/ 176 w 325"/>
                <a:gd name="T57" fmla="*/ 184 h 472"/>
                <a:gd name="T58" fmla="*/ 184 w 325"/>
                <a:gd name="T59" fmla="*/ 174 h 472"/>
                <a:gd name="T60" fmla="*/ 189 w 325"/>
                <a:gd name="T61" fmla="*/ 161 h 472"/>
                <a:gd name="T62" fmla="*/ 191 w 325"/>
                <a:gd name="T63" fmla="*/ 137 h 472"/>
                <a:gd name="T64" fmla="*/ 190 w 325"/>
                <a:gd name="T65" fmla="*/ 119 h 472"/>
                <a:gd name="T66" fmla="*/ 186 w 325"/>
                <a:gd name="T67" fmla="*/ 104 h 472"/>
                <a:gd name="T68" fmla="*/ 180 w 325"/>
                <a:gd name="T69" fmla="*/ 93 h 472"/>
                <a:gd name="T70" fmla="*/ 170 w 325"/>
                <a:gd name="T71" fmla="*/ 83 h 472"/>
                <a:gd name="T72" fmla="*/ 164 w 325"/>
                <a:gd name="T73" fmla="*/ 79 h 472"/>
                <a:gd name="T74" fmla="*/ 149 w 325"/>
                <a:gd name="T75" fmla="*/ 73 h 472"/>
                <a:gd name="T76" fmla="*/ 117 w 325"/>
                <a:gd name="T77" fmla="*/ 68 h 472"/>
                <a:gd name="T78" fmla="*/ 77 w 325"/>
                <a:gd name="T79" fmla="*/ 6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472">
                  <a:moveTo>
                    <a:pt x="72" y="261"/>
                  </a:moveTo>
                  <a:lnTo>
                    <a:pt x="72" y="472"/>
                  </a:lnTo>
                  <a:lnTo>
                    <a:pt x="0" y="472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30" y="1"/>
                  </a:lnTo>
                  <a:lnTo>
                    <a:pt x="149" y="1"/>
                  </a:lnTo>
                  <a:lnTo>
                    <a:pt x="166" y="4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92" y="10"/>
                  </a:lnTo>
                  <a:lnTo>
                    <a:pt x="205" y="14"/>
                  </a:lnTo>
                  <a:lnTo>
                    <a:pt x="215" y="20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35" y="36"/>
                  </a:lnTo>
                  <a:lnTo>
                    <a:pt x="244" y="46"/>
                  </a:lnTo>
                  <a:lnTo>
                    <a:pt x="252" y="5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63" y="85"/>
                  </a:lnTo>
                  <a:lnTo>
                    <a:pt x="267" y="99"/>
                  </a:lnTo>
                  <a:lnTo>
                    <a:pt x="267" y="99"/>
                  </a:lnTo>
                  <a:lnTo>
                    <a:pt x="270" y="115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0" y="144"/>
                  </a:lnTo>
                  <a:lnTo>
                    <a:pt x="268" y="157"/>
                  </a:lnTo>
                  <a:lnTo>
                    <a:pt x="266" y="169"/>
                  </a:lnTo>
                  <a:lnTo>
                    <a:pt x="263" y="181"/>
                  </a:lnTo>
                  <a:lnTo>
                    <a:pt x="260" y="191"/>
                  </a:lnTo>
                  <a:lnTo>
                    <a:pt x="255" y="201"/>
                  </a:lnTo>
                  <a:lnTo>
                    <a:pt x="250" y="210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36" y="226"/>
                  </a:lnTo>
                  <a:lnTo>
                    <a:pt x="227" y="233"/>
                  </a:lnTo>
                  <a:lnTo>
                    <a:pt x="219" y="240"/>
                  </a:lnTo>
                  <a:lnTo>
                    <a:pt x="210" y="245"/>
                  </a:lnTo>
                  <a:lnTo>
                    <a:pt x="199" y="248"/>
                  </a:lnTo>
                  <a:lnTo>
                    <a:pt x="187" y="252"/>
                  </a:lnTo>
                  <a:lnTo>
                    <a:pt x="175" y="255"/>
                  </a:lnTo>
                  <a:lnTo>
                    <a:pt x="162" y="257"/>
                  </a:lnTo>
                  <a:lnTo>
                    <a:pt x="325" y="472"/>
                  </a:lnTo>
                  <a:lnTo>
                    <a:pt x="237" y="472"/>
                  </a:lnTo>
                  <a:lnTo>
                    <a:pt x="81" y="261"/>
                  </a:lnTo>
                  <a:lnTo>
                    <a:pt x="72" y="261"/>
                  </a:lnTo>
                  <a:close/>
                  <a:moveTo>
                    <a:pt x="77" y="201"/>
                  </a:moveTo>
                  <a:lnTo>
                    <a:pt x="91" y="201"/>
                  </a:lnTo>
                  <a:lnTo>
                    <a:pt x="91" y="201"/>
                  </a:lnTo>
                  <a:lnTo>
                    <a:pt x="119" y="201"/>
                  </a:lnTo>
                  <a:lnTo>
                    <a:pt x="141" y="197"/>
                  </a:lnTo>
                  <a:lnTo>
                    <a:pt x="159" y="194"/>
                  </a:lnTo>
                  <a:lnTo>
                    <a:pt x="166" y="191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6" y="184"/>
                  </a:lnTo>
                  <a:lnTo>
                    <a:pt x="180" y="179"/>
                  </a:lnTo>
                  <a:lnTo>
                    <a:pt x="184" y="174"/>
                  </a:lnTo>
                  <a:lnTo>
                    <a:pt x="186" y="167"/>
                  </a:lnTo>
                  <a:lnTo>
                    <a:pt x="189" y="161"/>
                  </a:lnTo>
                  <a:lnTo>
                    <a:pt x="190" y="154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0" y="119"/>
                  </a:lnTo>
                  <a:lnTo>
                    <a:pt x="189" y="111"/>
                  </a:lnTo>
                  <a:lnTo>
                    <a:pt x="186" y="104"/>
                  </a:lnTo>
                  <a:lnTo>
                    <a:pt x="184" y="97"/>
                  </a:lnTo>
                  <a:lnTo>
                    <a:pt x="180" y="93"/>
                  </a:lnTo>
                  <a:lnTo>
                    <a:pt x="175" y="86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79"/>
                  </a:lnTo>
                  <a:lnTo>
                    <a:pt x="157" y="75"/>
                  </a:lnTo>
                  <a:lnTo>
                    <a:pt x="149" y="73"/>
                  </a:lnTo>
                  <a:lnTo>
                    <a:pt x="140" y="70"/>
                  </a:lnTo>
                  <a:lnTo>
                    <a:pt x="117" y="68"/>
                  </a:lnTo>
                  <a:lnTo>
                    <a:pt x="91" y="66"/>
                  </a:lnTo>
                  <a:lnTo>
                    <a:pt x="77" y="66"/>
                  </a:lnTo>
                  <a:lnTo>
                    <a:pt x="77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1" name="Freeform 9"/>
            <p:cNvSpPr>
              <a:spLocks/>
            </p:cNvSpPr>
            <p:nvPr/>
          </p:nvSpPr>
          <p:spPr bwMode="auto">
            <a:xfrm>
              <a:off x="3268" y="2039"/>
              <a:ext cx="202" cy="248"/>
            </a:xfrm>
            <a:custGeom>
              <a:avLst/>
              <a:gdLst>
                <a:gd name="T0" fmla="*/ 400 w 404"/>
                <a:gd name="T1" fmla="*/ 126 h 495"/>
                <a:gd name="T2" fmla="*/ 366 w 404"/>
                <a:gd name="T3" fmla="*/ 102 h 495"/>
                <a:gd name="T4" fmla="*/ 330 w 404"/>
                <a:gd name="T5" fmla="*/ 85 h 495"/>
                <a:gd name="T6" fmla="*/ 312 w 404"/>
                <a:gd name="T7" fmla="*/ 79 h 495"/>
                <a:gd name="T8" fmla="*/ 294 w 404"/>
                <a:gd name="T9" fmla="*/ 75 h 495"/>
                <a:gd name="T10" fmla="*/ 254 w 404"/>
                <a:gd name="T11" fmla="*/ 71 h 495"/>
                <a:gd name="T12" fmla="*/ 235 w 404"/>
                <a:gd name="T13" fmla="*/ 71 h 495"/>
                <a:gd name="T14" fmla="*/ 200 w 404"/>
                <a:gd name="T15" fmla="*/ 77 h 495"/>
                <a:gd name="T16" fmla="*/ 169 w 404"/>
                <a:gd name="T17" fmla="*/ 90 h 495"/>
                <a:gd name="T18" fmla="*/ 141 w 404"/>
                <a:gd name="T19" fmla="*/ 108 h 495"/>
                <a:gd name="T20" fmla="*/ 129 w 404"/>
                <a:gd name="T21" fmla="*/ 120 h 495"/>
                <a:gd name="T22" fmla="*/ 108 w 404"/>
                <a:gd name="T23" fmla="*/ 147 h 495"/>
                <a:gd name="T24" fmla="*/ 93 w 404"/>
                <a:gd name="T25" fmla="*/ 177 h 495"/>
                <a:gd name="T26" fmla="*/ 83 w 404"/>
                <a:gd name="T27" fmla="*/ 211 h 495"/>
                <a:gd name="T28" fmla="*/ 80 w 404"/>
                <a:gd name="T29" fmla="*/ 249 h 495"/>
                <a:gd name="T30" fmla="*/ 80 w 404"/>
                <a:gd name="T31" fmla="*/ 268 h 495"/>
                <a:gd name="T32" fmla="*/ 86 w 404"/>
                <a:gd name="T33" fmla="*/ 303 h 495"/>
                <a:gd name="T34" fmla="*/ 99 w 404"/>
                <a:gd name="T35" fmla="*/ 334 h 495"/>
                <a:gd name="T36" fmla="*/ 116 w 404"/>
                <a:gd name="T37" fmla="*/ 362 h 495"/>
                <a:gd name="T38" fmla="*/ 128 w 404"/>
                <a:gd name="T39" fmla="*/ 376 h 495"/>
                <a:gd name="T40" fmla="*/ 153 w 404"/>
                <a:gd name="T41" fmla="*/ 397 h 495"/>
                <a:gd name="T42" fmla="*/ 181 w 404"/>
                <a:gd name="T43" fmla="*/ 412 h 495"/>
                <a:gd name="T44" fmla="*/ 212 w 404"/>
                <a:gd name="T45" fmla="*/ 422 h 495"/>
                <a:gd name="T46" fmla="*/ 246 w 404"/>
                <a:gd name="T47" fmla="*/ 424 h 495"/>
                <a:gd name="T48" fmla="*/ 267 w 404"/>
                <a:gd name="T49" fmla="*/ 424 h 495"/>
                <a:gd name="T50" fmla="*/ 286 w 404"/>
                <a:gd name="T51" fmla="*/ 420 h 495"/>
                <a:gd name="T52" fmla="*/ 326 w 404"/>
                <a:gd name="T53" fmla="*/ 409 h 495"/>
                <a:gd name="T54" fmla="*/ 345 w 404"/>
                <a:gd name="T55" fmla="*/ 402 h 495"/>
                <a:gd name="T56" fmla="*/ 381 w 404"/>
                <a:gd name="T57" fmla="*/ 379 h 495"/>
                <a:gd name="T58" fmla="*/ 399 w 404"/>
                <a:gd name="T59" fmla="*/ 452 h 495"/>
                <a:gd name="T60" fmla="*/ 382 w 404"/>
                <a:gd name="T61" fmla="*/ 462 h 495"/>
                <a:gd name="T62" fmla="*/ 349 w 404"/>
                <a:gd name="T63" fmla="*/ 479 h 495"/>
                <a:gd name="T64" fmla="*/ 331 w 404"/>
                <a:gd name="T65" fmla="*/ 485 h 495"/>
                <a:gd name="T66" fmla="*/ 294 w 404"/>
                <a:gd name="T67" fmla="*/ 493 h 495"/>
                <a:gd name="T68" fmla="*/ 274 w 404"/>
                <a:gd name="T69" fmla="*/ 495 h 495"/>
                <a:gd name="T70" fmla="*/ 252 w 404"/>
                <a:gd name="T71" fmla="*/ 495 h 495"/>
                <a:gd name="T72" fmla="*/ 200 w 404"/>
                <a:gd name="T73" fmla="*/ 492 h 495"/>
                <a:gd name="T74" fmla="*/ 153 w 404"/>
                <a:gd name="T75" fmla="*/ 478 h 495"/>
                <a:gd name="T76" fmla="*/ 130 w 404"/>
                <a:gd name="T77" fmla="*/ 468 h 495"/>
                <a:gd name="T78" fmla="*/ 90 w 404"/>
                <a:gd name="T79" fmla="*/ 443 h 495"/>
                <a:gd name="T80" fmla="*/ 73 w 404"/>
                <a:gd name="T81" fmla="*/ 427 h 495"/>
                <a:gd name="T82" fmla="*/ 41 w 404"/>
                <a:gd name="T83" fmla="*/ 389 h 495"/>
                <a:gd name="T84" fmla="*/ 19 w 404"/>
                <a:gd name="T85" fmla="*/ 346 h 495"/>
                <a:gd name="T86" fmla="*/ 10 w 404"/>
                <a:gd name="T87" fmla="*/ 323 h 495"/>
                <a:gd name="T88" fmla="*/ 1 w 404"/>
                <a:gd name="T89" fmla="*/ 274 h 495"/>
                <a:gd name="T90" fmla="*/ 0 w 404"/>
                <a:gd name="T91" fmla="*/ 248 h 495"/>
                <a:gd name="T92" fmla="*/ 5 w 404"/>
                <a:gd name="T93" fmla="*/ 198 h 495"/>
                <a:gd name="T94" fmla="*/ 19 w 404"/>
                <a:gd name="T95" fmla="*/ 151 h 495"/>
                <a:gd name="T96" fmla="*/ 29 w 404"/>
                <a:gd name="T97" fmla="*/ 128 h 495"/>
                <a:gd name="T98" fmla="*/ 55 w 404"/>
                <a:gd name="T99" fmla="*/ 89 h 495"/>
                <a:gd name="T100" fmla="*/ 73 w 404"/>
                <a:gd name="T101" fmla="*/ 70 h 495"/>
                <a:gd name="T102" fmla="*/ 110 w 404"/>
                <a:gd name="T103" fmla="*/ 40 h 495"/>
                <a:gd name="T104" fmla="*/ 153 w 404"/>
                <a:gd name="T105" fmla="*/ 19 h 495"/>
                <a:gd name="T106" fmla="*/ 176 w 404"/>
                <a:gd name="T107" fmla="*/ 10 h 495"/>
                <a:gd name="T108" fmla="*/ 225 w 404"/>
                <a:gd name="T109" fmla="*/ 1 h 495"/>
                <a:gd name="T110" fmla="*/ 251 w 404"/>
                <a:gd name="T111" fmla="*/ 0 h 495"/>
                <a:gd name="T112" fmla="*/ 291 w 404"/>
                <a:gd name="T113" fmla="*/ 4 h 495"/>
                <a:gd name="T114" fmla="*/ 311 w 404"/>
                <a:gd name="T115" fmla="*/ 7 h 495"/>
                <a:gd name="T116" fmla="*/ 330 w 404"/>
                <a:gd name="T117" fmla="*/ 12 h 495"/>
                <a:gd name="T118" fmla="*/ 367 w 404"/>
                <a:gd name="T119" fmla="*/ 27 h 495"/>
                <a:gd name="T120" fmla="*/ 404 w 404"/>
                <a:gd name="T121" fmla="*/ 4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4" h="495">
                  <a:moveTo>
                    <a:pt x="400" y="126"/>
                  </a:moveTo>
                  <a:lnTo>
                    <a:pt x="400" y="126"/>
                  </a:lnTo>
                  <a:lnTo>
                    <a:pt x="382" y="113"/>
                  </a:lnTo>
                  <a:lnTo>
                    <a:pt x="366" y="102"/>
                  </a:lnTo>
                  <a:lnTo>
                    <a:pt x="349" y="92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12" y="79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7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35" y="71"/>
                  </a:lnTo>
                  <a:lnTo>
                    <a:pt x="217" y="74"/>
                  </a:lnTo>
                  <a:lnTo>
                    <a:pt x="200" y="77"/>
                  </a:lnTo>
                  <a:lnTo>
                    <a:pt x="184" y="84"/>
                  </a:lnTo>
                  <a:lnTo>
                    <a:pt x="169" y="90"/>
                  </a:lnTo>
                  <a:lnTo>
                    <a:pt x="155" y="99"/>
                  </a:lnTo>
                  <a:lnTo>
                    <a:pt x="141" y="108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18" y="133"/>
                  </a:lnTo>
                  <a:lnTo>
                    <a:pt x="108" y="147"/>
                  </a:lnTo>
                  <a:lnTo>
                    <a:pt x="99" y="161"/>
                  </a:lnTo>
                  <a:lnTo>
                    <a:pt x="93" y="177"/>
                  </a:lnTo>
                  <a:lnTo>
                    <a:pt x="86" y="193"/>
                  </a:lnTo>
                  <a:lnTo>
                    <a:pt x="83" y="211"/>
                  </a:lnTo>
                  <a:lnTo>
                    <a:pt x="80" y="23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0" y="268"/>
                  </a:lnTo>
                  <a:lnTo>
                    <a:pt x="83" y="286"/>
                  </a:lnTo>
                  <a:lnTo>
                    <a:pt x="86" y="303"/>
                  </a:lnTo>
                  <a:lnTo>
                    <a:pt x="91" y="319"/>
                  </a:lnTo>
                  <a:lnTo>
                    <a:pt x="99" y="334"/>
                  </a:lnTo>
                  <a:lnTo>
                    <a:pt x="106" y="348"/>
                  </a:lnTo>
                  <a:lnTo>
                    <a:pt x="116" y="362"/>
                  </a:lnTo>
                  <a:lnTo>
                    <a:pt x="128" y="376"/>
                  </a:lnTo>
                  <a:lnTo>
                    <a:pt x="128" y="376"/>
                  </a:lnTo>
                  <a:lnTo>
                    <a:pt x="140" y="387"/>
                  </a:lnTo>
                  <a:lnTo>
                    <a:pt x="153" y="397"/>
                  </a:lnTo>
                  <a:lnTo>
                    <a:pt x="166" y="405"/>
                  </a:lnTo>
                  <a:lnTo>
                    <a:pt x="181" y="412"/>
                  </a:lnTo>
                  <a:lnTo>
                    <a:pt x="196" y="418"/>
                  </a:lnTo>
                  <a:lnTo>
                    <a:pt x="212" y="422"/>
                  </a:lnTo>
                  <a:lnTo>
                    <a:pt x="229" y="424"/>
                  </a:lnTo>
                  <a:lnTo>
                    <a:pt x="246" y="424"/>
                  </a:lnTo>
                  <a:lnTo>
                    <a:pt x="246" y="424"/>
                  </a:lnTo>
                  <a:lnTo>
                    <a:pt x="267" y="424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306" y="417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45" y="402"/>
                  </a:lnTo>
                  <a:lnTo>
                    <a:pt x="362" y="392"/>
                  </a:lnTo>
                  <a:lnTo>
                    <a:pt x="381" y="379"/>
                  </a:lnTo>
                  <a:lnTo>
                    <a:pt x="399" y="364"/>
                  </a:lnTo>
                  <a:lnTo>
                    <a:pt x="399" y="452"/>
                  </a:lnTo>
                  <a:lnTo>
                    <a:pt x="399" y="452"/>
                  </a:lnTo>
                  <a:lnTo>
                    <a:pt x="382" y="462"/>
                  </a:lnTo>
                  <a:lnTo>
                    <a:pt x="366" y="470"/>
                  </a:lnTo>
                  <a:lnTo>
                    <a:pt x="349" y="479"/>
                  </a:lnTo>
                  <a:lnTo>
                    <a:pt x="331" y="485"/>
                  </a:lnTo>
                  <a:lnTo>
                    <a:pt x="331" y="485"/>
                  </a:lnTo>
                  <a:lnTo>
                    <a:pt x="312" y="489"/>
                  </a:lnTo>
                  <a:lnTo>
                    <a:pt x="294" y="493"/>
                  </a:lnTo>
                  <a:lnTo>
                    <a:pt x="294" y="493"/>
                  </a:lnTo>
                  <a:lnTo>
                    <a:pt x="274" y="495"/>
                  </a:lnTo>
                  <a:lnTo>
                    <a:pt x="252" y="495"/>
                  </a:lnTo>
                  <a:lnTo>
                    <a:pt x="252" y="495"/>
                  </a:lnTo>
                  <a:lnTo>
                    <a:pt x="226" y="494"/>
                  </a:lnTo>
                  <a:lnTo>
                    <a:pt x="200" y="492"/>
                  </a:lnTo>
                  <a:lnTo>
                    <a:pt x="176" y="485"/>
                  </a:lnTo>
                  <a:lnTo>
                    <a:pt x="153" y="478"/>
                  </a:lnTo>
                  <a:lnTo>
                    <a:pt x="153" y="478"/>
                  </a:lnTo>
                  <a:lnTo>
                    <a:pt x="130" y="468"/>
                  </a:lnTo>
                  <a:lnTo>
                    <a:pt x="110" y="457"/>
                  </a:lnTo>
                  <a:lnTo>
                    <a:pt x="90" y="443"/>
                  </a:lnTo>
                  <a:lnTo>
                    <a:pt x="73" y="427"/>
                  </a:lnTo>
                  <a:lnTo>
                    <a:pt x="73" y="427"/>
                  </a:lnTo>
                  <a:lnTo>
                    <a:pt x="55" y="408"/>
                  </a:lnTo>
                  <a:lnTo>
                    <a:pt x="41" y="389"/>
                  </a:lnTo>
                  <a:lnTo>
                    <a:pt x="29" y="368"/>
                  </a:lnTo>
                  <a:lnTo>
                    <a:pt x="19" y="346"/>
                  </a:lnTo>
                  <a:lnTo>
                    <a:pt x="19" y="346"/>
                  </a:lnTo>
                  <a:lnTo>
                    <a:pt x="10" y="323"/>
                  </a:lnTo>
                  <a:lnTo>
                    <a:pt x="5" y="298"/>
                  </a:lnTo>
                  <a:lnTo>
                    <a:pt x="1" y="274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1" y="223"/>
                  </a:lnTo>
                  <a:lnTo>
                    <a:pt x="5" y="198"/>
                  </a:lnTo>
                  <a:lnTo>
                    <a:pt x="10" y="17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29" y="128"/>
                  </a:lnTo>
                  <a:lnTo>
                    <a:pt x="41" y="107"/>
                  </a:lnTo>
                  <a:lnTo>
                    <a:pt x="55" y="8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90" y="55"/>
                  </a:lnTo>
                  <a:lnTo>
                    <a:pt x="110" y="40"/>
                  </a:lnTo>
                  <a:lnTo>
                    <a:pt x="130" y="2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76" y="10"/>
                  </a:lnTo>
                  <a:lnTo>
                    <a:pt x="200" y="5"/>
                  </a:lnTo>
                  <a:lnTo>
                    <a:pt x="225" y="1"/>
                  </a:lnTo>
                  <a:lnTo>
                    <a:pt x="251" y="0"/>
                  </a:lnTo>
                  <a:lnTo>
                    <a:pt x="251" y="0"/>
                  </a:lnTo>
                  <a:lnTo>
                    <a:pt x="272" y="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11" y="7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49" y="19"/>
                  </a:lnTo>
                  <a:lnTo>
                    <a:pt x="367" y="27"/>
                  </a:lnTo>
                  <a:lnTo>
                    <a:pt x="386" y="37"/>
                  </a:lnTo>
                  <a:lnTo>
                    <a:pt x="404" y="49"/>
                  </a:lnTo>
                  <a:lnTo>
                    <a:pt x="40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3512" y="2045"/>
              <a:ext cx="193" cy="235"/>
            </a:xfrm>
            <a:custGeom>
              <a:avLst/>
              <a:gdLst>
                <a:gd name="T0" fmla="*/ 0 w 386"/>
                <a:gd name="T1" fmla="*/ 472 h 472"/>
                <a:gd name="T2" fmla="*/ 0 w 386"/>
                <a:gd name="T3" fmla="*/ 0 h 472"/>
                <a:gd name="T4" fmla="*/ 77 w 386"/>
                <a:gd name="T5" fmla="*/ 0 h 472"/>
                <a:gd name="T6" fmla="*/ 77 w 386"/>
                <a:gd name="T7" fmla="*/ 175 h 472"/>
                <a:gd name="T8" fmla="*/ 309 w 386"/>
                <a:gd name="T9" fmla="*/ 175 h 472"/>
                <a:gd name="T10" fmla="*/ 309 w 386"/>
                <a:gd name="T11" fmla="*/ 0 h 472"/>
                <a:gd name="T12" fmla="*/ 386 w 386"/>
                <a:gd name="T13" fmla="*/ 0 h 472"/>
                <a:gd name="T14" fmla="*/ 386 w 386"/>
                <a:gd name="T15" fmla="*/ 472 h 472"/>
                <a:gd name="T16" fmla="*/ 309 w 386"/>
                <a:gd name="T17" fmla="*/ 472 h 472"/>
                <a:gd name="T18" fmla="*/ 309 w 386"/>
                <a:gd name="T19" fmla="*/ 243 h 472"/>
                <a:gd name="T20" fmla="*/ 77 w 386"/>
                <a:gd name="T21" fmla="*/ 243 h 472"/>
                <a:gd name="T22" fmla="*/ 77 w 386"/>
                <a:gd name="T23" fmla="*/ 472 h 472"/>
                <a:gd name="T24" fmla="*/ 0 w 386"/>
                <a:gd name="T25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" h="472">
                  <a:moveTo>
                    <a:pt x="0" y="472"/>
                  </a:moveTo>
                  <a:lnTo>
                    <a:pt x="0" y="0"/>
                  </a:lnTo>
                  <a:lnTo>
                    <a:pt x="77" y="0"/>
                  </a:lnTo>
                  <a:lnTo>
                    <a:pt x="77" y="175"/>
                  </a:lnTo>
                  <a:lnTo>
                    <a:pt x="309" y="175"/>
                  </a:lnTo>
                  <a:lnTo>
                    <a:pt x="309" y="0"/>
                  </a:lnTo>
                  <a:lnTo>
                    <a:pt x="386" y="0"/>
                  </a:lnTo>
                  <a:lnTo>
                    <a:pt x="386" y="472"/>
                  </a:lnTo>
                  <a:lnTo>
                    <a:pt x="309" y="472"/>
                  </a:lnTo>
                  <a:lnTo>
                    <a:pt x="309" y="243"/>
                  </a:lnTo>
                  <a:lnTo>
                    <a:pt x="77" y="243"/>
                  </a:lnTo>
                  <a:lnTo>
                    <a:pt x="77" y="47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3" name="Rectangle 11"/>
            <p:cNvSpPr>
              <a:spLocks noChangeArrowheads="1"/>
            </p:cNvSpPr>
            <p:nvPr/>
          </p:nvSpPr>
          <p:spPr bwMode="auto">
            <a:xfrm>
              <a:off x="3759" y="2045"/>
              <a:ext cx="39" cy="2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4655" y="2045"/>
              <a:ext cx="164" cy="235"/>
            </a:xfrm>
            <a:custGeom>
              <a:avLst/>
              <a:gdLst>
                <a:gd name="T0" fmla="*/ 202 w 327"/>
                <a:gd name="T1" fmla="*/ 65 h 472"/>
                <a:gd name="T2" fmla="*/ 202 w 327"/>
                <a:gd name="T3" fmla="*/ 472 h 472"/>
                <a:gd name="T4" fmla="*/ 125 w 327"/>
                <a:gd name="T5" fmla="*/ 472 h 472"/>
                <a:gd name="T6" fmla="*/ 125 w 327"/>
                <a:gd name="T7" fmla="*/ 65 h 472"/>
                <a:gd name="T8" fmla="*/ 0 w 327"/>
                <a:gd name="T9" fmla="*/ 65 h 472"/>
                <a:gd name="T10" fmla="*/ 0 w 327"/>
                <a:gd name="T11" fmla="*/ 0 h 472"/>
                <a:gd name="T12" fmla="*/ 327 w 327"/>
                <a:gd name="T13" fmla="*/ 0 h 472"/>
                <a:gd name="T14" fmla="*/ 327 w 327"/>
                <a:gd name="T15" fmla="*/ 65 h 472"/>
                <a:gd name="T16" fmla="*/ 202 w 327"/>
                <a:gd name="T17" fmla="*/ 6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472">
                  <a:moveTo>
                    <a:pt x="202" y="65"/>
                  </a:moveTo>
                  <a:lnTo>
                    <a:pt x="202" y="472"/>
                  </a:lnTo>
                  <a:lnTo>
                    <a:pt x="125" y="472"/>
                  </a:lnTo>
                  <a:lnTo>
                    <a:pt x="125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27" y="0"/>
                  </a:lnTo>
                  <a:lnTo>
                    <a:pt x="327" y="65"/>
                  </a:lnTo>
                  <a:lnTo>
                    <a:pt x="202" y="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912659" y="4285129"/>
            <a:ext cx="2402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/>
              <a:t>Q &amp;  A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82104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4000">
        <p:cover dir="d"/>
      </p:transition>
    </mc:Choice>
    <mc:Fallback xmlns="">
      <p:transition spd="slow" advTm="4000">
        <p:cover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sz="2400" dirty="0" err="1"/>
              <a:t>Current</a:t>
            </a:r>
            <a:r>
              <a:rPr lang="tr-TR" sz="2400" dirty="0"/>
              <a:t> System in </a:t>
            </a:r>
            <a:r>
              <a:rPr lang="tr-TR" sz="2400" dirty="0" err="1"/>
              <a:t>Numbers</a:t>
            </a:r>
            <a:endParaRPr lang="en-US" sz="2400" dirty="0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240499"/>
              </p:ext>
            </p:extLst>
          </p:nvPr>
        </p:nvGraphicFramePr>
        <p:xfrm>
          <a:off x="2145102" y="991195"/>
          <a:ext cx="7611374" cy="4847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67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4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0690"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tr-TR" sz="200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gure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63" rtl="0" eaLnBrk="1" latinLnBrk="0" hangingPunct="1"/>
                      <a:r>
                        <a:rPr lang="tr-TR" sz="20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en-US" dirty="0"/>
                        <a:t>Customer</a:t>
                      </a:r>
                      <a:r>
                        <a:rPr lang="tr-TR" dirty="0"/>
                        <a:t>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3.000.000+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en-US" dirty="0"/>
                        <a:t>Customer Accou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9.258.0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tr-TR" dirty="0" err="1"/>
                        <a:t>Core</a:t>
                      </a:r>
                      <a:r>
                        <a:rPr lang="tr-TR" baseline="0" dirty="0"/>
                        <a:t> </a:t>
                      </a:r>
                      <a:r>
                        <a:rPr lang="en-US" dirty="0"/>
                        <a:t>Table</a:t>
                      </a:r>
                      <a:r>
                        <a:rPr lang="tr-TR" dirty="0"/>
                        <a:t>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3000+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tr-TR" dirty="0" err="1"/>
                        <a:t>Core</a:t>
                      </a:r>
                      <a:r>
                        <a:rPr lang="tr-TR" dirty="0"/>
                        <a:t> </a:t>
                      </a:r>
                      <a:r>
                        <a:rPr lang="en-US" dirty="0"/>
                        <a:t>Stored Procedure</a:t>
                      </a:r>
                      <a:r>
                        <a:rPr lang="tr-TR" dirty="0"/>
                        <a:t>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12.5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en-US" dirty="0" err="1"/>
                        <a:t>Channe</a:t>
                      </a:r>
                      <a:r>
                        <a:rPr lang="tr-TR" dirty="0" err="1"/>
                        <a:t>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4</a:t>
                      </a:r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tr-TR" dirty="0"/>
                        <a:t>Business </a:t>
                      </a:r>
                      <a:r>
                        <a:rPr lang="en-US" dirty="0" err="1"/>
                        <a:t>Actio</a:t>
                      </a:r>
                      <a:r>
                        <a:rPr lang="tr-TR" dirty="0" err="1"/>
                        <a:t>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7.0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en-US" dirty="0"/>
                        <a:t>Resource</a:t>
                      </a:r>
                      <a:r>
                        <a:rPr lang="tr-TR" dirty="0"/>
                        <a:t>s (</a:t>
                      </a:r>
                      <a:r>
                        <a:rPr lang="tr-TR" dirty="0" err="1"/>
                        <a:t>Screens</a:t>
                      </a:r>
                      <a:r>
                        <a:rPr lang="tr-TR" dirty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dirty="0"/>
                        <a:t>2.6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en-US" dirty="0"/>
                        <a:t>Daily Transaction</a:t>
                      </a:r>
                      <a:r>
                        <a:rPr lang="en-US" baseline="0" dirty="0"/>
                        <a:t> 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~1.500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en-US" dirty="0"/>
                        <a:t>Daily </a:t>
                      </a:r>
                      <a:r>
                        <a:rPr lang="tr-TR" dirty="0" err="1"/>
                        <a:t>App</a:t>
                      </a:r>
                      <a:r>
                        <a:rPr lang="tr-TR" dirty="0"/>
                        <a:t>.</a:t>
                      </a:r>
                      <a:r>
                        <a:rPr lang="tr-TR" baseline="0" dirty="0"/>
                        <a:t> Server </a:t>
                      </a:r>
                      <a:r>
                        <a:rPr lang="tr-TR" baseline="0" dirty="0" err="1"/>
                        <a:t>Hi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~25.000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0690">
                <a:tc>
                  <a:txBody>
                    <a:bodyPr/>
                    <a:lstStyle/>
                    <a:p>
                      <a:r>
                        <a:rPr lang="tr-TR" dirty="0" err="1"/>
                        <a:t>Projects</a:t>
                      </a:r>
                      <a:r>
                        <a:rPr lang="tr-TR" baseline="0" dirty="0"/>
                        <a:t> in Source Contro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~</a:t>
                      </a:r>
                      <a:r>
                        <a:rPr lang="tr-TR" dirty="0"/>
                        <a:t>20.00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8161896"/>
      </p:ext>
    </p:extLst>
  </p:cSld>
  <p:clrMapOvr>
    <a:masterClrMapping/>
  </p:clrMapOvr>
  <p:transition spd="slow" advTm="2000">
    <p:cover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sz="2400" dirty="0"/>
              <a:t>BOA (Business </a:t>
            </a:r>
            <a:r>
              <a:rPr lang="tr-TR" sz="2400" dirty="0" err="1"/>
              <a:t>Oriented</a:t>
            </a:r>
            <a:r>
              <a:rPr lang="tr-TR" sz="2400" dirty="0"/>
              <a:t> Architecture)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690504" y="1514453"/>
            <a:ext cx="10323540" cy="5432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months of design and development proces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 enough architecture, more enough busines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mple, Performant, Scalable, 3 tiered architecture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omic business components reused in Orchestration and Process layers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unique approach: Automated transaction management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ized code generation (Code Generator for Developers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6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112162" y="1695208"/>
            <a:ext cx="288000" cy="288000"/>
            <a:chOff x="6919201" y="2053139"/>
            <a:chExt cx="604695" cy="604695"/>
          </a:xfrm>
        </p:grpSpPr>
        <p:sp>
          <p:nvSpPr>
            <p:cNvPr id="6" name="Rounded Rectangle 5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279457" y="6010006"/>
            <a:ext cx="6351478" cy="386269"/>
            <a:chOff x="5287923" y="5727913"/>
            <a:chExt cx="6351478" cy="386269"/>
          </a:xfrm>
        </p:grpSpPr>
        <p:sp>
          <p:nvSpPr>
            <p:cNvPr id="15" name="Rounded Rectangle 14"/>
            <p:cNvSpPr/>
            <p:nvPr/>
          </p:nvSpPr>
          <p:spPr>
            <a:xfrm>
              <a:off x="5287923" y="6042182"/>
              <a:ext cx="5155524" cy="72000"/>
            </a:xfrm>
            <a:prstGeom prst="roundRect">
              <a:avLst>
                <a:gd name="adj" fmla="val 50000"/>
              </a:avLst>
            </a:prstGeom>
            <a:solidFill>
              <a:srgbClr val="5CA5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456876" y="5727913"/>
              <a:ext cx="4182525" cy="71795"/>
            </a:xfrm>
            <a:prstGeom prst="roundRect">
              <a:avLst>
                <a:gd name="adj" fmla="val 50000"/>
              </a:avLst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862203" y="5889308"/>
              <a:ext cx="4280718" cy="63274"/>
            </a:xfrm>
            <a:prstGeom prst="roundRect">
              <a:avLst>
                <a:gd name="adj" fmla="val 50000"/>
              </a:avLst>
            </a:prstGeom>
            <a:solidFill>
              <a:srgbClr val="E0EF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8496B0"/>
                </a:solidFill>
                <a:effectLst/>
                <a:uLnTx/>
                <a:uFillTx/>
                <a:latin typeface="Source Sans Pro Black"/>
                <a:ea typeface="+mn-ea"/>
                <a:cs typeface="+mn-cs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112161" y="2163963"/>
            <a:ext cx="288000" cy="288000"/>
            <a:chOff x="6919201" y="2053139"/>
            <a:chExt cx="604695" cy="604695"/>
          </a:xfrm>
        </p:grpSpPr>
        <p:sp>
          <p:nvSpPr>
            <p:cNvPr id="19" name="Rounded Rectangle 18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112161" y="2720018"/>
            <a:ext cx="288000" cy="288000"/>
            <a:chOff x="6919201" y="2053139"/>
            <a:chExt cx="604695" cy="604695"/>
          </a:xfrm>
        </p:grpSpPr>
        <p:sp>
          <p:nvSpPr>
            <p:cNvPr id="22" name="Rounded Rectangle 21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112161" y="3188773"/>
            <a:ext cx="288000" cy="288000"/>
            <a:chOff x="6919201" y="2053139"/>
            <a:chExt cx="604695" cy="604695"/>
          </a:xfrm>
        </p:grpSpPr>
        <p:sp>
          <p:nvSpPr>
            <p:cNvPr id="25" name="Rounded Rectangle 24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112160" y="3673522"/>
            <a:ext cx="288000" cy="288000"/>
            <a:chOff x="6919201" y="2053139"/>
            <a:chExt cx="604695" cy="604695"/>
          </a:xfrm>
        </p:grpSpPr>
        <p:sp>
          <p:nvSpPr>
            <p:cNvPr id="28" name="Rounded Rectangle 27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112159" y="4158271"/>
            <a:ext cx="288000" cy="288000"/>
            <a:chOff x="6919201" y="2053139"/>
            <a:chExt cx="604695" cy="604695"/>
          </a:xfrm>
        </p:grpSpPr>
        <p:sp>
          <p:nvSpPr>
            <p:cNvPr id="31" name="Rounded Rectangle 30"/>
            <p:cNvSpPr/>
            <p:nvPr/>
          </p:nvSpPr>
          <p:spPr>
            <a:xfrm>
              <a:off x="6919201" y="2053139"/>
              <a:ext cx="604695" cy="6046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Shape 2540"/>
            <p:cNvSpPr/>
            <p:nvPr/>
          </p:nvSpPr>
          <p:spPr>
            <a:xfrm>
              <a:off x="7084387" y="2241394"/>
              <a:ext cx="274320" cy="266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32" y="6661"/>
                  </a:moveTo>
                  <a:cubicBezTo>
                    <a:pt x="20540" y="6471"/>
                    <a:pt x="20228" y="6473"/>
                    <a:pt x="20038" y="6667"/>
                  </a:cubicBezTo>
                  <a:cubicBezTo>
                    <a:pt x="19903" y="6804"/>
                    <a:pt x="19870" y="7000"/>
                    <a:pt x="19929" y="7171"/>
                  </a:cubicBezTo>
                  <a:lnTo>
                    <a:pt x="19918" y="7175"/>
                  </a:lnTo>
                  <a:cubicBezTo>
                    <a:pt x="20365" y="8298"/>
                    <a:pt x="20618" y="951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8" y="20618"/>
                    <a:pt x="982" y="16223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3575" y="982"/>
                    <a:pt x="16077" y="2136"/>
                    <a:pt x="17862" y="3989"/>
                  </a:cubicBezTo>
                  <a:lnTo>
                    <a:pt x="17868" y="3982"/>
                  </a:lnTo>
                  <a:cubicBezTo>
                    <a:pt x="18062" y="4157"/>
                    <a:pt x="18359" y="4153"/>
                    <a:pt x="18544" y="3965"/>
                  </a:cubicBezTo>
                  <a:cubicBezTo>
                    <a:pt x="18734" y="3771"/>
                    <a:pt x="18732" y="3461"/>
                    <a:pt x="18539" y="3270"/>
                  </a:cubicBezTo>
                  <a:cubicBezTo>
                    <a:pt x="18520" y="3252"/>
                    <a:pt x="18496" y="3244"/>
                    <a:pt x="18476" y="3230"/>
                  </a:cubicBezTo>
                  <a:cubicBezTo>
                    <a:pt x="16521" y="1241"/>
                    <a:pt x="13810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9412"/>
                    <a:pt x="21329" y="8089"/>
                    <a:pt x="20851" y="6869"/>
                  </a:cubicBezTo>
                  <a:cubicBezTo>
                    <a:pt x="20828" y="6794"/>
                    <a:pt x="20793" y="6721"/>
                    <a:pt x="20732" y="6661"/>
                  </a:cubicBezTo>
                  <a:moveTo>
                    <a:pt x="10792" y="13534"/>
                  </a:moveTo>
                  <a:lnTo>
                    <a:pt x="6238" y="8980"/>
                  </a:lnTo>
                  <a:cubicBezTo>
                    <a:pt x="6149" y="8891"/>
                    <a:pt x="6027" y="8836"/>
                    <a:pt x="5891" y="8836"/>
                  </a:cubicBezTo>
                  <a:cubicBezTo>
                    <a:pt x="5620" y="8836"/>
                    <a:pt x="5400" y="9056"/>
                    <a:pt x="5400" y="9327"/>
                  </a:cubicBezTo>
                  <a:cubicBezTo>
                    <a:pt x="5400" y="9463"/>
                    <a:pt x="5455" y="9585"/>
                    <a:pt x="5544" y="9675"/>
                  </a:cubicBezTo>
                  <a:lnTo>
                    <a:pt x="10453" y="14583"/>
                  </a:lnTo>
                  <a:cubicBezTo>
                    <a:pt x="10542" y="14672"/>
                    <a:pt x="10664" y="14727"/>
                    <a:pt x="10800" y="14727"/>
                  </a:cubicBezTo>
                  <a:cubicBezTo>
                    <a:pt x="10940" y="14727"/>
                    <a:pt x="11064" y="14668"/>
                    <a:pt x="11154" y="14574"/>
                  </a:cubicBezTo>
                  <a:lnTo>
                    <a:pt x="11155" y="14576"/>
                  </a:lnTo>
                  <a:lnTo>
                    <a:pt x="19353" y="5988"/>
                  </a:lnTo>
                  <a:cubicBezTo>
                    <a:pt x="19353" y="5989"/>
                    <a:pt x="19354" y="5990"/>
                    <a:pt x="19354" y="5991"/>
                  </a:cubicBezTo>
                  <a:lnTo>
                    <a:pt x="20055" y="5255"/>
                  </a:lnTo>
                  <a:cubicBezTo>
                    <a:pt x="20055" y="5255"/>
                    <a:pt x="20054" y="5254"/>
                    <a:pt x="20054" y="5253"/>
                  </a:cubicBezTo>
                  <a:lnTo>
                    <a:pt x="21464" y="3775"/>
                  </a:lnTo>
                  <a:lnTo>
                    <a:pt x="21463" y="3774"/>
                  </a:lnTo>
                  <a:cubicBezTo>
                    <a:pt x="21547" y="3686"/>
                    <a:pt x="21600" y="3567"/>
                    <a:pt x="21600" y="3436"/>
                  </a:cubicBezTo>
                  <a:cubicBezTo>
                    <a:pt x="21600" y="3166"/>
                    <a:pt x="21380" y="2945"/>
                    <a:pt x="21109" y="2945"/>
                  </a:cubicBezTo>
                  <a:cubicBezTo>
                    <a:pt x="20969" y="2945"/>
                    <a:pt x="20844" y="3005"/>
                    <a:pt x="20755" y="3099"/>
                  </a:cubicBezTo>
                  <a:lnTo>
                    <a:pt x="20754" y="3097"/>
                  </a:lnTo>
                  <a:lnTo>
                    <a:pt x="19493" y="4419"/>
                  </a:lnTo>
                  <a:cubicBezTo>
                    <a:pt x="19492" y="4418"/>
                    <a:pt x="19491" y="4416"/>
                    <a:pt x="19490" y="4415"/>
                  </a:cubicBezTo>
                  <a:lnTo>
                    <a:pt x="18805" y="5133"/>
                  </a:lnTo>
                  <a:cubicBezTo>
                    <a:pt x="18806" y="5134"/>
                    <a:pt x="18807" y="5136"/>
                    <a:pt x="18807" y="5137"/>
                  </a:cubicBezTo>
                  <a:cubicBezTo>
                    <a:pt x="18807" y="5137"/>
                    <a:pt x="10792" y="13534"/>
                    <a:pt x="10792" y="1353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marL="0" marR="0" lvl="0" indent="0" algn="l" defTabSz="228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Source Sans Pro"/>
                  <a:ea typeface="Source Sans Pro"/>
                  <a:cs typeface="Source Sans Pro"/>
                  <a:sym typeface="Source Sans Pro"/>
                </a:defRPr>
              </a:pP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Source Sans Pro Light" charset="0"/>
                <a:ea typeface="Source Sans Pro Light" charset="0"/>
                <a:cs typeface="Source Sans Pro Light" charset="0"/>
                <a:sym typeface="Source Sans P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876186"/>
      </p:ext>
    </p:extLst>
  </p:cSld>
  <p:clrMapOvr>
    <a:masterClrMapping/>
  </p:clrMapOvr>
  <p:transition spd="slow" advTm="2000">
    <p:cover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265872" y="826151"/>
            <a:ext cx="7660256" cy="5555411"/>
          </a:xfrm>
          <a:prstGeom prst="rect">
            <a:avLst/>
          </a:prstGeom>
          <a:solidFill>
            <a:srgbClr val="E7E6E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Scalable</a:t>
            </a:r>
            <a:r>
              <a:rPr lang="tr-TR" dirty="0"/>
              <a:t> </a:t>
            </a:r>
            <a:r>
              <a:rPr lang="tr-TR" dirty="0" err="1"/>
              <a:t>and</a:t>
            </a:r>
            <a:r>
              <a:rPr lang="tr-TR" dirty="0"/>
              <a:t> </a:t>
            </a:r>
            <a:r>
              <a:rPr lang="tr-TR" dirty="0" err="1"/>
              <a:t>Fault-Tolerant</a:t>
            </a:r>
            <a:r>
              <a:rPr lang="tr-TR" dirty="0"/>
              <a:t> 3 </a:t>
            </a:r>
            <a:r>
              <a:rPr lang="tr-TR" dirty="0" err="1"/>
              <a:t>Tier</a:t>
            </a:r>
            <a:r>
              <a:rPr lang="tr-TR" dirty="0"/>
              <a:t> Architecture</a:t>
            </a:r>
            <a:endParaRPr lang="en-US" dirty="0"/>
          </a:p>
        </p:txBody>
      </p:sp>
      <p:pic>
        <p:nvPicPr>
          <p:cNvPr id="3" name="Picture 2" descr="C:\Users\emreo\Desktop\3_Tie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05100" y="1127357"/>
            <a:ext cx="6781800" cy="49530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</p:pic>
    </p:spTree>
    <p:extLst>
      <p:ext uri="{BB962C8B-B14F-4D97-AF65-F5344CB8AC3E}">
        <p14:creationId xmlns:p14="http://schemas.microsoft.com/office/powerpoint/2010/main" val="2026060897"/>
      </p:ext>
    </p:extLst>
  </p:cSld>
  <p:clrMapOvr>
    <a:masterClrMapping/>
  </p:clrMapOvr>
  <p:transition spd="slow" advTm="2000">
    <p:cover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 err="1"/>
              <a:t>Technology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82997" y="962700"/>
            <a:ext cx="10323540" cy="7781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200000"/>
              </a:lnSpc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NET 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amework, 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NET 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e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PF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Desktop), ASP.NET + </a:t>
            </a:r>
            <a:r>
              <a:rPr lang="tr-TR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ct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Web)</a:t>
            </a: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CF, </a:t>
            </a:r>
            <a:r>
              <a:rPr lang="tr-TR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T API</a:t>
            </a: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AS (Windows Process Activation Service)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ual Studio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Net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 Azure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ops</a:t>
            </a: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Server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Server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trix </a:t>
            </a:r>
            <a:r>
              <a:rPr lang="en-US" sz="1400" dirty="0" err="1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tscaler</a:t>
            </a: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LB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5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tr-TR" sz="14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515445"/>
      </p:ext>
    </p:extLst>
  </p:cSld>
  <p:clrMapOvr>
    <a:masterClrMapping/>
  </p:clrMapOvr>
  <p:transition spd="slow" advTm="2000">
    <p:cover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BQqXyQAR5g3OkSAGqZ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Blue">
      <a:dk1>
        <a:srgbClr val="656D78"/>
      </a:dk1>
      <a:lt1>
        <a:srgbClr val="FFFFFF"/>
      </a:lt1>
      <a:dk2>
        <a:srgbClr val="8496B0"/>
      </a:dk2>
      <a:lt2>
        <a:srgbClr val="E7E6E6"/>
      </a:lt2>
      <a:accent1>
        <a:srgbClr val="3B9ED8"/>
      </a:accent1>
      <a:accent2>
        <a:srgbClr val="358EC2"/>
      </a:accent2>
      <a:accent3>
        <a:srgbClr val="2F7EAC"/>
      </a:accent3>
      <a:accent4>
        <a:srgbClr val="296E97"/>
      </a:accent4>
      <a:accent5>
        <a:srgbClr val="235E81"/>
      </a:accent5>
      <a:accent6>
        <a:srgbClr val="1D4F6C"/>
      </a:accent6>
      <a:hlink>
        <a:srgbClr val="0563C1"/>
      </a:hlink>
      <a:folHlink>
        <a:srgbClr val="954F72"/>
      </a:folHlink>
    </a:clrScheme>
    <a:fontScheme name="Custom 1">
      <a:majorFont>
        <a:latin typeface="Source Sans Pro Black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Blue">
      <a:dk1>
        <a:srgbClr val="656D78"/>
      </a:dk1>
      <a:lt1>
        <a:srgbClr val="FFFFFF"/>
      </a:lt1>
      <a:dk2>
        <a:srgbClr val="8496B0"/>
      </a:dk2>
      <a:lt2>
        <a:srgbClr val="E7E6E6"/>
      </a:lt2>
      <a:accent1>
        <a:srgbClr val="3B9ED8"/>
      </a:accent1>
      <a:accent2>
        <a:srgbClr val="358EC2"/>
      </a:accent2>
      <a:accent3>
        <a:srgbClr val="2F7EAC"/>
      </a:accent3>
      <a:accent4>
        <a:srgbClr val="296E97"/>
      </a:accent4>
      <a:accent5>
        <a:srgbClr val="235E81"/>
      </a:accent5>
      <a:accent6>
        <a:srgbClr val="1D4F6C"/>
      </a:accent6>
      <a:hlink>
        <a:srgbClr val="0563C1"/>
      </a:hlink>
      <a:folHlink>
        <a:srgbClr val="954F72"/>
      </a:folHlink>
    </a:clrScheme>
    <a:fontScheme name="Custom 1">
      <a:majorFont>
        <a:latin typeface="Source Sans Pro Black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67</TotalTime>
  <Words>1549</Words>
  <Application>Microsoft Office PowerPoint</Application>
  <PresentationFormat>Widescreen</PresentationFormat>
  <Paragraphs>508</Paragraphs>
  <Slides>54</Slides>
  <Notes>2</Notes>
  <HiddenSlides>3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74" baseType="lpstr">
      <vt:lpstr>Arial</vt:lpstr>
      <vt:lpstr>ArialMT</vt:lpstr>
      <vt:lpstr>Calibri</vt:lpstr>
      <vt:lpstr>Consolas</vt:lpstr>
      <vt:lpstr>Helvetica</vt:lpstr>
      <vt:lpstr>Roboto Black</vt:lpstr>
      <vt:lpstr>Roboto Light</vt:lpstr>
      <vt:lpstr>Segoe UI</vt:lpstr>
      <vt:lpstr>Segoe UI Semilight</vt:lpstr>
      <vt:lpstr>Source Sans Pro</vt:lpstr>
      <vt:lpstr>Source Sans Pro Black</vt:lpstr>
      <vt:lpstr>Source Sans Pro Bold</vt:lpstr>
      <vt:lpstr>Source Sans Pro Light</vt:lpstr>
      <vt:lpstr>Source Sans Pro SemiBold</vt:lpstr>
      <vt:lpstr>Tahoma</vt:lpstr>
      <vt:lpstr>Times New Roman</vt:lpstr>
      <vt:lpstr>Wingdings</vt:lpstr>
      <vt:lpstr>3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ike Eken / Kuveyt Türk - BT-Yönetişim</dc:creator>
  <cp:lastModifiedBy>Ömer Yanar</cp:lastModifiedBy>
  <cp:revision>47</cp:revision>
  <dcterms:created xsi:type="dcterms:W3CDTF">2020-09-25T10:28:49Z</dcterms:created>
  <dcterms:modified xsi:type="dcterms:W3CDTF">2022-11-17T09:44:00Z</dcterms:modified>
</cp:coreProperties>
</file>